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4"/>
    <p:sldMasterId id="2147484248" r:id="rId5"/>
    <p:sldMasterId id="2147484283" r:id="rId6"/>
  </p:sldMasterIdLst>
  <p:notesMasterIdLst>
    <p:notesMasterId r:id="rId33"/>
  </p:notesMasterIdLst>
  <p:handoutMasterIdLst>
    <p:handoutMasterId r:id="rId34"/>
  </p:handoutMasterIdLst>
  <p:sldIdLst>
    <p:sldId id="1713476425" r:id="rId7"/>
    <p:sldId id="1713476481" r:id="rId8"/>
    <p:sldId id="1713476497" r:id="rId9"/>
    <p:sldId id="1713476428" r:id="rId10"/>
    <p:sldId id="2061898010" r:id="rId11"/>
    <p:sldId id="1713476500" r:id="rId12"/>
    <p:sldId id="1713476486" r:id="rId13"/>
    <p:sldId id="258" r:id="rId14"/>
    <p:sldId id="1713476479" r:id="rId15"/>
    <p:sldId id="1713476487" r:id="rId16"/>
    <p:sldId id="2061898009" r:id="rId17"/>
    <p:sldId id="1713476504" r:id="rId18"/>
    <p:sldId id="1713476492" r:id="rId19"/>
    <p:sldId id="1713476462" r:id="rId20"/>
    <p:sldId id="1713476482" r:id="rId21"/>
    <p:sldId id="1713476465" r:id="rId22"/>
    <p:sldId id="1713476453" r:id="rId23"/>
    <p:sldId id="1713476466" r:id="rId24"/>
    <p:sldId id="1713476467" r:id="rId25"/>
    <p:sldId id="256" r:id="rId26"/>
    <p:sldId id="1713476469" r:id="rId27"/>
    <p:sldId id="1713476457" r:id="rId28"/>
    <p:sldId id="1713476470" r:id="rId29"/>
    <p:sldId id="1713476501" r:id="rId30"/>
    <p:sldId id="1713476475" r:id="rId31"/>
    <p:sldId id="1713476496" r:id="rId32"/>
  </p:sldIdLst>
  <p:sldSz cx="9144000" cy="5143500" type="screen16x9"/>
  <p:notesSz cx="6858000" cy="9144000"/>
  <p:custDataLst>
    <p:tags r:id="rId35"/>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Default Section" id="{7D64902E-C8E9-46D4-AD14-CE88154FDDA7}">
          <p14:sldIdLst>
            <p14:sldId id="1713476425"/>
            <p14:sldId id="1713476481"/>
            <p14:sldId id="1713476497"/>
            <p14:sldId id="1713476428"/>
            <p14:sldId id="2061898010"/>
            <p14:sldId id="1713476500"/>
          </p14:sldIdLst>
        </p14:section>
        <p14:section name="Platform intro" id="{245F0C2D-17BA-4958-8494-2678CE6ABAD7}">
          <p14:sldIdLst>
            <p14:sldId id="1713476486"/>
            <p14:sldId id="258"/>
          </p14:sldIdLst>
        </p14:section>
        <p14:section name="Cisco Security Platform" id="{18AEA76F-C523-43A4-A1B9-21DA46A3FFD9}">
          <p14:sldIdLst>
            <p14:sldId id="1713476479"/>
            <p14:sldId id="1713476487"/>
            <p14:sldId id="2061898009"/>
            <p14:sldId id="1713476504"/>
            <p14:sldId id="1713476492"/>
            <p14:sldId id="1713476462"/>
            <p14:sldId id="1713476482"/>
            <p14:sldId id="1713476465"/>
            <p14:sldId id="1713476453"/>
            <p14:sldId id="1713476466"/>
            <p14:sldId id="1713476467"/>
            <p14:sldId id="256"/>
            <p14:sldId id="1713476469"/>
          </p14:sldIdLst>
        </p14:section>
        <p14:section name="Why Cisco" id="{6DA21A12-7C75-436A-B236-8116BFEAA463}">
          <p14:sldIdLst>
            <p14:sldId id="1713476457"/>
            <p14:sldId id="1713476470"/>
          </p14:sldIdLst>
        </p14:section>
        <p14:section name="CTA" id="{01A9E94A-ADC2-406B-939D-6E1914818DB2}">
          <p14:sldIdLst>
            <p14:sldId id="1713476501"/>
            <p14:sldId id="1713476475"/>
            <p14:sldId id="171347649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1" name="Robert Rowe" initials="RR" lastIdx="1" clrIdx="1">
    <p:extLst>
      <p:ext uri="{19B8F6BF-5375-455C-9EA6-DF929625EA0E}">
        <p15:presenceInfo xmlns:p15="http://schemas.microsoft.com/office/powerpoint/2012/main" userId="S::robert.rowe@thespurgroup.com::3755df54-3d85-40e1-b407-c1c631472bd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EA9B8"/>
    <a:srgbClr val="86DBF2"/>
    <a:srgbClr val="E8EAED"/>
    <a:srgbClr val="D1F6FF"/>
    <a:srgbClr val="529141"/>
    <a:srgbClr val="005E75"/>
    <a:srgbClr val="2B4F79"/>
    <a:srgbClr val="1E4471"/>
    <a:srgbClr val="0D274D"/>
    <a:srgbClr val="56933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86"/>
  </p:normalViewPr>
  <p:slideViewPr>
    <p:cSldViewPr snapToGrid="0">
      <p:cViewPr varScale="1">
        <p:scale>
          <a:sx n="107" d="100"/>
          <a:sy n="107" d="100"/>
        </p:scale>
        <p:origin x="754" y="8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10/6/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10/6/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connectedfutures.cisco.com/report/cybersecurity-as-a-growth-advantage/"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strategyanalytics.com/access-services/enterprise/mobile-workforce/market-data/report-detail/global-mobile-workforce-forecast-update-2016-2022#.WCPg5Mn5Tcs"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blogs.cisco.com/security/cisco-named-a-leader-in-the-2018-gartner-magic-quadrant-for-enterprise-network-firewalls" TargetMode="External"/><Relationship Id="rId7" Type="http://schemas.openxmlformats.org/officeDocument/2006/relationships/hyperlink" Target="https://www.forrester.com/report/The+Forrester+Wave+Endpoint+Security+Suites+Q2+2018/-/E-RES137973" TargetMode="External"/><Relationship Id="rId2" Type="http://schemas.openxmlformats.org/officeDocument/2006/relationships/slide" Target="../slides/slide25.xml"/><Relationship Id="rId1" Type="http://schemas.openxmlformats.org/officeDocument/2006/relationships/notesMaster" Target="../notesMasters/notesMaster1.xml"/><Relationship Id="rId6" Type="http://schemas.openxmlformats.org/officeDocument/2006/relationships/hyperlink" Target="https://www.forrester.com/report/The+Forrester+Wave+Enterprise+Email+Security+Q2+2019/-/E-RES144398" TargetMode="External"/><Relationship Id="rId5" Type="http://schemas.openxmlformats.org/officeDocument/2006/relationships/hyperlink" Target="https://duo.com/resources/ebooks/cisco-named-a-leader-in-the-2019-forrester-zero-trust-wave-report?utm_source=cisco&amp;utm_medium=website&amp;utm_campaign=zt-wave" TargetMode="External"/><Relationship Id="rId4" Type="http://schemas.openxmlformats.org/officeDocument/2006/relationships/hyperlink" Target="https://www.binat.net.il/wp-content/uploads/2018/11/Gartner-2018-Magic-Quadrant-for-Secure-Web-Gateways.pdf"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cdn.ymaws.com/www.issa.org/resource/resmgr/surveys/esg-issa-2018-survey-results.pdf"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cybersecurityventures.com/cybersecurity-almanac-research-from-cybersecurity-ventures-2017-to-2021/"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2.deloitte.com/etc/insights-lists/interactives/cyber-risk-interactive/index.html"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isco Security </a:t>
            </a:r>
          </a:p>
          <a:p>
            <a:r>
              <a:rPr lang="en-US"/>
              <a:t>Protecting what’s now and what’s next </a:t>
            </a:r>
          </a:p>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1321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a:solidFill>
                  <a:schemeClr val="tx1"/>
                </a:solidFill>
                <a:effectLst/>
                <a:latin typeface="+mn-lt"/>
                <a:ea typeface="ＭＳ Ｐゴシック" charset="0"/>
                <a:cs typeface="ＭＳ Ｐゴシック" charset="0"/>
              </a:rPr>
              <a:t>[:18]</a:t>
            </a:r>
          </a:p>
          <a:p>
            <a:pPr rtl="0" fontAlgn="base"/>
            <a:endParaRPr lang="en-US" sz="1200" b="0" i="0" u="none" strike="noStrike" kern="1200">
              <a:solidFill>
                <a:schemeClr val="tx1"/>
              </a:solidFill>
              <a:effectLst/>
              <a:latin typeface="+mn-lt"/>
              <a:ea typeface="ＭＳ Ｐゴシック" charset="0"/>
              <a:cs typeface="ＭＳ Ｐゴシック" charset="0"/>
            </a:endParaRPr>
          </a:p>
          <a:p>
            <a:pPr rtl="0" fontAlgn="base"/>
            <a:r>
              <a:rPr lang="en-US" sz="1200" b="0" i="0" u="none" strike="noStrike" kern="1200">
                <a:solidFill>
                  <a:schemeClr val="tx1"/>
                </a:solidFill>
                <a:effectLst/>
                <a:latin typeface="+mn-lt"/>
                <a:ea typeface="ＭＳ Ｐゴシック" charset="0"/>
                <a:cs typeface="ＭＳ Ｐゴシック" charset="0"/>
              </a:rPr>
              <a:t>Cisco Security takes you from overwhelmed to empowered. Our simplified platform helps you reduce complexity and strengthen operational efficiency. So your teams can stop swiveling between products and interfaces and get time back to focus on what matters most.</a:t>
            </a:r>
            <a:r>
              <a:rPr lang="en-US" sz="1200" b="0" i="0" kern="1200">
                <a:solidFill>
                  <a:schemeClr val="tx1"/>
                </a:solidFill>
                <a:effectLst/>
                <a:latin typeface="+mn-lt"/>
                <a:ea typeface="ＭＳ Ｐゴシック" charset="0"/>
                <a:cs typeface="ＭＳ Ｐゴシック" charset="0"/>
              </a:rPr>
              <a:t>​</a:t>
            </a:r>
          </a:p>
          <a:p>
            <a:pPr rtl="0" fontAlgn="base"/>
            <a:r>
              <a:rPr lang="en-US" sz="1200" b="0" i="0" kern="1200">
                <a:solidFill>
                  <a:schemeClr val="tx1"/>
                </a:solidFill>
                <a:effectLst/>
                <a:latin typeface="+mn-lt"/>
                <a:ea typeface="ＭＳ Ｐゴシック" charset="0"/>
                <a:cs typeface="ＭＳ Ｐゴシック" charset="0"/>
              </a:rPr>
              <a:t>​</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u="none" strike="noStrike" kern="1200">
                <a:solidFill>
                  <a:schemeClr val="tx1"/>
                </a:solidFill>
                <a:effectLst/>
                <a:latin typeface="+mn-lt"/>
                <a:ea typeface="ＭＳ Ｐゴシック" charset="0"/>
                <a:cs typeface="ＭＳ Ｐゴシック" charset="0"/>
              </a:rPr>
              <a:t>&lt;T&gt;  Make it easier for your people and your solutions to work as a team.</a:t>
            </a:r>
            <a:endParaRPr lang="en-US" sz="1200" b="0" i="0" kern="1200">
              <a:solidFill>
                <a:schemeClr val="tx1"/>
              </a:solidFill>
              <a:effectLst/>
              <a:latin typeface="+mn-lt"/>
              <a:ea typeface="ＭＳ Ｐゴシック" charset="0"/>
              <a:cs typeface="ＭＳ Ｐゴシック" charset="0"/>
            </a:endParaRPr>
          </a:p>
          <a:p>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10</a:t>
            </a:fld>
            <a:endParaRPr lang="en-US"/>
          </a:p>
        </p:txBody>
      </p:sp>
    </p:spTree>
    <p:extLst>
      <p:ext uri="{BB962C8B-B14F-4D97-AF65-F5344CB8AC3E}">
        <p14:creationId xmlns:p14="http://schemas.microsoft.com/office/powerpoint/2010/main" val="12331344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a:solidFill>
                  <a:schemeClr val="tx1"/>
                </a:solidFill>
                <a:effectLst/>
                <a:latin typeface="+mn-lt"/>
                <a:ea typeface="ＭＳ Ｐゴシック" charset="0"/>
                <a:cs typeface="ＭＳ Ｐゴシック" charset="0"/>
              </a:rPr>
              <a:t>[:36]</a:t>
            </a:r>
          </a:p>
          <a:p>
            <a:pPr rtl="0" fontAlgn="base"/>
            <a:endParaRPr lang="en-US" sz="1200" b="0" i="0" u="none" strike="noStrike" kern="1200">
              <a:solidFill>
                <a:schemeClr val="tx1"/>
              </a:solidFill>
              <a:effectLst/>
              <a:latin typeface="+mn-lt"/>
              <a:ea typeface="ＭＳ Ｐゴシック" charset="0"/>
              <a:cs typeface="ＭＳ Ｐゴシック" charset="0"/>
            </a:endParaRPr>
          </a:p>
          <a:p>
            <a:pPr rtl="0" fontAlgn="base"/>
            <a:r>
              <a:rPr lang="en-US" sz="1200" b="0" i="0" u="none" strike="noStrike" kern="1200">
                <a:solidFill>
                  <a:schemeClr val="tx1"/>
                </a:solidFill>
                <a:effectLst/>
                <a:latin typeface="+mn-lt"/>
                <a:ea typeface="ＭＳ Ｐゴシック" charset="0"/>
                <a:cs typeface="ＭＳ Ｐゴシック" charset="0"/>
              </a:rPr>
              <a:t>Make it possible for your teams to go from being blockers to being enablers. They can confidently secure new business opportunities like digital transformation, mobile workforces and workplaces, and more, without sacrificing security efficacy. We cover every threat vector and access point. So as you grow, we are already there to meet you. </a:t>
            </a:r>
          </a:p>
          <a:p>
            <a:pPr rtl="0" fontAlgn="base"/>
            <a:endParaRPr lang="en-US" sz="1200" b="0" i="0" u="none" strike="noStrike" kern="120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u="none" strike="noStrike" kern="1200">
                <a:solidFill>
                  <a:schemeClr val="tx1"/>
                </a:solidFill>
                <a:effectLst/>
                <a:latin typeface="+mn-lt"/>
                <a:ea typeface="ＭＳ Ｐゴシック" charset="0"/>
                <a:cs typeface="ＭＳ Ｐゴシック" charset="0"/>
              </a:rPr>
              <a:t>Our integrated platform is built into every Cisco Security solution and will connect your existing security infrastructure. Everything we offer is fully tied together on the backend, sharing context and bringing you the visibility and control you need. </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0" i="0" kern="120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u="none" strike="noStrike" kern="1200">
                <a:solidFill>
                  <a:schemeClr val="tx1"/>
                </a:solidFill>
                <a:effectLst/>
                <a:latin typeface="+mn-lt"/>
                <a:ea typeface="ＭＳ Ｐゴシック" charset="0"/>
                <a:cs typeface="ＭＳ Ｐゴシック" charset="0"/>
              </a:rPr>
              <a:t>&lt;T&gt;  So you can unlock potential from the solutions you already have, without layering in new technology. </a:t>
            </a:r>
            <a:endParaRPr lang="en-US" sz="1200" b="0" i="0" kern="1200">
              <a:solidFill>
                <a:schemeClr val="tx1"/>
              </a:solidFill>
              <a:effectLst/>
              <a:latin typeface="+mn-lt"/>
              <a:ea typeface="ＭＳ Ｐゴシック" charset="0"/>
              <a:cs typeface="ＭＳ Ｐゴシック" charset="0"/>
            </a:endParaRP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11</a:t>
            </a:fld>
            <a:endParaRPr lang="en-US"/>
          </a:p>
        </p:txBody>
      </p:sp>
    </p:spTree>
    <p:extLst>
      <p:ext uri="{BB962C8B-B14F-4D97-AF65-F5344CB8AC3E}">
        <p14:creationId xmlns:p14="http://schemas.microsoft.com/office/powerpoint/2010/main" val="10146270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b="0" i="0" u="none" strike="noStrike" kern="1200">
                <a:solidFill>
                  <a:schemeClr val="tx1"/>
                </a:solidFill>
                <a:effectLst/>
                <a:latin typeface="+mn-lt"/>
                <a:ea typeface="ＭＳ Ｐゴシック" charset="0"/>
                <a:cs typeface="ＭＳ Ｐゴシック" charset="0"/>
              </a:rPr>
              <a:t>[:49]</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b="0" i="0" u="none" strike="noStrike" kern="120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b="0" i="0" u="none" strike="noStrike" kern="1200">
                <a:solidFill>
                  <a:schemeClr val="tx1"/>
                </a:solidFill>
                <a:effectLst/>
                <a:latin typeface="+mn-lt"/>
                <a:ea typeface="ＭＳ Ｐゴシック" charset="0"/>
                <a:cs typeface="ＭＳ Ｐゴシック" charset="0"/>
              </a:rPr>
              <a:t>Without the churn of swiveling between interfaces, you can finally advance your security maturity with automated workflows and unified visibility. </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b="0" i="0" u="none" strike="noStrike" kern="1200">
              <a:solidFill>
                <a:schemeClr val="tx1"/>
              </a:solidFill>
              <a:effectLst/>
              <a:latin typeface="+mn-lt"/>
              <a:ea typeface="ＭＳ Ｐゴシック" charset="0"/>
              <a:cs typeface="ＭＳ Ｐゴシック" charset="0"/>
            </a:endParaRPr>
          </a:p>
          <a:p>
            <a:pPr marL="0" indent="0">
              <a:buFont typeface="Arial" panose="020B0604020202020204" pitchFamily="34" charset="0"/>
              <a:buNone/>
            </a:pPr>
            <a:r>
              <a:rPr lang="en-US"/>
              <a:t>Our platform provides a single view into your security environment. With meaningful data in one place, you can make informed decisions across network, endpoint, cloud, and applications. No more checking different products to correlate alerts understand next steps - from this unified view, you can launch into the right actions. This means you do security more effectively, faster. </a:t>
            </a:r>
          </a:p>
          <a:p>
            <a:pPr marL="0" indent="0">
              <a:buFont typeface="Arial" panose="020B0604020202020204" pitchFamily="34" charset="0"/>
              <a:buNone/>
            </a:pPr>
            <a:endParaRPr lang="en-US"/>
          </a:p>
          <a:p>
            <a:pPr marL="0" indent="0">
              <a:buFont typeface="Arial" panose="020B0604020202020204" pitchFamily="34" charset="0"/>
              <a:buNone/>
            </a:pPr>
            <a:r>
              <a:rPr lang="en-US"/>
              <a:t>Enable automation across critical security workflows like threat hunting, investigation, and remediation. This will accelerate your time to value by increasing the efficiency and precision of your people, products, and processes.</a:t>
            </a:r>
          </a:p>
          <a:p>
            <a:pPr marL="0" indent="0">
              <a:buFont typeface="Arial" panose="020B0604020202020204" pitchFamily="34" charset="0"/>
              <a:buNone/>
            </a:pPr>
            <a:endParaRPr lang="en-US"/>
          </a:p>
          <a:p>
            <a:pPr marL="0" indent="0">
              <a:buFont typeface="Arial" panose="020B0604020202020204" pitchFamily="34" charset="0"/>
              <a:buNone/>
            </a:pPr>
            <a:r>
              <a:rPr lang="en-US"/>
              <a:t>Finally, shared context makes it possible for SecOps, NetOps, and </a:t>
            </a:r>
            <a:r>
              <a:rPr lang="en-US" err="1"/>
              <a:t>ITOps</a:t>
            </a:r>
            <a:r>
              <a:rPr lang="en-US"/>
              <a:t> to work together so they can drive stronger outcomes across workflows. </a:t>
            </a:r>
          </a:p>
          <a:p>
            <a:pPr marL="0" indent="0">
              <a:buFont typeface="Arial" panose="020B0604020202020204" pitchFamily="34" charset="0"/>
              <a:buNone/>
            </a:pPr>
            <a:endParaRPr lang="en-US"/>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a:t>&lt;T&gt; Once your solutions are unified, you’re free to help the business move into the future.</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12</a:t>
            </a:fld>
            <a:endParaRPr lang="en-US"/>
          </a:p>
        </p:txBody>
      </p:sp>
    </p:spTree>
    <p:extLst>
      <p:ext uri="{BB962C8B-B14F-4D97-AF65-F5344CB8AC3E}">
        <p14:creationId xmlns:p14="http://schemas.microsoft.com/office/powerpoint/2010/main" val="32548448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1600" b="0" kern="1200">
                <a:solidFill>
                  <a:schemeClr val="tx2"/>
                </a:solidFill>
              </a:rPr>
              <a:t>[:13]</a:t>
            </a:r>
          </a:p>
          <a:p>
            <a:pPr marL="0" marR="0" lvl="0" indent="0" algn="l" defTabSz="685777" rtl="0" eaLnBrk="1" fontAlgn="auto" latinLnBrk="0" hangingPunct="1">
              <a:lnSpc>
                <a:spcPct val="100000"/>
              </a:lnSpc>
              <a:spcBef>
                <a:spcPts val="0"/>
              </a:spcBef>
              <a:spcAft>
                <a:spcPts val="0"/>
              </a:spcAft>
              <a:buClrTx/>
              <a:buSzTx/>
              <a:buFontTx/>
              <a:buNone/>
              <a:tabLst/>
              <a:defRPr/>
            </a:pPr>
            <a:endParaRPr lang="en-US" sz="1600" b="0" kern="1200">
              <a:solidFill>
                <a:schemeClr val="tx2"/>
              </a:solidFill>
            </a:endParaRPr>
          </a:p>
          <a:p>
            <a:pPr marL="0" marR="0" lvl="0" indent="0" algn="l" defTabSz="685777" rtl="0" eaLnBrk="1" fontAlgn="auto" latinLnBrk="0" hangingPunct="1">
              <a:lnSpc>
                <a:spcPct val="100000"/>
              </a:lnSpc>
              <a:spcBef>
                <a:spcPts val="0"/>
              </a:spcBef>
              <a:spcAft>
                <a:spcPts val="0"/>
              </a:spcAft>
              <a:buClrTx/>
              <a:buSzTx/>
              <a:buFontTx/>
              <a:buNone/>
              <a:tabLst/>
              <a:defRPr/>
            </a:pPr>
            <a:r>
              <a:rPr lang="en-US" sz="1600" b="0" kern="1200">
                <a:solidFill>
                  <a:schemeClr val="tx2"/>
                </a:solidFill>
              </a:rPr>
              <a:t>In addition to simplifying your security experience, the Cisco Security Platform helps your business move faster.</a:t>
            </a:r>
            <a:r>
              <a:rPr lang="en-US" sz="1600" b="1" kern="1200">
                <a:solidFill>
                  <a:schemeClr val="tx2"/>
                </a:solidFill>
              </a:rPr>
              <a:t> </a:t>
            </a:r>
            <a:r>
              <a:rPr lang="en-US" sz="1600" kern="1200">
                <a:solidFill>
                  <a:schemeClr val="tx2"/>
                </a:solidFill>
                <a:ea typeface="ＭＳ Ｐゴシック" charset="0"/>
                <a:cs typeface="ＭＳ Ｐゴシック" charset="0"/>
              </a:rPr>
              <a:t>Champion innovation with a powerful, pervasive platform that keeps you safe.</a:t>
            </a:r>
          </a:p>
          <a:p>
            <a:pPr marL="0" marR="0" lvl="0" indent="0" algn="l" defTabSz="685777" rtl="0" eaLnBrk="1" fontAlgn="auto" latinLnBrk="0" hangingPunct="1">
              <a:lnSpc>
                <a:spcPct val="100000"/>
              </a:lnSpc>
              <a:spcBef>
                <a:spcPts val="0"/>
              </a:spcBef>
              <a:spcAft>
                <a:spcPts val="0"/>
              </a:spcAft>
              <a:buClrTx/>
              <a:buSzTx/>
              <a:buFontTx/>
              <a:buNone/>
              <a:tabLst/>
              <a:defRPr/>
            </a:pPr>
            <a:endParaRPr lang="en-US" sz="1600" kern="1200">
              <a:solidFill>
                <a:schemeClr val="tx2"/>
              </a:solidFill>
              <a:ea typeface="ＭＳ Ｐゴシック" charset="0"/>
              <a:cs typeface="ＭＳ Ｐゴシック" charset="0"/>
            </a:endParaRPr>
          </a:p>
          <a:p>
            <a:pPr marL="0" marR="0" lvl="0" indent="0" algn="l" defTabSz="685777" rtl="0" eaLnBrk="1" fontAlgn="auto" latinLnBrk="0" hangingPunct="1">
              <a:lnSpc>
                <a:spcPct val="100000"/>
              </a:lnSpc>
              <a:spcBef>
                <a:spcPts val="0"/>
              </a:spcBef>
              <a:spcAft>
                <a:spcPts val="0"/>
              </a:spcAft>
              <a:buClrTx/>
              <a:buSzTx/>
              <a:buFontTx/>
              <a:buNone/>
              <a:tabLst/>
              <a:defRPr/>
            </a:pPr>
            <a:r>
              <a:rPr lang="en-US" sz="1600"/>
              <a:t>&lt;T&gt; Let us protect you now, so you can focus on what’s next.</a:t>
            </a:r>
            <a:endParaRPr lang="en-US" sz="1600" kern="1200">
              <a:solidFill>
                <a:schemeClr val="tx2"/>
              </a:solidFill>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600">
              <a:solidFill>
                <a:schemeClr val="tx1"/>
              </a:solidFill>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600" i="1" kern="1200">
                <a:solidFill>
                  <a:schemeClr val="tx2"/>
                </a:solidFill>
                <a:ea typeface="ＭＳ Ｐゴシック" charset="0"/>
                <a:cs typeface="ＭＳ Ｐゴシック" charset="0"/>
              </a:rPr>
              <a:t>[Seller guidance: Below are the benefits of “Your Success Accelerated.” If you know your audience’s pain points, you can leverage these benefits to augment the pitch.]</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600">
              <a:solidFill>
                <a:schemeClr val="tx1"/>
              </a:solidFill>
            </a:endParaRPr>
          </a:p>
          <a:p>
            <a:pPr marL="144463" marR="0" lvl="0" indent="-144463" algn="l" defTabSz="68576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en-US" sz="1600" i="1" kern="1200">
                <a:solidFill>
                  <a:schemeClr val="tx2"/>
                </a:solidFill>
                <a:ea typeface="ＭＳ Ｐゴシック" charset="0"/>
                <a:cs typeface="ＭＳ Ｐゴシック" charset="0"/>
              </a:rPr>
              <a:t>Protect everywhere with a single platform </a:t>
            </a:r>
          </a:p>
          <a:p>
            <a:pPr marL="144463" marR="0" lvl="0" indent="-144463" algn="l" defTabSz="68576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en-US" sz="1600" i="1" kern="1200">
                <a:solidFill>
                  <a:schemeClr val="tx2"/>
                </a:solidFill>
                <a:ea typeface="ＭＳ Ｐゴシック" charset="0"/>
                <a:cs typeface="ＭＳ Ｐゴシック" charset="0"/>
              </a:rPr>
              <a:t>Security that works as fast as you do </a:t>
            </a:r>
          </a:p>
          <a:p>
            <a:pPr marL="144463" marR="0" lvl="0" indent="-144463" algn="l" defTabSz="68576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en-US" sz="1600" i="1" kern="1200">
                <a:solidFill>
                  <a:schemeClr val="tx2"/>
                </a:solidFill>
                <a:ea typeface="ＭＳ Ｐゴシック" charset="0"/>
                <a:cs typeface="ＭＳ Ｐゴシック" charset="0"/>
              </a:rPr>
              <a:t>Better efficacy with smarter security </a:t>
            </a:r>
          </a:p>
          <a:p>
            <a:pPr marL="144463" marR="0" lvl="0" indent="-144463" algn="l" defTabSz="68576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en-US" sz="1600" i="1" kern="1200">
                <a:solidFill>
                  <a:schemeClr val="tx2"/>
                </a:solidFill>
                <a:ea typeface="ＭＳ Ｐゴシック" charset="0"/>
                <a:cs typeface="ＭＳ Ｐゴシック" charset="0"/>
              </a:rPr>
              <a:t>Bring machine-scale observations to human-scale understanding</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600">
              <a:solidFill>
                <a:schemeClr val="tx1"/>
              </a:solidFill>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600"/>
              <a:t>Resources: </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600">
                <a:hlinkClick r:id="rId3"/>
              </a:rPr>
              <a:t>https://connectedfutures.cisco.com/report/cybersecurity-as-a-growth-advantage/</a:t>
            </a:r>
            <a:endParaRPr lang="en-US" sz="1600"/>
          </a:p>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77598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000000"/>
                </a:solidFill>
              </a:rPr>
              <a:t>[:44]</a:t>
            </a:r>
          </a:p>
          <a:p>
            <a:endParaRPr lang="en-US">
              <a:solidFill>
                <a:srgbClr val="000000"/>
              </a:solidFill>
            </a:endParaRPr>
          </a:p>
          <a:p>
            <a:r>
              <a:rPr lang="en-US">
                <a:solidFill>
                  <a:srgbClr val="000000"/>
                </a:solidFill>
              </a:rPr>
              <a:t>Business moves faster than ever before. Your workforce is on the go – employees travel across the world for conferences, meetings, and events. Or they’re working from home, on their personal wi-fi networks. They’re constantly shifting between tablets, laptops, and phones, using whatever they need to get the job done. </a:t>
            </a:r>
          </a:p>
          <a:p>
            <a:endParaRPr lang="en-US">
              <a:solidFill>
                <a:srgbClr val="000000"/>
              </a:solidFill>
            </a:endParaRPr>
          </a:p>
          <a:p>
            <a:r>
              <a:rPr lang="en-US">
                <a:solidFill>
                  <a:srgbClr val="000000"/>
                </a:solidFill>
              </a:rPr>
              <a:t>To ensure your security can keep up with the rapid pace of business, you need to be able to: </a:t>
            </a:r>
          </a:p>
          <a:p>
            <a:endParaRPr lang="en-US">
              <a:solidFill>
                <a:srgbClr val="000000"/>
              </a:solidFill>
            </a:endParaRPr>
          </a:p>
          <a:p>
            <a:pPr marL="171450" indent="-171450">
              <a:buFont typeface="Arial" panose="020B0604020202020204" pitchFamily="34" charset="0"/>
              <a:buChar char="•"/>
            </a:pPr>
            <a:r>
              <a:rPr lang="en-US">
                <a:solidFill>
                  <a:srgbClr val="000000"/>
                </a:solidFill>
              </a:rPr>
              <a:t>Connect roaming users to the internet, wherever they go </a:t>
            </a:r>
          </a:p>
          <a:p>
            <a:pPr marL="171450" indent="-171450">
              <a:buFont typeface="Arial" panose="020B0604020202020204" pitchFamily="34" charset="0"/>
              <a:buChar char="•"/>
            </a:pPr>
            <a:r>
              <a:rPr lang="en-US">
                <a:solidFill>
                  <a:srgbClr val="000000"/>
                </a:solidFill>
              </a:rPr>
              <a:t>Secure your teams in a way that doesn’t add friction </a:t>
            </a:r>
          </a:p>
          <a:p>
            <a:pPr marL="171450" indent="-171450">
              <a:buFont typeface="Arial" panose="020B0604020202020204" pitchFamily="34" charset="0"/>
              <a:buChar char="•"/>
            </a:pPr>
            <a:r>
              <a:rPr lang="en-US">
                <a:solidFill>
                  <a:srgbClr val="000000"/>
                </a:solidFill>
              </a:rPr>
              <a:t>Quickly detect and remediate threats, no matter how quickly your business scales </a:t>
            </a:r>
          </a:p>
          <a:p>
            <a:pPr marL="171450" indent="-171450">
              <a:buFont typeface="Arial" panose="020B0604020202020204" pitchFamily="34" charset="0"/>
              <a:buChar char="•"/>
            </a:pPr>
            <a:r>
              <a:rPr lang="en-US">
                <a:solidFill>
                  <a:srgbClr val="000000"/>
                </a:solidFill>
              </a:rPr>
              <a:t>Give users the connection speed and performance they need to excel at their jobs. </a:t>
            </a:r>
          </a:p>
          <a:p>
            <a:endParaRPr lang="en-US">
              <a:solidFill>
                <a:srgbClr val="000000"/>
              </a:solidFill>
            </a:endParaRPr>
          </a:p>
          <a:p>
            <a:r>
              <a:rPr lang="en-US">
                <a:solidFill>
                  <a:srgbClr val="000000"/>
                </a:solidFill>
              </a:rPr>
              <a:t>&lt;T&gt; A secure internet gateway (SIG) is one of the best solutions to the challenges of modern security. </a:t>
            </a:r>
          </a:p>
          <a:p>
            <a:endParaRPr lang="en-US">
              <a:solidFill>
                <a:srgbClr val="000000"/>
              </a:solidFill>
            </a:endParaRPr>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14</a:t>
            </a:fld>
            <a:endParaRPr lang="en-US"/>
          </a:p>
        </p:txBody>
      </p:sp>
    </p:spTree>
    <p:extLst>
      <p:ext uri="{BB962C8B-B14F-4D97-AF65-F5344CB8AC3E}">
        <p14:creationId xmlns:p14="http://schemas.microsoft.com/office/powerpoint/2010/main" val="30516929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a:solidFill>
                  <a:srgbClr val="000000"/>
                </a:solidFill>
                <a:cs typeface="CiscoSansTT ExtraLight" panose="020B0303020201020303" pitchFamily="34" charset="0"/>
              </a:rPr>
              <a:t>[:53]</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a:solidFill>
                <a:srgbClr val="000000"/>
              </a:solidFill>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a:solidFill>
                  <a:srgbClr val="000000"/>
                </a:solidFill>
                <a:cs typeface="CiscoSansTT ExtraLight" panose="020B0303020201020303" pitchFamily="34" charset="0"/>
              </a:rPr>
              <a:t>And Umbrella is one of the best secure internet gateways on the market to accelerate cloud adoption. </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a:solidFill>
                <a:srgbClr val="000000"/>
              </a:solidFill>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a:solidFill>
                  <a:srgbClr val="000000"/>
                </a:solidFill>
                <a:cs typeface="CiscoSansTT ExtraLight" panose="020B0303020201020303" pitchFamily="34" charset="0"/>
              </a:rPr>
              <a:t>Umbrella acts as your secure onramp to the internet. DNS-layer security, Secure Web Gateway capabilities, and cloud-delivered firewall functionality create the first line of defense and inspection for any traffic, so wherever your users are or what they’re connecting to, their access is secure</a:t>
            </a:r>
            <a:r>
              <a:rPr lang="en-US" u="none" strike="noStrike" kern="1200">
                <a:solidFill>
                  <a:schemeClr val="tx1"/>
                </a:solidFill>
                <a:effectLst/>
                <a:cs typeface="CiscoSansTT ExtraLight" panose="020B0303020201020303" pitchFamily="34" charset="0"/>
              </a:rPr>
              <a:t>. Once the traffic reaches the SIG cloud platform, you can easily implement different types of inspection and policy enforcement.</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u="none" strike="noStrike" kern="1200">
              <a:solidFill>
                <a:schemeClr val="tx1"/>
              </a:solidFill>
              <a:effectLst/>
              <a:cs typeface="CiscoSansTT ExtraLight" panose="020B0303020201020303" pitchFamily="34" charset="0"/>
            </a:endParaRP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a:cs typeface="CiscoSansTT ExtraLight" panose="020B0303020201020303" pitchFamily="34" charset="0"/>
              </a:rPr>
              <a:t>And by integrating</a:t>
            </a:r>
            <a:r>
              <a:rPr lang="en-US" u="none" strike="noStrike" kern="1200">
                <a:solidFill>
                  <a:schemeClr val="tx1"/>
                </a:solidFill>
                <a:effectLst/>
                <a:cs typeface="CiscoSansTT ExtraLight" panose="020B0303020201020303" pitchFamily="34" charset="0"/>
              </a:rPr>
              <a:t> multiple security services — DNS, secure web gateway, firewall, cloud access security broker, and more — Umbrella enables you to centrally manage protection for all your remote and branch locations. It’s quick to deploy and configure, and doesn’t get in your users' way, creating the ideal balance of security and user experience. </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u="none" strike="noStrike" kern="1200">
              <a:solidFill>
                <a:schemeClr val="tx1"/>
              </a:solidFill>
              <a:effectLst/>
              <a:cs typeface="CiscoSansTT ExtraLight" panose="020B0303020201020303" pitchFamily="34" charset="0"/>
            </a:endParaRPr>
          </a:p>
          <a:p>
            <a:pPr marL="0" indent="0">
              <a:lnSpc>
                <a:spcPct val="100000"/>
              </a:lnSpc>
              <a:buFont typeface="Arial" panose="020B0604020202020204" pitchFamily="34" charset="0"/>
              <a:buNone/>
            </a:pPr>
            <a:r>
              <a:rPr lang="en-US">
                <a:solidFill>
                  <a:schemeClr val="tx1"/>
                </a:solidFill>
                <a:cs typeface="CiscoSansTT ExtraLight" panose="020B0303020201020303" pitchFamily="34" charset="0"/>
              </a:rPr>
              <a:t>&lt;T&gt; Umbrella is just the tip of the iceberg in terms of how we can help accelerate your success and improve security efficacy. </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a:solidFill>
                <a:schemeClr val="tx1"/>
              </a:solidFill>
              <a:cs typeface="CiscoSansTT ExtraLight" panose="020B03030202010203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05164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kern="1200">
                <a:solidFill>
                  <a:schemeClr val="tx2"/>
                </a:solidFill>
              </a:rPr>
              <a:t>[:41]</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kern="1200">
              <a:solidFill>
                <a:schemeClr val="tx2"/>
              </a:solidFill>
            </a:endParaRP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kern="1200">
                <a:solidFill>
                  <a:schemeClr val="tx2"/>
                </a:solidFill>
              </a:rPr>
              <a:t>Our partner ecosystem of 170 and growing is designed to get you to where you need to go, faster. Forget cumbersome, manual integrations, or solutions that don’t talk to one another. The Cisco Security Platform works with you already have and will work with the tools you’ll need to add the future. </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kern="1200">
              <a:solidFill>
                <a:schemeClr val="tx2"/>
              </a:solidFill>
            </a:endParaRP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kern="1200">
                <a:solidFill>
                  <a:schemeClr val="tx2"/>
                </a:solidFill>
              </a:rPr>
              <a:t>Choose what works for your business from a broad and open ecosystem.</a:t>
            </a:r>
          </a:p>
          <a:p>
            <a:pPr marL="171450" lvl="0" indent="-171450" algn="l" defTabSz="914346" rtl="0" eaLnBrk="1" latinLnBrk="0" hangingPunct="1">
              <a:spcBef>
                <a:spcPts val="200"/>
              </a:spcBef>
              <a:spcAft>
                <a:spcPts val="0"/>
              </a:spcAft>
              <a:buFont typeface="Arial" panose="020B0604020202020204" pitchFamily="34" charset="0"/>
              <a:buChar char="•"/>
            </a:pPr>
            <a:r>
              <a:rPr lang="en-US" sz="1200" kern="1200">
                <a:solidFill>
                  <a:schemeClr val="tx2"/>
                </a:solidFill>
                <a:ea typeface="ＭＳ Ｐゴシック" charset="0"/>
                <a:cs typeface="ＭＳ Ｐゴシック" charset="0"/>
              </a:rPr>
              <a:t>Work with your preferred security products using open APIs</a:t>
            </a:r>
          </a:p>
          <a:p>
            <a:pPr marL="171450" lvl="0" indent="-171450" algn="l" defTabSz="914346" rtl="0" eaLnBrk="1" latinLnBrk="0" hangingPunct="1">
              <a:spcBef>
                <a:spcPts val="200"/>
              </a:spcBef>
              <a:spcAft>
                <a:spcPts val="0"/>
              </a:spcAft>
              <a:buFont typeface="Arial" panose="020B0604020202020204" pitchFamily="34" charset="0"/>
              <a:buChar char="•"/>
            </a:pPr>
            <a:r>
              <a:rPr lang="en-US" sz="1200" kern="1200">
                <a:solidFill>
                  <a:schemeClr val="tx2"/>
                </a:solidFill>
                <a:ea typeface="ＭＳ Ｐゴシック" charset="0"/>
                <a:cs typeface="ＭＳ Ｐゴシック" charset="0"/>
              </a:rPr>
              <a:t>Cisco Security is an open, standards-based exchange platform with an ecosystem of more than 170 security partners with 300+ integrations</a:t>
            </a:r>
            <a:r>
              <a:rPr lang="en-US" sz="1200" kern="1200" baseline="30000">
                <a:solidFill>
                  <a:schemeClr val="tx2"/>
                </a:solidFill>
                <a:ea typeface="ＭＳ Ｐゴシック" charset="0"/>
                <a:cs typeface="ＭＳ Ｐゴシック" charset="0"/>
              </a:rPr>
              <a:t>23</a:t>
            </a:r>
          </a:p>
          <a:p>
            <a:pPr marL="171450" lvl="0" indent="-171450" algn="l" defTabSz="914346" rtl="0" eaLnBrk="1" latinLnBrk="0" hangingPunct="1">
              <a:spcBef>
                <a:spcPts val="200"/>
              </a:spcBef>
              <a:spcAft>
                <a:spcPts val="0"/>
              </a:spcAft>
              <a:buFont typeface="Arial" panose="020B0604020202020204" pitchFamily="34" charset="0"/>
              <a:buChar char="•"/>
            </a:pPr>
            <a:r>
              <a:rPr lang="en-US" sz="1200" kern="1200">
                <a:solidFill>
                  <a:schemeClr val="tx2"/>
                </a:solidFill>
                <a:ea typeface="ＭＳ Ｐゴシック" charset="0"/>
                <a:cs typeface="ＭＳ Ｐゴシック" charset="0"/>
              </a:rPr>
              <a:t>And we’re constantly adding new partners and integrations. </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lt;T&gt; Because we’re thinking about what your business needs to. And we’ve also created a strong foundation for the future.  </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16</a:t>
            </a:fld>
            <a:endParaRPr lang="en-US"/>
          </a:p>
        </p:txBody>
      </p:sp>
    </p:spTree>
    <p:extLst>
      <p:ext uri="{BB962C8B-B14F-4D97-AF65-F5344CB8AC3E}">
        <p14:creationId xmlns:p14="http://schemas.microsoft.com/office/powerpoint/2010/main" val="40238200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1600" b="0" kern="1200">
                <a:solidFill>
                  <a:schemeClr val="tx2"/>
                </a:solidFill>
                <a:latin typeface="CiscoSansTT" panose="020B0503020201020303" pitchFamily="34" charset="0"/>
              </a:rPr>
              <a:t>[:18]</a:t>
            </a:r>
          </a:p>
          <a:p>
            <a:pPr marL="0" marR="0" lvl="0" indent="0" algn="l" defTabSz="685777" rtl="0" eaLnBrk="1" fontAlgn="auto" latinLnBrk="0" hangingPunct="1">
              <a:lnSpc>
                <a:spcPct val="100000"/>
              </a:lnSpc>
              <a:spcBef>
                <a:spcPts val="0"/>
              </a:spcBef>
              <a:spcAft>
                <a:spcPts val="0"/>
              </a:spcAft>
              <a:buClrTx/>
              <a:buSzTx/>
              <a:buFontTx/>
              <a:buNone/>
              <a:tabLst/>
              <a:defRPr/>
            </a:pPr>
            <a:endParaRPr lang="en-US" sz="1600" b="1" kern="1200">
              <a:solidFill>
                <a:schemeClr val="tx2"/>
              </a:solidFill>
              <a:latin typeface="CiscoSansTT" panose="020B0503020201020303" pitchFamily="34" charset="0"/>
            </a:endParaRPr>
          </a:p>
          <a:p>
            <a:pPr marL="0" marR="0" lvl="0" indent="0" algn="l" defTabSz="685777" rtl="0" eaLnBrk="1" fontAlgn="auto" latinLnBrk="0" hangingPunct="1">
              <a:lnSpc>
                <a:spcPct val="100000"/>
              </a:lnSpc>
              <a:spcBef>
                <a:spcPts val="0"/>
              </a:spcBef>
              <a:spcAft>
                <a:spcPts val="0"/>
              </a:spcAft>
              <a:buClrTx/>
              <a:buSzTx/>
              <a:buFontTx/>
              <a:buNone/>
              <a:tabLst/>
              <a:defRPr/>
            </a:pPr>
            <a:r>
              <a:rPr lang="en-US" sz="1600" b="1" kern="1200">
                <a:solidFill>
                  <a:schemeClr val="tx2"/>
                </a:solidFill>
                <a:latin typeface="CiscoSansTT" panose="020B0503020201020303" pitchFamily="34" charset="0"/>
              </a:rPr>
              <a:t>Security that helps you breathe easier. </a:t>
            </a:r>
            <a:r>
              <a:rPr lang="en-US" sz="1200" kern="1200">
                <a:solidFill>
                  <a:schemeClr val="tx2"/>
                </a:solidFill>
                <a:latin typeface="CiscoSansTT Light" panose="020B0503020201020303"/>
                <a:ea typeface="ＭＳ Ｐゴシック" charset="0"/>
                <a:cs typeface="ＭＳ Ｐゴシック" charset="0"/>
              </a:rPr>
              <a:t>Future-proof your security strategy and reduce risk with a platform you can rely on, backed by unparalleled resources and expertise.</a:t>
            </a:r>
          </a:p>
          <a:p>
            <a:pPr marL="0" marR="0" lvl="0" indent="0" algn="l" defTabSz="685777" rtl="0" eaLnBrk="1" fontAlgn="auto" latinLnBrk="0" hangingPunct="1">
              <a:lnSpc>
                <a:spcPct val="100000"/>
              </a:lnSpc>
              <a:spcBef>
                <a:spcPts val="0"/>
              </a:spcBef>
              <a:spcAft>
                <a:spcPts val="0"/>
              </a:spcAft>
              <a:buClrTx/>
              <a:buSzTx/>
              <a:buFontTx/>
              <a:buNone/>
              <a:tabLst/>
              <a:defRPr/>
            </a:pPr>
            <a:endParaRPr lang="en-US" sz="1200" kern="1200">
              <a:solidFill>
                <a:schemeClr val="tx2"/>
              </a:solidFill>
              <a:latin typeface="CiscoSansTT Light" panose="020B0503020201020303"/>
              <a:ea typeface="ＭＳ Ｐゴシック" charset="0"/>
              <a:cs typeface="ＭＳ Ｐゴシック" charset="0"/>
            </a:endParaRPr>
          </a:p>
          <a:p>
            <a:pPr marL="144463" marR="0" lvl="0" indent="-144463" algn="l" defTabSz="68576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en-US" sz="1600" kern="1200">
                <a:solidFill>
                  <a:schemeClr val="tx2"/>
                </a:solidFill>
                <a:latin typeface="CiscoSansTT Light" panose="020B0503020201020303"/>
                <a:ea typeface="ＭＳ Ｐゴシック" charset="0"/>
                <a:cs typeface="ＭＳ Ｐゴシック" charset="0"/>
              </a:rPr>
              <a:t>Stay one step ahead </a:t>
            </a:r>
          </a:p>
          <a:p>
            <a:pPr marL="144463" marR="0" lvl="0" indent="-144463" algn="l" defTabSz="68576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en-US" sz="1600" kern="1200">
                <a:solidFill>
                  <a:schemeClr val="tx2"/>
                </a:solidFill>
                <a:latin typeface="CiscoSansTT Light" panose="020B0503020201020303"/>
                <a:ea typeface="ＭＳ Ｐゴシック" charset="0"/>
                <a:cs typeface="ＭＳ Ｐゴシック" charset="0"/>
              </a:rPr>
              <a:t>Live on the front line of innovation</a:t>
            </a:r>
          </a:p>
          <a:p>
            <a:pPr marL="144463" marR="0" lvl="0" indent="-144463" algn="l" defTabSz="68576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en-US" sz="1600" kern="1200">
                <a:solidFill>
                  <a:schemeClr val="tx2"/>
                </a:solidFill>
                <a:latin typeface="CiscoSansTT Light" panose="020B0503020201020303"/>
                <a:ea typeface="ＭＳ Ｐゴシック" charset="0"/>
                <a:cs typeface="ＭＳ Ｐゴシック" charset="0"/>
              </a:rPr>
              <a:t>Invest with confidence in a platform designed for the long haul</a:t>
            </a:r>
          </a:p>
          <a:p>
            <a:pPr marL="144463" marR="0" lvl="0" indent="-144463" algn="l" defTabSz="685760" rtl="0" eaLnBrk="1" fontAlgn="auto" latinLnBrk="0" hangingPunct="1">
              <a:lnSpc>
                <a:spcPct val="100000"/>
              </a:lnSpc>
              <a:spcBef>
                <a:spcPts val="200"/>
              </a:spcBef>
              <a:spcAft>
                <a:spcPts val="300"/>
              </a:spcAft>
              <a:buClrTx/>
              <a:buSzTx/>
              <a:buFont typeface="Arial" panose="020B0604020202020204" pitchFamily="34" charset="0"/>
              <a:buChar char="•"/>
              <a:tabLst/>
              <a:defRPr/>
            </a:pPr>
            <a:r>
              <a:rPr lang="en-US" sz="1600" kern="1200">
                <a:solidFill>
                  <a:schemeClr val="tx2"/>
                </a:solidFill>
                <a:latin typeface="CiscoSansTT Light" panose="020B0503020201020303"/>
                <a:ea typeface="ＭＳ Ｐゴシック" charset="0"/>
                <a:cs typeface="ＭＳ Ｐゴシック" charset="0"/>
              </a:rPr>
              <a:t>Security experience that takes you further</a:t>
            </a:r>
          </a:p>
          <a:p>
            <a:pPr marL="0" marR="0" lvl="0" indent="0" algn="l" defTabSz="685777" rtl="0" eaLnBrk="1" fontAlgn="auto" latinLnBrk="0" hangingPunct="1">
              <a:lnSpc>
                <a:spcPct val="100000"/>
              </a:lnSpc>
              <a:spcBef>
                <a:spcPts val="0"/>
              </a:spcBef>
              <a:spcAft>
                <a:spcPts val="0"/>
              </a:spcAft>
              <a:buClrTx/>
              <a:buSzTx/>
              <a:buFontTx/>
              <a:buNone/>
              <a:tabLst/>
              <a:defRPr/>
            </a:pPr>
            <a:endParaRPr lang="en-US" sz="1600" kern="1200">
              <a:solidFill>
                <a:schemeClr val="tx2"/>
              </a:solidFill>
              <a:latin typeface="CiscoSansTT Light" panose="020B0503020201020303"/>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285817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56]</a:t>
            </a:r>
          </a:p>
          <a:p>
            <a:endParaRPr lang="en-US"/>
          </a:p>
          <a:p>
            <a:r>
              <a:rPr lang="en-US"/>
              <a:t>Threats are evolving. Security is changing as new innovations are introduced almost every day. So you can’t take a one and done approach to security. As much as you need to think about how to secure your business today, you need to have a comprehensive plan going forward.</a:t>
            </a:r>
          </a:p>
          <a:p>
            <a:endParaRPr lang="en-US"/>
          </a:p>
          <a:p>
            <a:pPr marL="171450" indent="-171450">
              <a:buFont typeface="Arial" panose="020B0604020202020204" pitchFamily="34" charset="0"/>
              <a:buChar char="•"/>
            </a:pPr>
            <a:r>
              <a:rPr lang="en-US"/>
              <a:t>A completely secure future requires an effective approach to secure access, threat response, and policy management. </a:t>
            </a:r>
          </a:p>
          <a:p>
            <a:pPr marL="171450" indent="-171450">
              <a:buFont typeface="Arial" panose="020B0604020202020204" pitchFamily="34" charset="0"/>
              <a:buChar char="•"/>
            </a:pPr>
            <a:r>
              <a:rPr lang="en-US"/>
              <a:t>You’ll need to stay abreast of compliance changes and understand the risk factors that threaten your business. Knowing how to respond in the event of a ransomware attack or data breach can mean the difference between breezy success and catastrophic failure. </a:t>
            </a:r>
          </a:p>
          <a:p>
            <a:pPr marL="171450" indent="-171450">
              <a:buFont typeface="Arial" panose="020B0604020202020204" pitchFamily="34" charset="0"/>
              <a:buChar char="•"/>
            </a:pPr>
            <a:r>
              <a:rPr lang="en-US"/>
              <a:t>New solutions and products come out daily. You’ll need to adopt them in a way that doesn’t further complicated your portfolio. </a:t>
            </a:r>
          </a:p>
          <a:p>
            <a:pPr marL="171450" indent="-171450">
              <a:buFont typeface="Arial" panose="020B0604020202020204" pitchFamily="34" charset="0"/>
              <a:buChar char="•"/>
            </a:pPr>
            <a:r>
              <a:rPr lang="en-US"/>
              <a:t>And finally, you can’t be caught off guard when new threats emerge. You need to ensure you’ll always have access to the latest innovations and updates. </a:t>
            </a:r>
          </a:p>
          <a:p>
            <a:endParaRPr lang="en-US"/>
          </a:p>
          <a:p>
            <a:r>
              <a:rPr lang="en-US"/>
              <a:t>&lt;T&gt; At Cisco, we can help you plan for the future.</a:t>
            </a:r>
          </a:p>
          <a:p>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18</a:t>
            </a:fld>
            <a:endParaRPr lang="en-US"/>
          </a:p>
        </p:txBody>
      </p:sp>
    </p:spTree>
    <p:extLst>
      <p:ext uri="{BB962C8B-B14F-4D97-AF65-F5344CB8AC3E}">
        <p14:creationId xmlns:p14="http://schemas.microsoft.com/office/powerpoint/2010/main" val="22141607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a:ea typeface="ＭＳ Ｐゴシック"/>
                <a:cs typeface="Calibri"/>
              </a:rPr>
              <a:t>[:52]</a:t>
            </a:r>
          </a:p>
          <a:p>
            <a:pPr fontAlgn="base"/>
            <a:endParaRPr lang="en-US">
              <a:ea typeface="ＭＳ Ｐゴシック"/>
              <a:cs typeface="Calibri"/>
            </a:endParaRPr>
          </a:p>
          <a:p>
            <a:pPr fontAlgn="base"/>
            <a:r>
              <a:rPr lang="en-US">
                <a:ea typeface="ＭＳ Ｐゴシック"/>
                <a:cs typeface="Calibri"/>
              </a:rPr>
              <a:t>A secure future begins with a Zero Trust strategy. 81% of breaches involved compromised credentials, showing that passwords are an effective way to get past traditional perimeter defenses and get access to applications, undetected. </a:t>
            </a:r>
            <a:r>
              <a:rPr lang="en-US" sz="1200" b="0" i="0" kern="1200">
                <a:solidFill>
                  <a:schemeClr val="tx1"/>
                </a:solidFill>
                <a:effectLst/>
                <a:latin typeface="+mn-lt"/>
                <a:ea typeface="ＭＳ Ｐゴシック" charset="0"/>
                <a:cs typeface="ＭＳ Ｐゴシック" charset="0"/>
              </a:rPr>
              <a:t>The Cisco Zero Trust security framework helps you prevent unauthorized access, contain breaches, and reduce the risk of an attacker's lateral movement through your network. Zero Trust is the foundation for a strong security posture. </a:t>
            </a:r>
            <a:endParaRPr lang="en-US">
              <a:ea typeface="ＭＳ Ｐゴシック"/>
              <a:cs typeface="Calibri"/>
            </a:endParaRPr>
          </a:p>
          <a:p>
            <a:pPr marL="0" lvl="0" indent="0">
              <a:buFont typeface="Arial" panose="020B0604020202020204" pitchFamily="34" charset="0"/>
              <a:buNone/>
            </a:pPr>
            <a:endParaRPr lang="en-US" sz="1200" b="0" i="0" kern="1200">
              <a:solidFill>
                <a:schemeClr val="tx1"/>
              </a:solidFill>
              <a:effectLst/>
              <a:latin typeface="+mn-lt"/>
              <a:ea typeface="ＭＳ Ｐゴシック" charset="0"/>
              <a:cs typeface="ＭＳ Ｐゴシック" charset="0"/>
            </a:endParaRPr>
          </a:p>
          <a:p>
            <a:r>
              <a:rPr lang="en-US"/>
              <a:t>We verify trust for the workforce by verifying your user is who they say they are and ensuring they have access to only the applications they need.</a:t>
            </a:r>
          </a:p>
          <a:p>
            <a:pPr marL="171450" indent="-171450">
              <a:buFontTx/>
              <a:buChar char="-"/>
            </a:pPr>
            <a:endParaRPr lang="en-US"/>
          </a:p>
          <a:p>
            <a:pPr marL="0" indent="0">
              <a:buFontTx/>
              <a:buNone/>
            </a:pPr>
            <a:r>
              <a:rPr lang="en-US"/>
              <a:t>We verify trust for workloads by identifying what applications are running and verifying that communication between workloads are secure &amp; trusted</a:t>
            </a:r>
          </a:p>
          <a:p>
            <a:pPr marL="171450" indent="-171450">
              <a:buFontTx/>
              <a:buChar char="-"/>
            </a:pPr>
            <a:endParaRPr lang="en-US"/>
          </a:p>
          <a:p>
            <a:pPr marL="0" indent="0">
              <a:buFontTx/>
              <a:buNone/>
            </a:pPr>
            <a:r>
              <a:rPr lang="en-US"/>
              <a:t>We verify trust for the workplace by ensuring users and devices need to authenticate before connecting to your network and tracking what they’re allowed insight into.</a:t>
            </a:r>
          </a:p>
          <a:p>
            <a:pPr marL="0" indent="0">
              <a:buFont typeface="Arial" panose="020B0604020202020204" pitchFamily="34" charset="0"/>
              <a:buNone/>
            </a:pPr>
            <a:endParaRPr lang="en-US"/>
          </a:p>
          <a:p>
            <a:pPr marL="0" indent="0">
              <a:buFont typeface="Arial" panose="020B0604020202020204" pitchFamily="34" charset="0"/>
              <a:buNone/>
            </a:pPr>
            <a:r>
              <a:rPr lang="en-US"/>
              <a:t>&lt;T&gt; Even with a secure foundation, </a:t>
            </a:r>
            <a:r>
              <a:rPr lang="en-US" sz="1200" kern="1200">
                <a:solidFill>
                  <a:schemeClr val="tx1"/>
                </a:solidFill>
                <a:effectLst/>
                <a:latin typeface="+mn-lt"/>
                <a:ea typeface="ＭＳ Ｐゴシック" charset="0"/>
                <a:cs typeface="ＭＳ Ｐゴシック" charset="0"/>
              </a:rPr>
              <a:t>an effective security posture requires an eye towards the future </a:t>
            </a:r>
            <a:r>
              <a:rPr lang="en-US"/>
              <a:t>.  </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19</a:t>
            </a:fld>
            <a:endParaRPr lang="en-US"/>
          </a:p>
        </p:txBody>
      </p:sp>
    </p:spTree>
    <p:extLst>
      <p:ext uri="{BB962C8B-B14F-4D97-AF65-F5344CB8AC3E}">
        <p14:creationId xmlns:p14="http://schemas.microsoft.com/office/powerpoint/2010/main" val="32159652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kern="1200">
                <a:solidFill>
                  <a:schemeClr val="tx1"/>
                </a:solidFill>
                <a:effectLst/>
                <a:latin typeface="+mn-lt"/>
                <a:ea typeface="ＭＳ Ｐゴシック" charset="0"/>
                <a:cs typeface="ＭＳ Ｐゴシック" charset="0"/>
              </a:rPr>
              <a:t>[:36]</a:t>
            </a:r>
          </a:p>
          <a:p>
            <a:endParaRPr lang="en-US" sz="1100" kern="1200">
              <a:solidFill>
                <a:schemeClr val="tx1"/>
              </a:solidFill>
              <a:effectLst/>
              <a:latin typeface="+mn-lt"/>
              <a:ea typeface="ＭＳ Ｐゴシック" charset="0"/>
              <a:cs typeface="ＭＳ Ｐゴシック" charset="0"/>
            </a:endParaRPr>
          </a:p>
          <a:p>
            <a:r>
              <a:rPr lang="en-US" sz="1100" kern="1200">
                <a:solidFill>
                  <a:schemeClr val="tx1"/>
                </a:solidFill>
                <a:effectLst/>
                <a:latin typeface="+mn-lt"/>
                <a:ea typeface="ＭＳ Ｐゴシック" charset="0"/>
                <a:cs typeface="ＭＳ Ｐゴシック" charset="0"/>
              </a:rPr>
              <a:t>You’re working to build the future. But the way you do business – and the environment you’re doing it in – is changing. 42% of the workforce is now mobile and 88% of organizations have more than 5 remote offices. </a:t>
            </a:r>
          </a:p>
          <a:p>
            <a:r>
              <a:rPr lang="en-US" sz="1100" kern="1200">
                <a:solidFill>
                  <a:schemeClr val="tx1"/>
                </a:solidFill>
                <a:effectLst/>
                <a:latin typeface="+mn-lt"/>
                <a:ea typeface="ＭＳ Ｐゴシック" charset="0"/>
                <a:cs typeface="ＭＳ Ｐゴシック" charset="0"/>
              </a:rPr>
              <a:t>New technologies like the Internet of Things (IoT) and new network models like SD-WAN are driving change as well, leading to increasingly digitized and complex networks and infrastructure. As your business adapts by moving away from private datacenters and extending workloads into the cloud and beyond, you’re responsible for a lot. </a:t>
            </a:r>
          </a:p>
          <a:p>
            <a:endParaRPr lang="en-US" sz="1100" kern="1200">
              <a:solidFill>
                <a:schemeClr val="tx1"/>
              </a:solidFill>
              <a:effectLst/>
              <a:latin typeface="+mn-lt"/>
              <a:ea typeface="ＭＳ Ｐゴシック" charset="0"/>
              <a:cs typeface="ＭＳ Ｐゴシック" charset="0"/>
            </a:endParaRPr>
          </a:p>
          <a:p>
            <a:r>
              <a:rPr lang="en-US" sz="1100" kern="1200">
                <a:solidFill>
                  <a:schemeClr val="tx1"/>
                </a:solidFill>
                <a:effectLst/>
                <a:latin typeface="+mn-lt"/>
                <a:ea typeface="ＭＳ Ｐゴシック" charset="0"/>
                <a:cs typeface="ＭＳ Ｐゴシック" charset="0"/>
              </a:rPr>
              <a:t>&lt;T&gt;: Not only do you have to maintain instant availability wherever workloads are running, 24/7 – your security needs to keep up. </a:t>
            </a:r>
          </a:p>
          <a:p>
            <a:pPr defTabSz="609585">
              <a:defRPr/>
            </a:pPr>
            <a:endParaRPr lang="en-US" sz="1100" b="0">
              <a:solidFill>
                <a:srgbClr val="FFFFFF"/>
              </a:solidFill>
            </a:endParaRPr>
          </a:p>
          <a:p>
            <a:pPr defTabSz="609585">
              <a:defRPr/>
            </a:pPr>
            <a:r>
              <a:rPr lang="en-US" sz="1100" b="0"/>
              <a:t>Sources:</a:t>
            </a:r>
          </a:p>
          <a:p>
            <a:pPr defTabSz="609585">
              <a:defRPr/>
            </a:pPr>
            <a:r>
              <a:rPr lang="en-US" sz="1100" b="0"/>
              <a:t>1: </a:t>
            </a:r>
            <a:r>
              <a:rPr lang="en-US" sz="1200" b="0" kern="1200">
                <a:effectLst/>
                <a:latin typeface="+mn-lt"/>
                <a:ea typeface="ＭＳ Ｐゴシック" charset="0"/>
                <a:cs typeface="ＭＳ Ｐゴシック" charset="0"/>
              </a:rPr>
              <a:t>42% of the workforce is mobile - </a:t>
            </a:r>
            <a:r>
              <a:rPr lang="en-US" sz="1200" kern="1200">
                <a:effectLst/>
                <a:latin typeface="+mn-lt"/>
                <a:ea typeface="ＭＳ Ｐゴシック" charset="0"/>
                <a:cs typeface="ＭＳ Ｐゴシック" charset="0"/>
              </a:rPr>
              <a:t>Strategy Analytics, Global Mobile Workforce Forecast Update 2016-2022, </a:t>
            </a:r>
            <a:r>
              <a:rPr lang="en-US" sz="1100">
                <a:hlinkClick r:id="rId3">
                  <a:extLst>
                    <a:ext uri="{A12FA001-AC4F-418D-AE19-62706E023703}">
                      <ahyp:hlinkClr xmlns:ahyp="http://schemas.microsoft.com/office/drawing/2018/hyperlinkcolor" val="tx"/>
                    </a:ext>
                  </a:extLst>
                </a:hlinkClick>
              </a:rPr>
              <a:t>https://www.strategyanalytics.com/access-services/enterprise/mobile-workforce/market-data/report-detail/global-mobile-workforce-forecast-update-2016-2022#.WCPg5Mn5Tcs</a:t>
            </a:r>
            <a:endParaRPr lang="en-US" sz="1100"/>
          </a:p>
          <a:p>
            <a:pPr defTabSz="609585">
              <a:defRPr/>
            </a:pPr>
            <a:r>
              <a:rPr lang="en-US" sz="1200" kern="1200">
                <a:effectLst/>
                <a:latin typeface="+mn-lt"/>
                <a:ea typeface="ＭＳ Ｐゴシック" charset="0"/>
                <a:cs typeface="ＭＳ Ｐゴシック" charset="0"/>
              </a:rPr>
              <a:t>2: </a:t>
            </a:r>
            <a:r>
              <a:rPr lang="en-US" sz="1200" b="0" kern="1200">
                <a:effectLst/>
                <a:latin typeface="+mn-lt"/>
                <a:ea typeface="ＭＳ Ｐゴシック" charset="0"/>
                <a:cs typeface="ＭＳ Ｐゴシック" charset="0"/>
              </a:rPr>
              <a:t>88% of organizations have over 5 remote offices - </a:t>
            </a:r>
            <a:r>
              <a:rPr lang="en-US" sz="1200" kern="1200">
                <a:solidFill>
                  <a:schemeClr val="tx1"/>
                </a:solidFill>
                <a:effectLst/>
                <a:latin typeface="+mn-lt"/>
                <a:ea typeface="ＭＳ Ｐゴシック" charset="0"/>
                <a:cs typeface="ＭＳ Ｐゴシック" charset="0"/>
              </a:rPr>
              <a:t>ESG Research Insights Report, The Rise of Direct Internet Access (DIA): Securing Remote Users and Branch Offices, May 2019</a:t>
            </a:r>
          </a:p>
          <a:p>
            <a:pPr defTabSz="609585">
              <a:defRPr/>
            </a:pPr>
            <a:endParaRPr lang="en-US" sz="1100" b="0">
              <a:solidFill>
                <a:srgbClr val="FFFFFF"/>
              </a:solidFill>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08946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buFont typeface="Arial" panose="020B0604020202020204" pitchFamily="34" charset="0"/>
              <a:buNone/>
            </a:pPr>
            <a:r>
              <a:rPr lang="en-US" sz="1200" kern="1200">
                <a:solidFill>
                  <a:schemeClr val="tx1"/>
                </a:solidFill>
                <a:effectLst/>
                <a:latin typeface="+mn-lt"/>
                <a:ea typeface="ＭＳ Ｐゴシック" charset="0"/>
                <a:cs typeface="ＭＳ Ｐゴシック" charset="0"/>
              </a:rPr>
              <a:t>[:41]</a:t>
            </a:r>
          </a:p>
          <a:p>
            <a:pPr marL="0" indent="0">
              <a:lnSpc>
                <a:spcPct val="100000"/>
              </a:lnSpc>
              <a:buFont typeface="Arial" panose="020B0604020202020204" pitchFamily="34" charset="0"/>
              <a:buNone/>
            </a:pPr>
            <a:endParaRPr lang="en-US" sz="1200" kern="1200">
              <a:solidFill>
                <a:schemeClr val="tx1"/>
              </a:solidFill>
              <a:effectLst/>
              <a:latin typeface="+mn-lt"/>
              <a:ea typeface="ＭＳ Ｐゴシック" charset="0"/>
              <a:cs typeface="ＭＳ Ｐゴシック" charset="0"/>
            </a:endParaRPr>
          </a:p>
          <a:p>
            <a:pPr marL="0" indent="0">
              <a:lnSpc>
                <a:spcPct val="100000"/>
              </a:lnSpc>
              <a:buFont typeface="Arial" panose="020B0604020202020204" pitchFamily="34" charset="0"/>
              <a:buNone/>
            </a:pPr>
            <a:r>
              <a:rPr lang="en-US" sz="1200" kern="1200">
                <a:solidFill>
                  <a:schemeClr val="tx1"/>
                </a:solidFill>
                <a:effectLst/>
                <a:latin typeface="+mn-lt"/>
                <a:ea typeface="ＭＳ Ｐゴシック" charset="0"/>
                <a:cs typeface="ＭＳ Ｐゴシック" charset="0"/>
              </a:rPr>
              <a:t>You’ll always need to take a proactive approach to shifting risks and changes in compliance requirements. You need the right strategy for protecting your digital business, and our Security Advisory Services can help. And as your Security Operations Center evolves, our Implementation Services can help you integrate </a:t>
            </a:r>
            <a:r>
              <a:rPr lang="en-US" sz="1200" b="0" i="0" kern="1200">
                <a:solidFill>
                  <a:schemeClr val="tx1"/>
                </a:solidFill>
                <a:effectLst/>
                <a:latin typeface="+mn-lt"/>
                <a:ea typeface="ＭＳ Ｐゴシック" charset="0"/>
                <a:cs typeface="ＭＳ Ｐゴシック" charset="0"/>
              </a:rPr>
              <a:t>a breadth of security technologies and migrate from other solutions, including legacy products. Our Managed Security Services combine a breadth of security technologies, intelligence, analytics, and world-class experts. Not only can we manage your devices, but we can also help you detect and respond to threats faster. They’ll help you prepare for whatever comes next. </a:t>
            </a:r>
          </a:p>
          <a:p>
            <a:pPr marL="171450" indent="-171450" fontAlgn="base">
              <a:buFont typeface="Arial" panose="020B0604020202020204" pitchFamily="34" charset="0"/>
              <a:buChar char="•"/>
            </a:pPr>
            <a:endParaRPr lang="en-US" sz="1200" b="0" i="0" kern="1200">
              <a:solidFill>
                <a:schemeClr val="tx1"/>
              </a:solidFill>
              <a:effectLst/>
              <a:latin typeface="+mn-lt"/>
              <a:ea typeface="ＭＳ Ｐゴシック" charset="0"/>
              <a:cs typeface="ＭＳ Ｐゴシック" charset="0"/>
            </a:endParaRPr>
          </a:p>
          <a:p>
            <a:pPr marL="0" indent="0" fontAlgn="base">
              <a:buFont typeface="Arial" panose="020B0604020202020204" pitchFamily="34" charset="0"/>
              <a:buNone/>
            </a:pPr>
            <a:r>
              <a:rPr lang="en-US" sz="1200" b="0" i="0" kern="1200">
                <a:solidFill>
                  <a:schemeClr val="tx1"/>
                </a:solidFill>
                <a:effectLst/>
                <a:latin typeface="+mn-lt"/>
                <a:ea typeface="ＭＳ Ｐゴシック" charset="0"/>
                <a:cs typeface="ＭＳ Ｐゴシック" charset="0"/>
              </a:rPr>
              <a:t>&lt;T&gt; We have the people to get you there. And we have the track record to prove we’re serious. </a:t>
            </a:r>
          </a:p>
          <a:p>
            <a:pPr marL="0" indent="0">
              <a:lnSpc>
                <a:spcPct val="100000"/>
              </a:lnSpc>
              <a:buFont typeface="Arial" panose="020B0604020202020204" pitchFamily="34" charset="0"/>
              <a:buNone/>
            </a:pPr>
            <a:endParaRPr lang="en-US" sz="1200" b="0" i="0" kern="120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69205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buFont typeface="Arial" panose="020B0604020202020204" pitchFamily="34" charset="0"/>
              <a:buNone/>
            </a:pPr>
            <a:r>
              <a:rPr lang="en-US" sz="1200">
                <a:solidFill>
                  <a:schemeClr val="tx1"/>
                </a:solidFill>
              </a:rPr>
              <a:t>[:36]</a:t>
            </a:r>
          </a:p>
          <a:p>
            <a:pPr marL="0" indent="0">
              <a:lnSpc>
                <a:spcPct val="100000"/>
              </a:lnSpc>
              <a:buFont typeface="Arial" panose="020B0604020202020204" pitchFamily="34" charset="0"/>
              <a:buNone/>
            </a:pPr>
            <a:endParaRPr lang="en-US" sz="1200">
              <a:solidFill>
                <a:schemeClr val="tx1"/>
              </a:solidFill>
            </a:endParaRPr>
          </a:p>
          <a:p>
            <a:pPr marL="0" indent="0">
              <a:lnSpc>
                <a:spcPct val="100000"/>
              </a:lnSpc>
              <a:buFont typeface="Arial" panose="020B0604020202020204" pitchFamily="34" charset="0"/>
              <a:buNone/>
            </a:pPr>
            <a:r>
              <a:rPr lang="en-US" sz="1200">
                <a:solidFill>
                  <a:schemeClr val="tx1"/>
                </a:solidFill>
              </a:rPr>
              <a:t>Only Cisco has earned the right to deliver a true platform. Our record is undeniable, and we have extensive experience across both security and networking. </a:t>
            </a:r>
          </a:p>
          <a:p>
            <a:pPr marL="0" indent="0">
              <a:lnSpc>
                <a:spcPct val="100000"/>
              </a:lnSpc>
              <a:buFont typeface="Arial" panose="020B0604020202020204" pitchFamily="34" charset="0"/>
              <a:buNone/>
            </a:pPr>
            <a:endParaRPr lang="en-US" sz="1200">
              <a:solidFill>
                <a:schemeClr val="tx1"/>
              </a:solidFill>
            </a:endParaRP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a:solidFill>
                  <a:schemeClr val="tx1"/>
                </a:solidFill>
              </a:rPr>
              <a:t>Since 2007, we’ve innovated internally and acquired the best solutions on the market. We’ve worked tirelessly to bring all of our solutions together into a single platform. You’ll always have access to the latest updates and innovations. So no matter what threats arise, no matter what new innovations hit the market, you can count us to be ready and get you what you need. </a:t>
            </a:r>
          </a:p>
          <a:p>
            <a:pPr marL="0" indent="0">
              <a:lnSpc>
                <a:spcPct val="100000"/>
              </a:lnSpc>
              <a:buFont typeface="Arial" panose="020B0604020202020204" pitchFamily="34" charset="0"/>
              <a:buNone/>
            </a:pPr>
            <a:endParaRPr lang="en-US" sz="1200">
              <a:solidFill>
                <a:schemeClr val="tx1"/>
              </a:solidFill>
            </a:endParaRPr>
          </a:p>
          <a:p>
            <a:pPr marL="0" indent="0">
              <a:lnSpc>
                <a:spcPct val="100000"/>
              </a:lnSpc>
              <a:buFont typeface="Arial" panose="020B0604020202020204" pitchFamily="34" charset="0"/>
              <a:buNone/>
            </a:pPr>
            <a:r>
              <a:rPr lang="en-US" sz="1200">
                <a:solidFill>
                  <a:schemeClr val="tx1"/>
                </a:solidFill>
              </a:rPr>
              <a:t>&lt;T&gt; With this breadth of technology, it’s no surprise that we have a breadth of expertise.</a:t>
            </a:r>
          </a:p>
          <a:p>
            <a:pPr marL="0" indent="0">
              <a:lnSpc>
                <a:spcPct val="100000"/>
              </a:lnSpc>
              <a:buFont typeface="Arial" panose="020B0604020202020204" pitchFamily="34" charset="0"/>
              <a:buNone/>
            </a:pPr>
            <a:endParaRPr lang="en-US" sz="1200">
              <a:solidFill>
                <a:schemeClr val="tx1"/>
              </a:solidFill>
            </a:endParaRPr>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1</a:t>
            </a:fld>
            <a:endParaRPr lang="en-US"/>
          </a:p>
        </p:txBody>
      </p:sp>
    </p:spTree>
    <p:extLst>
      <p:ext uri="{BB962C8B-B14F-4D97-AF65-F5344CB8AC3E}">
        <p14:creationId xmlns:p14="http://schemas.microsoft.com/office/powerpoint/2010/main" val="25790529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1" kern="1200">
                <a:solidFill>
                  <a:schemeClr val="tx1"/>
                </a:solidFill>
                <a:effectLst/>
                <a:latin typeface="+mn-lt"/>
                <a:ea typeface="ＭＳ Ｐゴシック" charset="0"/>
                <a:cs typeface="ＭＳ Ｐゴシック" charset="0"/>
              </a:rPr>
              <a:t>[4:47]</a:t>
            </a:r>
          </a:p>
          <a:p>
            <a:endParaRPr lang="en-US" sz="1200" b="0" i="1" kern="1200">
              <a:solidFill>
                <a:schemeClr val="tx1"/>
              </a:solidFill>
              <a:effectLst/>
              <a:latin typeface="+mn-lt"/>
              <a:ea typeface="ＭＳ Ｐゴシック" charset="0"/>
              <a:cs typeface="ＭＳ Ｐゴシック" charset="0"/>
            </a:endParaRPr>
          </a:p>
          <a:p>
            <a:r>
              <a:rPr lang="en-US" sz="1200" b="0" i="1" kern="1200">
                <a:solidFill>
                  <a:schemeClr val="tx1"/>
                </a:solidFill>
                <a:effectLst/>
                <a:latin typeface="+mn-lt"/>
                <a:ea typeface="ＭＳ Ｐゴシック" charset="0"/>
                <a:cs typeface="ＭＳ Ｐゴシック" charset="0"/>
              </a:rPr>
              <a:t>*Seller Guidance: Customize the words at the bottom of the slide depending on the customer you’re speaking with*</a:t>
            </a:r>
          </a:p>
          <a:p>
            <a:endParaRPr lang="en-US" sz="1200" b="1" kern="1200">
              <a:solidFill>
                <a:schemeClr val="tx1"/>
              </a:solidFill>
              <a:effectLst/>
              <a:latin typeface="+mn-lt"/>
              <a:ea typeface="ＭＳ Ｐゴシック" charset="0"/>
              <a:cs typeface="ＭＳ Ｐゴシック" charset="0"/>
            </a:endParaRPr>
          </a:p>
          <a:p>
            <a:r>
              <a:rPr lang="en-US" sz="1200" b="1" kern="1200">
                <a:solidFill>
                  <a:schemeClr val="tx1"/>
                </a:solidFill>
                <a:effectLst/>
                <a:latin typeface="+mn-lt"/>
                <a:ea typeface="ＭＳ Ｐゴシック" charset="0"/>
                <a:cs typeface="ＭＳ Ｐゴシック" charset="0"/>
              </a:rPr>
              <a:t>See more and protect faster with smarter security that accelerates your business. </a:t>
            </a:r>
          </a:p>
          <a:p>
            <a:endParaRPr lang="en-US" sz="1200" b="1" kern="1200">
              <a:solidFill>
                <a:schemeClr val="tx1"/>
              </a:solidFill>
              <a:effectLst/>
              <a:latin typeface="+mn-lt"/>
              <a:ea typeface="ＭＳ Ｐゴシック" charset="0"/>
              <a:cs typeface="ＭＳ Ｐゴシック" charset="0"/>
            </a:endParaRPr>
          </a:p>
          <a:p>
            <a:r>
              <a:rPr lang="en-US" sz="1200" kern="1200">
                <a:solidFill>
                  <a:schemeClr val="tx1"/>
                </a:solidFill>
                <a:effectLst/>
                <a:latin typeface="+mn-lt"/>
                <a:ea typeface="ＭＳ Ｐゴシック" charset="0"/>
                <a:cs typeface="ＭＳ Ｐゴシック" charset="0"/>
              </a:rPr>
              <a:t>Cisco Security is designed to help you get where you need to go, faster. Security should clear a path, not get in the way. </a:t>
            </a:r>
          </a:p>
          <a:p>
            <a:endParaRPr lang="en-US" sz="1200" kern="1200">
              <a:solidFill>
                <a:schemeClr val="tx1"/>
              </a:solidFill>
              <a:effectLst/>
              <a:latin typeface="+mn-lt"/>
              <a:ea typeface="ＭＳ Ｐゴシック" charset="0"/>
              <a:cs typeface="ＭＳ Ｐゴシック" charset="0"/>
            </a:endParaRPr>
          </a:p>
          <a:p>
            <a:r>
              <a:rPr lang="en-US" sz="1200" kern="1200">
                <a:solidFill>
                  <a:schemeClr val="tx1"/>
                </a:solidFill>
                <a:effectLst/>
                <a:latin typeface="+mn-lt"/>
                <a:ea typeface="ＭＳ Ｐゴシック" charset="0"/>
                <a:cs typeface="ＭＳ Ｐゴシック" charset="0"/>
              </a:rPr>
              <a:t>Our security is the best. Regardless of your environment, we deliver the security you need to thrive as a business. </a:t>
            </a:r>
          </a:p>
          <a:p>
            <a:endParaRPr lang="en-US" sz="1200" kern="1200">
              <a:solidFill>
                <a:schemeClr val="tx1"/>
              </a:solidFill>
              <a:effectLst/>
              <a:latin typeface="+mn-lt"/>
              <a:ea typeface="ＭＳ Ｐゴシック" charset="0"/>
              <a:cs typeface="ＭＳ Ｐゴシック" charset="0"/>
            </a:endParaRPr>
          </a:p>
          <a:p>
            <a:r>
              <a:rPr lang="en-US" sz="1200" b="1" kern="1200">
                <a:solidFill>
                  <a:schemeClr val="tx1"/>
                </a:solidFill>
                <a:effectLst/>
                <a:latin typeface="+mn-lt"/>
                <a:ea typeface="ＭＳ Ｐゴシック" charset="0"/>
                <a:cs typeface="ＭＳ Ｐゴシック" charset="0"/>
              </a:rPr>
              <a:t>Global threat intelligence: </a:t>
            </a:r>
          </a:p>
          <a:p>
            <a:endParaRPr lang="en-US" sz="1200" kern="1200">
              <a:solidFill>
                <a:schemeClr val="tx1"/>
              </a:solidFill>
              <a:effectLst/>
              <a:latin typeface="+mn-lt"/>
              <a:ea typeface="ＭＳ Ｐゴシック" charset="0"/>
              <a:cs typeface="ＭＳ Ｐゴシック" charset="0"/>
            </a:endParaRPr>
          </a:p>
          <a:p>
            <a:r>
              <a:rPr lang="en-US" sz="1200" kern="1200">
                <a:solidFill>
                  <a:schemeClr val="tx1"/>
                </a:solidFill>
                <a:effectLst/>
                <a:latin typeface="+mn-lt"/>
                <a:ea typeface="ＭＳ Ｐゴシック" charset="0"/>
                <a:cs typeface="ＭＳ Ｐゴシック" charset="0"/>
              </a:rPr>
              <a:t>Our security technology can be leveraged in any environment. We’ve built unmatched threat intelligence and visibility into everything we do. </a:t>
            </a:r>
          </a:p>
          <a:p>
            <a:endParaRPr lang="en-US" sz="1200" kern="1200">
              <a:solidFill>
                <a:schemeClr val="tx1"/>
              </a:solidFill>
              <a:effectLst/>
              <a:latin typeface="+mn-lt"/>
              <a:ea typeface="ＭＳ Ｐゴシック" charset="0"/>
              <a:cs typeface="ＭＳ Ｐゴシック" charset="0"/>
            </a:endParaRPr>
          </a:p>
          <a:p>
            <a:r>
              <a:rPr lang="en-US" sz="1200" kern="1200">
                <a:solidFill>
                  <a:schemeClr val="tx1"/>
                </a:solidFill>
                <a:effectLst/>
                <a:latin typeface="+mn-lt"/>
                <a:ea typeface="ＭＳ Ｐゴシック" charset="0"/>
                <a:cs typeface="ＭＳ Ｐゴシック" charset="0"/>
              </a:rPr>
              <a:t>Intelligence spans the entire Cisco Security Platform and permeates everything we do. No other competitor can see across the network, endpoint, cloud, DNS, email, and everything in between. Incident tracking and direct remediation capabilities separate the critical incidents from the noise and enable you to act on what’s important. Behavioral analytics and machine learning augment all our security efforts, so solutions adapt and become more effective in real time. </a:t>
            </a:r>
          </a:p>
          <a:p>
            <a:endParaRPr lang="en-US" sz="1200" kern="1200">
              <a:solidFill>
                <a:schemeClr val="tx1"/>
              </a:solidFill>
              <a:effectLst/>
              <a:latin typeface="+mn-lt"/>
              <a:ea typeface="ＭＳ Ｐゴシック" charset="0"/>
              <a:cs typeface="ＭＳ Ｐゴシック" charset="0"/>
            </a:endParaRPr>
          </a:p>
          <a:p>
            <a:endParaRPr lang="en-US" sz="1200" kern="1200">
              <a:solidFill>
                <a:schemeClr val="tx1"/>
              </a:solidFill>
              <a:effectLst/>
              <a:latin typeface="+mn-lt"/>
              <a:ea typeface="ＭＳ Ｐゴシック" charset="0"/>
              <a:cs typeface="ＭＳ Ｐゴシック" charset="0"/>
            </a:endParaRPr>
          </a:p>
          <a:p>
            <a:r>
              <a:rPr lang="en-US" sz="1200" b="1" i="1" kern="1200">
                <a:solidFill>
                  <a:schemeClr val="tx1"/>
                </a:solidFill>
                <a:effectLst/>
                <a:latin typeface="+mn-lt"/>
                <a:ea typeface="ＭＳ Ｐゴシック" charset="0"/>
                <a:cs typeface="ＭＳ Ｐゴシック" charset="0"/>
              </a:rPr>
              <a:t>3</a:t>
            </a:r>
            <a:r>
              <a:rPr lang="en-US" sz="1200" b="1" i="1" kern="1200" baseline="30000">
                <a:solidFill>
                  <a:schemeClr val="tx1"/>
                </a:solidFill>
                <a:effectLst/>
                <a:latin typeface="+mn-lt"/>
                <a:ea typeface="ＭＳ Ｐゴシック" charset="0"/>
                <a:cs typeface="ＭＳ Ｐゴシック" charset="0"/>
              </a:rPr>
              <a:t>rd</a:t>
            </a:r>
            <a:r>
              <a:rPr lang="en-US" sz="1200" b="1" i="1" kern="1200">
                <a:solidFill>
                  <a:schemeClr val="tx1"/>
                </a:solidFill>
                <a:effectLst/>
                <a:latin typeface="+mn-lt"/>
                <a:ea typeface="ＭＳ Ｐゴシック" charset="0"/>
                <a:cs typeface="ＭＳ Ｐゴシック" charset="0"/>
              </a:rPr>
              <a:t> party interoperability (left side)</a:t>
            </a:r>
            <a:endParaRPr lang="en-US" sz="1200" i="1" kern="1200">
              <a:solidFill>
                <a:schemeClr val="tx1"/>
              </a:solidFill>
              <a:effectLst/>
              <a:latin typeface="+mn-lt"/>
              <a:ea typeface="ＭＳ Ｐゴシック" charset="0"/>
              <a:cs typeface="ＭＳ Ｐゴシック" charset="0"/>
            </a:endParaRPr>
          </a:p>
          <a:p>
            <a:endParaRPr lang="en-US" sz="1200" b="1" kern="1200">
              <a:solidFill>
                <a:schemeClr val="tx1"/>
              </a:solidFill>
              <a:effectLst/>
              <a:latin typeface="+mn-lt"/>
              <a:ea typeface="ＭＳ Ｐゴシック" charset="0"/>
              <a:cs typeface="ＭＳ Ｐゴシック" charset="0"/>
            </a:endParaRPr>
          </a:p>
          <a:p>
            <a:r>
              <a:rPr lang="en-US" sz="1200" b="1" kern="1200">
                <a:solidFill>
                  <a:schemeClr val="tx1"/>
                </a:solidFill>
                <a:effectLst/>
                <a:latin typeface="+mn-lt"/>
                <a:ea typeface="ＭＳ Ｐゴシック" charset="0"/>
                <a:cs typeface="ＭＳ Ｐゴシック" charset="0"/>
              </a:rPr>
              <a:t>Open APIs</a:t>
            </a:r>
          </a:p>
          <a:p>
            <a:endParaRPr lang="en-US" sz="1200" kern="1200">
              <a:solidFill>
                <a:schemeClr val="tx1"/>
              </a:solidFill>
              <a:effectLst/>
              <a:latin typeface="+mn-lt"/>
              <a:ea typeface="ＭＳ Ｐゴシック" charset="0"/>
              <a:cs typeface="ＭＳ Ｐゴシック" charset="0"/>
            </a:endParaRPr>
          </a:p>
          <a:p>
            <a:pPr lvl="0" fontAlgn="ctr"/>
            <a:r>
              <a:rPr lang="en-US" sz="1200" kern="1200">
                <a:solidFill>
                  <a:schemeClr val="tx1"/>
                </a:solidFill>
                <a:effectLst/>
                <a:latin typeface="+mn-lt"/>
                <a:ea typeface="ＭＳ Ｐゴシック" charset="0"/>
                <a:cs typeface="ＭＳ Ｐゴシック" charset="0"/>
              </a:rPr>
              <a:t>No company is a monoculture when it comes to security. Everyone has security products from multiple companies. The only way you're going to be able to secure your business is for everything to work together. There’s always been a presumption from security vendors that they're the only ones you're using. Interoperability isn't a major focus for a lot of other companies. </a:t>
            </a:r>
          </a:p>
          <a:p>
            <a:pPr lvl="0" fontAlgn="ctr"/>
            <a:endParaRPr lang="en-US" sz="1200" kern="1200">
              <a:solidFill>
                <a:schemeClr val="tx1"/>
              </a:solidFill>
              <a:effectLst/>
              <a:latin typeface="+mn-lt"/>
              <a:ea typeface="ＭＳ Ｐゴシック" charset="0"/>
              <a:cs typeface="ＭＳ Ｐゴシック" charset="0"/>
            </a:endParaRPr>
          </a:p>
          <a:p>
            <a:pPr lvl="0" fontAlgn="ctr"/>
            <a:r>
              <a:rPr lang="en-US" sz="1200" kern="1200">
                <a:solidFill>
                  <a:schemeClr val="tx1"/>
                </a:solidFill>
                <a:effectLst/>
                <a:latin typeface="+mn-lt"/>
                <a:ea typeface="ＭＳ Ｐゴシック" charset="0"/>
                <a:cs typeface="ＭＳ Ｐゴシック" charset="0"/>
              </a:rPr>
              <a:t>At Cisco, we want to be the foundation of your stack, but we acknowledge you’ll be using solutions from other vendors, whether that’s mobile device management, VPNs, or anything else. We know that you'll have a blended environment, or a hybrid environment, and we know we need to be able to work with all those things.  </a:t>
            </a:r>
          </a:p>
          <a:p>
            <a:pPr lvl="0" fontAlgn="ctr"/>
            <a:endParaRPr lang="en-US" sz="1200" kern="1200">
              <a:solidFill>
                <a:schemeClr val="tx1"/>
              </a:solidFill>
              <a:effectLst/>
              <a:latin typeface="+mn-lt"/>
              <a:ea typeface="ＭＳ Ｐゴシック" charset="0"/>
              <a:cs typeface="ＭＳ Ｐゴシック" charset="0"/>
            </a:endParaRPr>
          </a:p>
          <a:p>
            <a:pPr lvl="0" fontAlgn="ctr"/>
            <a:r>
              <a:rPr lang="en-US" sz="1200" kern="1200">
                <a:solidFill>
                  <a:schemeClr val="tx1"/>
                </a:solidFill>
                <a:effectLst/>
                <a:latin typeface="+mn-lt"/>
                <a:ea typeface="ＭＳ Ｐゴシック" charset="0"/>
                <a:cs typeface="ＭＳ Ｐゴシック" charset="0"/>
              </a:rPr>
              <a:t>We have more partnerships than any other security company. While we work on the network side, the security side, the identity side, the access side, and more, we're not closed off. We'll work with any one of those things to provide more signals to give you more control from those signals. So, if you use mobile device management (MDM) from Palo Alto - great. We take that into account and base access decisions on the third-party signals they provide us. </a:t>
            </a:r>
          </a:p>
          <a:p>
            <a:pPr fontAlgn="ctr"/>
            <a:r>
              <a:rPr lang="en-US" sz="1200" kern="1200">
                <a:solidFill>
                  <a:schemeClr val="tx1"/>
                </a:solidFill>
                <a:effectLst/>
                <a:latin typeface="+mn-lt"/>
                <a:ea typeface="ＭＳ Ｐゴシック" charset="0"/>
                <a:cs typeface="ＭＳ Ｐゴシック" charset="0"/>
              </a:rPr>
              <a:t> </a:t>
            </a:r>
          </a:p>
          <a:p>
            <a:r>
              <a:rPr lang="en-US" sz="1200" b="1" kern="1200">
                <a:solidFill>
                  <a:schemeClr val="tx1"/>
                </a:solidFill>
                <a:effectLst/>
                <a:latin typeface="+mn-lt"/>
                <a:ea typeface="ＭＳ Ｐゴシック" charset="0"/>
                <a:cs typeface="ＭＳ Ｐゴシック" charset="0"/>
              </a:rPr>
              <a:t>Security Standards </a:t>
            </a:r>
          </a:p>
          <a:p>
            <a:endParaRPr lang="en-US" sz="1200" kern="1200">
              <a:solidFill>
                <a:schemeClr val="tx1"/>
              </a:solidFill>
              <a:effectLst/>
              <a:latin typeface="+mn-lt"/>
              <a:ea typeface="ＭＳ Ｐゴシック" charset="0"/>
              <a:cs typeface="ＭＳ Ｐゴシック" charset="0"/>
            </a:endParaRPr>
          </a:p>
          <a:p>
            <a:pPr lvl="0"/>
            <a:r>
              <a:rPr lang="en-US" sz="1200" kern="1200">
                <a:solidFill>
                  <a:schemeClr val="tx1"/>
                </a:solidFill>
                <a:effectLst/>
                <a:latin typeface="+mn-lt"/>
                <a:ea typeface="ＭＳ Ｐゴシック" charset="0"/>
                <a:cs typeface="ＭＳ Ｐゴシック" charset="0"/>
              </a:rPr>
              <a:t>The same goes for security standards - we're not trying to reinvent the wheel here; we want to give you four wheels. When it comes to security standards, we want to take advantage of the wealth of knowledge and work being done in this robust community, around open source projects and security standards. We want to bring all of that in.</a:t>
            </a:r>
          </a:p>
          <a:p>
            <a:endParaRPr lang="en-US" sz="1200" b="1" kern="1200">
              <a:solidFill>
                <a:schemeClr val="tx1"/>
              </a:solidFill>
              <a:effectLst/>
              <a:latin typeface="+mn-lt"/>
              <a:ea typeface="ＭＳ Ｐゴシック" charset="0"/>
              <a:cs typeface="ＭＳ Ｐゴシック" charset="0"/>
            </a:endParaRPr>
          </a:p>
          <a:p>
            <a:r>
              <a:rPr lang="en-US" sz="1200" b="1" kern="1200">
                <a:solidFill>
                  <a:schemeClr val="tx1"/>
                </a:solidFill>
                <a:effectLst/>
                <a:latin typeface="+mn-lt"/>
                <a:ea typeface="ＭＳ Ｐゴシック" charset="0"/>
                <a:cs typeface="ＭＳ Ｐゴシック" charset="0"/>
              </a:rPr>
              <a:t>Published open source: </a:t>
            </a:r>
            <a:endParaRPr lang="en-US" sz="1200" kern="1200">
              <a:solidFill>
                <a:schemeClr val="tx1"/>
              </a:solidFill>
              <a:effectLst/>
              <a:latin typeface="+mn-lt"/>
              <a:ea typeface="ＭＳ Ｐゴシック" charset="0"/>
              <a:cs typeface="ＭＳ Ｐゴシック" charset="0"/>
            </a:endParaRPr>
          </a:p>
          <a:p>
            <a:pPr lvl="0"/>
            <a:r>
              <a:rPr lang="en-US" sz="1200" kern="1200">
                <a:solidFill>
                  <a:schemeClr val="tx1"/>
                </a:solidFill>
                <a:effectLst/>
                <a:latin typeface="+mn-lt"/>
                <a:ea typeface="ＭＳ Ｐゴシック" charset="0"/>
                <a:cs typeface="ＭＳ Ｐゴシック" charset="0"/>
              </a:rPr>
              <a:t>And we’re serious about being open with our technology. We're committed to making an effort on all of these fronts. </a:t>
            </a:r>
          </a:p>
          <a:p>
            <a:pPr lvl="0"/>
            <a:endParaRPr lang="en-US" sz="1200" kern="1200">
              <a:solidFill>
                <a:schemeClr val="tx1"/>
              </a:solidFill>
              <a:effectLst/>
              <a:latin typeface="+mn-lt"/>
              <a:ea typeface="ＭＳ Ｐゴシック" charset="0"/>
              <a:cs typeface="ＭＳ Ｐゴシック" charset="0"/>
            </a:endParaRPr>
          </a:p>
          <a:p>
            <a:r>
              <a:rPr lang="en-US" sz="1200" b="1" i="1" kern="1200">
                <a:solidFill>
                  <a:schemeClr val="tx1"/>
                </a:solidFill>
                <a:effectLst/>
                <a:latin typeface="+mn-lt"/>
                <a:ea typeface="ＭＳ Ｐゴシック" charset="0"/>
                <a:cs typeface="ＭＳ Ｐゴシック" charset="0"/>
              </a:rPr>
              <a:t>Cisco (right side) </a:t>
            </a:r>
          </a:p>
          <a:p>
            <a:endParaRPr lang="en-US" sz="1200" kern="1200">
              <a:solidFill>
                <a:schemeClr val="tx1"/>
              </a:solidFill>
              <a:effectLst/>
              <a:latin typeface="+mn-lt"/>
              <a:ea typeface="ＭＳ Ｐゴシック" charset="0"/>
              <a:cs typeface="ＭＳ Ｐゴシック" charset="0"/>
            </a:endParaRPr>
          </a:p>
          <a:p>
            <a:r>
              <a:rPr lang="en-US" sz="1200" b="1" kern="1200">
                <a:solidFill>
                  <a:schemeClr val="tx1"/>
                </a:solidFill>
                <a:effectLst/>
                <a:latin typeface="+mn-lt"/>
                <a:ea typeface="ＭＳ Ｐゴシック" charset="0"/>
                <a:cs typeface="ＭＳ Ｐゴシック" charset="0"/>
              </a:rPr>
              <a:t>Academic and industry validated technology </a:t>
            </a:r>
            <a:endParaRPr lang="en-US" sz="1200" kern="1200">
              <a:solidFill>
                <a:schemeClr val="tx1"/>
              </a:solidFill>
              <a:effectLst/>
              <a:latin typeface="+mn-lt"/>
              <a:ea typeface="ＭＳ Ｐゴシック" charset="0"/>
              <a:cs typeface="ＭＳ Ｐゴシック" charset="0"/>
            </a:endParaRPr>
          </a:p>
          <a:p>
            <a:pPr lvl="0"/>
            <a:r>
              <a:rPr lang="en-US" sz="1200" kern="1200">
                <a:solidFill>
                  <a:schemeClr val="tx1"/>
                </a:solidFill>
                <a:effectLst/>
                <a:latin typeface="+mn-lt"/>
                <a:ea typeface="ＭＳ Ｐゴシック" charset="0"/>
                <a:cs typeface="ＭＳ Ｐゴシック" charset="0"/>
              </a:rPr>
              <a:t>And on the flip side, we're producing and creating a lot of those standards and driving a lot of those open source project. So not only are we taking advantage of what everyone else is doing, but we're creating a lot of those advantages ourselves and publishing…. We want to be a good partner not only to our customers, but also to the larger security community. </a:t>
            </a:r>
          </a:p>
          <a:p>
            <a:pPr lvl="0"/>
            <a:endParaRPr lang="en-US" sz="1200" kern="1200">
              <a:solidFill>
                <a:schemeClr val="tx1"/>
              </a:solidFill>
              <a:effectLst/>
              <a:latin typeface="+mn-lt"/>
              <a:ea typeface="ＭＳ Ｐゴシック" charset="0"/>
              <a:cs typeface="ＭＳ Ｐゴシック" charset="0"/>
            </a:endParaRPr>
          </a:p>
          <a:p>
            <a:pPr lvl="0"/>
            <a:r>
              <a:rPr lang="en-US" sz="1200" kern="1200">
                <a:solidFill>
                  <a:schemeClr val="tx1"/>
                </a:solidFill>
                <a:effectLst/>
                <a:latin typeface="+mn-lt"/>
                <a:ea typeface="ＭＳ Ｐゴシック" charset="0"/>
                <a:cs typeface="ＭＳ Ｐゴシック" charset="0"/>
              </a:rPr>
              <a:t>That’s where the academic and industry validated technology comes in - we have a lot of patents, research that we put out there for others to take advantage of and raise the tide for security across the board. </a:t>
            </a:r>
          </a:p>
          <a:p>
            <a:pPr lvl="0"/>
            <a:endParaRPr lang="en-US" sz="1200" kern="1200">
              <a:solidFill>
                <a:schemeClr val="tx1"/>
              </a:solidFill>
              <a:effectLst/>
              <a:latin typeface="+mn-lt"/>
              <a:ea typeface="ＭＳ Ｐゴシック" charset="0"/>
              <a:cs typeface="ＭＳ Ｐゴシック" charset="0"/>
            </a:endParaRPr>
          </a:p>
          <a:p>
            <a:pPr lvl="0"/>
            <a:r>
              <a:rPr lang="en-US" sz="1200" kern="1200">
                <a:solidFill>
                  <a:schemeClr val="tx1"/>
                </a:solidFill>
                <a:effectLst/>
                <a:latin typeface="+mn-lt"/>
                <a:ea typeface="ＭＳ Ｐゴシック" charset="0"/>
                <a:cs typeface="ＭＳ Ｐゴシック" charset="0"/>
              </a:rPr>
              <a:t>We’re open with our inventions. We have published and open source code around cryptography and machine learning and anything that seems like a black box. Our belief is, it needs to be transparent.</a:t>
            </a:r>
          </a:p>
          <a:p>
            <a:pPr lvl="0"/>
            <a:endParaRPr lang="en-US" sz="1200" kern="1200">
              <a:solidFill>
                <a:schemeClr val="tx1"/>
              </a:solidFill>
              <a:effectLst/>
              <a:latin typeface="+mn-lt"/>
              <a:ea typeface="ＭＳ Ｐゴシック" charset="0"/>
              <a:cs typeface="ＭＳ Ｐゴシック" charset="0"/>
            </a:endParaRPr>
          </a:p>
          <a:p>
            <a:r>
              <a:rPr lang="en-US" sz="1200" b="1" kern="1200">
                <a:solidFill>
                  <a:schemeClr val="tx1"/>
                </a:solidFill>
                <a:effectLst/>
                <a:latin typeface="+mn-lt"/>
                <a:ea typeface="ＭＳ Ｐゴシック" charset="0"/>
                <a:cs typeface="ＭＳ Ｐゴシック" charset="0"/>
              </a:rPr>
              <a:t>Intuitive, interactive workflows: </a:t>
            </a:r>
            <a:endParaRPr lang="en-US" sz="1200" kern="1200">
              <a:solidFill>
                <a:schemeClr val="tx1"/>
              </a:solidFill>
              <a:effectLst/>
              <a:latin typeface="+mn-lt"/>
              <a:ea typeface="ＭＳ Ｐゴシック" charset="0"/>
              <a:cs typeface="ＭＳ Ｐゴシック" charset="0"/>
            </a:endParaRPr>
          </a:p>
          <a:p>
            <a:pPr lvl="0"/>
            <a:r>
              <a:rPr lang="en-US" sz="1200" kern="1200">
                <a:solidFill>
                  <a:schemeClr val="tx1"/>
                </a:solidFill>
                <a:effectLst/>
                <a:latin typeface="+mn-lt"/>
                <a:ea typeface="ＭＳ Ｐゴシック" charset="0"/>
                <a:cs typeface="ＭＳ Ｐゴシック" charset="0"/>
              </a:rPr>
              <a:t>You don't have to be a 20-year security veteran to be effective with our tools. </a:t>
            </a:r>
          </a:p>
          <a:p>
            <a:pPr lvl="0"/>
            <a:endParaRPr lang="en-US" sz="1200" kern="1200">
              <a:solidFill>
                <a:schemeClr val="tx1"/>
              </a:solidFill>
              <a:effectLst/>
              <a:latin typeface="+mn-lt"/>
              <a:ea typeface="ＭＳ Ｐゴシック" charset="0"/>
              <a:cs typeface="ＭＳ Ｐゴシック" charset="0"/>
            </a:endParaRPr>
          </a:p>
          <a:p>
            <a:pPr lvl="0"/>
            <a:r>
              <a:rPr lang="en-US" sz="1200" kern="1200">
                <a:solidFill>
                  <a:schemeClr val="tx1"/>
                </a:solidFill>
                <a:effectLst/>
                <a:latin typeface="+mn-lt"/>
                <a:ea typeface="ＭＳ Ｐゴシック" charset="0"/>
                <a:cs typeface="ＭＳ Ｐゴシック" charset="0"/>
              </a:rPr>
              <a:t>And we've figured out a lot of good controls and apparatus. You're trying to do a thing while we have 50 other customers that are doing that same thing. So we can provide a lot of information and expertise on how your workflows for protecting slack and salesforce should work. Or how workflows for setting up 14 remote offices that do or do not VPN into the main office can work. We've worked with every type of company, and we've built a lot of workflows for every type of scenario.</a:t>
            </a:r>
          </a:p>
          <a:p>
            <a:pPr lvl="0"/>
            <a:endParaRPr lang="en-US" sz="1200" kern="1200">
              <a:solidFill>
                <a:schemeClr val="tx1"/>
              </a:solidFill>
              <a:effectLst/>
              <a:latin typeface="+mn-lt"/>
              <a:ea typeface="ＭＳ Ｐゴシック" charset="0"/>
              <a:cs typeface="ＭＳ Ｐゴシック" charset="0"/>
            </a:endParaRPr>
          </a:p>
          <a:p>
            <a:pPr lvl="0"/>
            <a:r>
              <a:rPr lang="en-US" sz="1200" kern="1200">
                <a:solidFill>
                  <a:schemeClr val="tx1"/>
                </a:solidFill>
                <a:effectLst/>
                <a:latin typeface="+mn-lt"/>
                <a:ea typeface="ＭＳ Ｐゴシック" charset="0"/>
                <a:cs typeface="ＭＳ Ｐゴシック" charset="0"/>
              </a:rPr>
              <a:t>Everyone's needs are unique. We can provide as custom a solution you need, or as out of the box as is warranted.</a:t>
            </a:r>
          </a:p>
          <a:p>
            <a:pPr lvl="0"/>
            <a:endParaRPr lang="en-US" sz="1200" kern="1200">
              <a:solidFill>
                <a:schemeClr val="tx1"/>
              </a:solidFill>
              <a:effectLst/>
              <a:latin typeface="+mn-lt"/>
              <a:ea typeface="ＭＳ Ｐゴシック" charset="0"/>
              <a:cs typeface="ＭＳ Ｐゴシック" charset="0"/>
            </a:endParaRPr>
          </a:p>
          <a:p>
            <a:r>
              <a:rPr lang="en-US" sz="1200" b="1" kern="1200">
                <a:solidFill>
                  <a:schemeClr val="tx1"/>
                </a:solidFill>
                <a:effectLst/>
                <a:latin typeface="+mn-lt"/>
                <a:ea typeface="ＭＳ Ｐゴシック" charset="0"/>
                <a:cs typeface="ＭＳ Ｐゴシック" charset="0"/>
              </a:rPr>
              <a:t>Security expertise</a:t>
            </a:r>
          </a:p>
          <a:p>
            <a:endParaRPr lang="en-US" sz="1200" kern="1200">
              <a:solidFill>
                <a:schemeClr val="tx1"/>
              </a:solidFill>
              <a:effectLst/>
              <a:latin typeface="+mn-lt"/>
              <a:ea typeface="ＭＳ Ｐゴシック" charset="0"/>
              <a:cs typeface="ＭＳ Ｐゴシック" charset="0"/>
            </a:endParaRPr>
          </a:p>
          <a:p>
            <a:pPr lvl="0"/>
            <a:r>
              <a:rPr lang="en-US" sz="1200" kern="1200">
                <a:solidFill>
                  <a:schemeClr val="tx1"/>
                </a:solidFill>
                <a:effectLst/>
                <a:latin typeface="+mn-lt"/>
                <a:ea typeface="ＭＳ Ｐゴシック" charset="0"/>
                <a:cs typeface="ＭＳ Ｐゴシック" charset="0"/>
              </a:rPr>
              <a:t>Security expertise underpins everything we do. Connects security expertise to global threat intelligence and talent team. And Zero Trust. Design expertise, product building expertise. Cloud-delivery expertise. </a:t>
            </a:r>
          </a:p>
          <a:p>
            <a:pPr lvl="0"/>
            <a:r>
              <a:rPr lang="en-US" sz="1200" kern="1200">
                <a:solidFill>
                  <a:schemeClr val="tx1"/>
                </a:solidFill>
                <a:effectLst/>
                <a:latin typeface="+mn-lt"/>
                <a:ea typeface="ＭＳ Ｐゴシック" charset="0"/>
                <a:cs typeface="ＭＳ Ｐゴシック" charset="0"/>
              </a:rPr>
              <a:t>It's technology and know-how. </a:t>
            </a:r>
          </a:p>
          <a:p>
            <a:pPr lvl="0"/>
            <a:endParaRPr lang="en-US" sz="1200" kern="1200">
              <a:solidFill>
                <a:schemeClr val="tx1"/>
              </a:solidFill>
              <a:effectLst/>
              <a:latin typeface="+mn-lt"/>
              <a:ea typeface="ＭＳ Ｐゴシック" charset="0"/>
              <a:cs typeface="ＭＳ Ｐゴシック" charset="0"/>
            </a:endParaRPr>
          </a:p>
          <a:p>
            <a:pPr lvl="0"/>
            <a:r>
              <a:rPr lang="en-US" sz="1200" kern="1200">
                <a:solidFill>
                  <a:schemeClr val="tx1"/>
                </a:solidFill>
                <a:effectLst/>
                <a:latin typeface="+mn-lt"/>
                <a:ea typeface="ＭＳ Ｐゴシック" charset="0"/>
                <a:cs typeface="ＭＳ Ｐゴシック" charset="0"/>
              </a:rPr>
              <a:t>Or security services. You don’t just want a security product; you want a secure business. That’s the value our security services deliver. </a:t>
            </a:r>
          </a:p>
          <a:p>
            <a:pPr lvl="0"/>
            <a:endParaRPr lang="en-US" sz="1200" kern="1200">
              <a:solidFill>
                <a:schemeClr val="tx1"/>
              </a:solidFill>
              <a:effectLst/>
              <a:latin typeface="+mn-lt"/>
              <a:ea typeface="ＭＳ Ｐゴシック" charset="0"/>
              <a:cs typeface="ＭＳ Ｐゴシック" charset="0"/>
            </a:endParaRPr>
          </a:p>
          <a:p>
            <a:r>
              <a:rPr lang="en-US" sz="1200" b="1" kern="1200">
                <a:solidFill>
                  <a:schemeClr val="tx1"/>
                </a:solidFill>
                <a:effectLst/>
                <a:latin typeface="+mn-lt"/>
                <a:ea typeface="ＭＳ Ｐゴシック" charset="0"/>
                <a:cs typeface="ＭＳ Ｐゴシック" charset="0"/>
              </a:rPr>
              <a:t>How does this help you accelerate your business? </a:t>
            </a:r>
          </a:p>
          <a:p>
            <a:endParaRPr lang="en-US" sz="1200" kern="1200">
              <a:solidFill>
                <a:schemeClr val="tx1"/>
              </a:solidFill>
              <a:effectLst/>
              <a:latin typeface="+mn-lt"/>
              <a:ea typeface="ＭＳ Ｐゴシック" charset="0"/>
              <a:cs typeface="ＭＳ Ｐゴシック" charset="0"/>
            </a:endParaRPr>
          </a:p>
          <a:p>
            <a:r>
              <a:rPr lang="en-US" sz="1200" kern="1200">
                <a:solidFill>
                  <a:schemeClr val="tx1"/>
                </a:solidFill>
                <a:effectLst/>
                <a:latin typeface="+mn-lt"/>
                <a:ea typeface="ＭＳ Ｐゴシック" charset="0"/>
                <a:cs typeface="ＭＳ Ｐゴシック" charset="0"/>
              </a:rPr>
              <a:t>The powerful, open platform keeps you safer as you focus on pursuing what’s next. This means protecting your entire business with a single approach becomes easy. Expanding your business to new branches and adding that new SaaS solution becomes easy. You can become the department of “yes” – say “yes” to new initiatives fasters. And with security out of the way you can focus your teams on higher impact work. </a:t>
            </a:r>
          </a:p>
          <a:p>
            <a:r>
              <a:rPr lang="en-US" sz="1200" kern="1200">
                <a:solidFill>
                  <a:schemeClr val="tx1"/>
                </a:solidFill>
                <a:effectLst/>
                <a:latin typeface="+mn-lt"/>
                <a:ea typeface="ＭＳ Ｐゴシック" charset="0"/>
                <a:cs typeface="ＭＳ Ｐゴシック" charset="0"/>
              </a:rPr>
              <a:t> </a:t>
            </a:r>
          </a:p>
          <a:p>
            <a:r>
              <a:rPr lang="en-US" sz="1200" kern="1200">
                <a:solidFill>
                  <a:schemeClr val="tx1"/>
                </a:solidFill>
                <a:effectLst/>
                <a:latin typeface="+mn-lt"/>
                <a:ea typeface="ＭＳ Ｐゴシック" charset="0"/>
                <a:cs typeface="ＭＳ Ｐゴシック" charset="0"/>
              </a:rPr>
              <a:t> </a:t>
            </a:r>
          </a:p>
          <a:p>
            <a:pPr marL="0" indent="0">
              <a:lnSpc>
                <a:spcPct val="100000"/>
              </a:lnSpc>
              <a:buFont typeface="Arial" panose="020B0604020202020204" pitchFamily="34" charset="0"/>
              <a:buNone/>
            </a:pPr>
            <a:r>
              <a:rPr lang="en-US" sz="1200">
                <a:solidFill>
                  <a:schemeClr val="tx1"/>
                </a:solidFill>
              </a:rPr>
              <a:t>&lt;T&gt; And we’re proud of our work</a:t>
            </a:r>
          </a:p>
          <a:p>
            <a:pPr marL="0" indent="0">
              <a:lnSpc>
                <a:spcPct val="100000"/>
              </a:lnSpc>
              <a:buFont typeface="Arial" panose="020B0604020202020204" pitchFamily="34" charset="0"/>
              <a:buNone/>
            </a:pPr>
            <a:endParaRPr lang="en-US" sz="1200">
              <a:solidFill>
                <a:schemeClr val="tx1"/>
              </a:solidFill>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83904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a:t>[:34]</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a:p>
          <a:p>
            <a:pPr marL="0" marR="0" lvl="0" indent="0" algn="l" defTabSz="457200" rtl="0" eaLnBrk="0" fontAlgn="base" latinLnBrk="0" hangingPunct="0">
              <a:lnSpc>
                <a:spcPct val="100000"/>
              </a:lnSpc>
              <a:spcBef>
                <a:spcPct val="30000"/>
              </a:spcBef>
              <a:spcAft>
                <a:spcPct val="0"/>
              </a:spcAft>
              <a:buClrTx/>
              <a:buSzTx/>
              <a:buFontTx/>
              <a:buNone/>
              <a:tabLst/>
              <a:defRPr/>
            </a:pPr>
            <a:r>
              <a:rPr lang="en-US"/>
              <a:t>That’s why we stand apart as a security vendor. </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a:t>The platform has integrations built in, so you don’t have to do all the hard work of bolting your solutions on. This lets you build around what you have. And you can leverage the benefits of these integrations with one solution or many</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a:t>Our cloud innovations make security easier than ever before. </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a:t>Shared intelligence across the entire portfolio make each solution smarter and more effective every day. </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a:t>And we have products and services for every business, with more breadth of enforcement than any other vendor. </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a:t>&lt;T&gt; But don’t take it from us. </a:t>
            </a:r>
          </a:p>
          <a:p>
            <a:endParaRPr lang="en-US"/>
          </a:p>
          <a:p>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3</a:t>
            </a:fld>
            <a:endParaRPr lang="en-US"/>
          </a:p>
        </p:txBody>
      </p:sp>
    </p:spTree>
    <p:extLst>
      <p:ext uri="{BB962C8B-B14F-4D97-AF65-F5344CB8AC3E}">
        <p14:creationId xmlns:p14="http://schemas.microsoft.com/office/powerpoint/2010/main" val="17132197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kern="1200">
                <a:solidFill>
                  <a:schemeClr val="tx1"/>
                </a:solidFill>
                <a:effectLst/>
                <a:latin typeface="+mn-lt"/>
                <a:ea typeface="ＭＳ Ｐゴシック" charset="0"/>
                <a:cs typeface="ＭＳ Ｐゴシック" charset="0"/>
              </a:rPr>
              <a:t>[:11]</a:t>
            </a:r>
          </a:p>
          <a:p>
            <a:pPr marL="0" indent="0">
              <a:buFont typeface="Arial" panose="020B0604020202020204" pitchFamily="34" charset="0"/>
              <a:buNone/>
            </a:pPr>
            <a:endParaRPr lang="en-US" sz="1200" kern="1200">
              <a:solidFill>
                <a:schemeClr val="tx1"/>
              </a:solidFill>
              <a:effectLst/>
              <a:latin typeface="+mn-lt"/>
              <a:ea typeface="ＭＳ Ｐゴシック" charset="0"/>
              <a:cs typeface="ＭＳ Ｐゴシック" charset="0"/>
            </a:endParaRPr>
          </a:p>
          <a:p>
            <a:pPr marL="0" indent="0">
              <a:buFont typeface="Arial" panose="020B0604020202020204" pitchFamily="34" charset="0"/>
              <a:buNone/>
            </a:pPr>
            <a:r>
              <a:rPr lang="en-US" sz="1200" kern="1200">
                <a:solidFill>
                  <a:schemeClr val="tx1"/>
                </a:solidFill>
                <a:effectLst/>
                <a:latin typeface="+mn-lt"/>
                <a:ea typeface="ＭＳ Ｐゴシック" charset="0"/>
                <a:cs typeface="ＭＳ Ｐゴシック" charset="0"/>
              </a:rPr>
              <a:t>Try it for yourself. Try multiple products before you by. </a:t>
            </a:r>
          </a:p>
          <a:p>
            <a:pPr marL="0" indent="0">
              <a:buFont typeface="Arial" panose="020B0604020202020204" pitchFamily="34" charset="0"/>
              <a:buNone/>
            </a:pPr>
            <a:endParaRPr lang="en-US" sz="1200" kern="1200">
              <a:solidFill>
                <a:schemeClr val="tx1"/>
              </a:solidFill>
              <a:effectLst/>
              <a:latin typeface="+mn-lt"/>
              <a:ea typeface="ＭＳ Ｐゴシック" charset="0"/>
              <a:cs typeface="ＭＳ Ｐゴシック" charset="0"/>
            </a:endParaRPr>
          </a:p>
          <a:p>
            <a:pPr marL="0" indent="0">
              <a:buFont typeface="Arial" panose="020B0604020202020204" pitchFamily="34" charset="0"/>
              <a:buNone/>
            </a:pPr>
            <a:r>
              <a:rPr lang="en-US" sz="1200" kern="1200">
                <a:solidFill>
                  <a:schemeClr val="tx1"/>
                </a:solidFill>
                <a:effectLst/>
                <a:latin typeface="+mn-lt"/>
                <a:ea typeface="ＭＳ Ｐゴシック" charset="0"/>
                <a:cs typeface="ＭＳ Ｐゴシック" charset="0"/>
              </a:rPr>
              <a:t>Or, if you already have a Cisco Security product, connect it to your entire security infrastructure to unlock its potential today. Get started with </a:t>
            </a:r>
            <a:r>
              <a:rPr lang="en-US" sz="1200" kern="1200" err="1">
                <a:solidFill>
                  <a:schemeClr val="tx1"/>
                </a:solidFill>
                <a:effectLst/>
                <a:latin typeface="+mn-lt"/>
                <a:ea typeface="ＭＳ Ｐゴシック" charset="0"/>
                <a:cs typeface="ＭＳ Ｐゴシック" charset="0"/>
              </a:rPr>
              <a:t>SecureX</a:t>
            </a:r>
            <a:r>
              <a:rPr lang="en-US" sz="1200" kern="1200">
                <a:solidFill>
                  <a:schemeClr val="tx1"/>
                </a:solidFill>
                <a:effectLst/>
                <a:latin typeface="+mn-lt"/>
                <a:ea typeface="ＭＳ Ｐゴシック" charset="0"/>
                <a:cs typeface="ＭＳ Ｐゴシック" charset="0"/>
              </a:rPr>
              <a:t>.</a:t>
            </a:r>
          </a:p>
          <a:p>
            <a:pPr marL="0" indent="0">
              <a:buFont typeface="Arial" panose="020B0604020202020204" pitchFamily="34" charset="0"/>
              <a:buNone/>
            </a:pPr>
            <a:endParaRPr lang="en-US" sz="1200" kern="120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4</a:t>
            </a:fld>
            <a:endParaRPr lang="en-US"/>
          </a:p>
        </p:txBody>
      </p:sp>
    </p:spTree>
    <p:extLst>
      <p:ext uri="{BB962C8B-B14F-4D97-AF65-F5344CB8AC3E}">
        <p14:creationId xmlns:p14="http://schemas.microsoft.com/office/powerpoint/2010/main" val="16073769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600"/>
              </a:spcAft>
              <a:buFont typeface="+mj-lt"/>
              <a:buNone/>
              <a:defRPr/>
            </a:pPr>
            <a:r>
              <a:rPr lang="en-US">
                <a:ea typeface="ＭＳ Ｐゴシック" charset="0"/>
              </a:rPr>
              <a:t>[:9]</a:t>
            </a:r>
          </a:p>
          <a:p>
            <a:pPr marL="0" lvl="0" indent="0">
              <a:lnSpc>
                <a:spcPct val="107000"/>
              </a:lnSpc>
              <a:spcAft>
                <a:spcPts val="600"/>
              </a:spcAft>
              <a:buFont typeface="+mj-lt"/>
              <a:buNone/>
              <a:defRPr/>
            </a:pPr>
            <a:endParaRPr lang="en-US">
              <a:ea typeface="ＭＳ Ｐゴシック" charset="0"/>
            </a:endParaRPr>
          </a:p>
          <a:p>
            <a:pPr marL="0" lvl="0" indent="0">
              <a:lnSpc>
                <a:spcPct val="107000"/>
              </a:lnSpc>
              <a:spcAft>
                <a:spcPts val="600"/>
              </a:spcAft>
              <a:buFont typeface="+mj-lt"/>
              <a:buNone/>
              <a:defRPr/>
            </a:pPr>
            <a:r>
              <a:rPr lang="en-US">
                <a:ea typeface="ＭＳ Ｐゴシック" charset="0"/>
              </a:rPr>
              <a:t>Independent cybersecurity experts are recognizing Cisco Security as an industry leader. A platform starts with a range of high-quality products. </a:t>
            </a:r>
          </a:p>
          <a:p>
            <a:pPr marL="0" lvl="0" indent="0">
              <a:lnSpc>
                <a:spcPct val="107000"/>
              </a:lnSpc>
              <a:spcAft>
                <a:spcPts val="600"/>
              </a:spcAft>
              <a:buFont typeface="+mj-lt"/>
              <a:buNone/>
              <a:defRPr/>
            </a:pPr>
            <a:endParaRPr lang="en-US">
              <a:ea typeface="ＭＳ Ｐゴシック" charset="0"/>
            </a:endParaRPr>
          </a:p>
          <a:p>
            <a:pPr marL="0" lvl="0" indent="0">
              <a:lnSpc>
                <a:spcPct val="107000"/>
              </a:lnSpc>
              <a:spcAft>
                <a:spcPts val="600"/>
              </a:spcAft>
              <a:buFont typeface="+mj-lt"/>
              <a:buNone/>
              <a:defRPr/>
            </a:pPr>
            <a:r>
              <a:rPr lang="en-US">
                <a:ea typeface="ＭＳ Ｐゴシック" charset="0"/>
              </a:rPr>
              <a:t>&lt;T&gt; And that’s what we have. </a:t>
            </a:r>
          </a:p>
          <a:p>
            <a:pPr marL="0" lvl="0" indent="0">
              <a:lnSpc>
                <a:spcPct val="107000"/>
              </a:lnSpc>
              <a:spcAft>
                <a:spcPts val="600"/>
              </a:spcAft>
              <a:buFont typeface="+mj-lt"/>
              <a:buNone/>
              <a:defRPr/>
            </a:pPr>
            <a:endParaRPr lang="en-US">
              <a:ea typeface="ＭＳ Ｐゴシック" charset="0"/>
            </a:endParaRPr>
          </a:p>
          <a:p>
            <a:pPr marL="0" lvl="0" indent="0">
              <a:lnSpc>
                <a:spcPct val="107000"/>
              </a:lnSpc>
              <a:spcAft>
                <a:spcPts val="600"/>
              </a:spcAft>
              <a:buFont typeface="+mj-lt"/>
              <a:buNone/>
              <a:defRPr/>
            </a:pPr>
            <a:r>
              <a:rPr lang="en-US">
                <a:ea typeface="ＭＳ Ｐゴシック" charset="0"/>
              </a:rPr>
              <a:t>Sources: </a:t>
            </a:r>
          </a:p>
          <a:p>
            <a:pPr marL="228600" lvl="0" indent="-228600" eaLnBrk="0" hangingPunct="0">
              <a:spcBef>
                <a:spcPct val="30000"/>
              </a:spcBef>
              <a:buFont typeface="Arial" panose="020B0604020202020204" pitchFamily="34" charset="0"/>
              <a:buAutoNum type="arabicPeriod"/>
            </a:pPr>
            <a:r>
              <a:rPr lang="en-US">
                <a:latin typeface="+mn-lt"/>
                <a:hlinkClick r:id="rId3">
                  <a:extLst>
                    <a:ext uri="{A12FA001-AC4F-418D-AE19-62706E023703}">
                      <ahyp:hlinkClr xmlns:ahyp="http://schemas.microsoft.com/office/drawing/2018/hyperlinkcolor" val="tx"/>
                    </a:ext>
                  </a:extLst>
                </a:hlinkClick>
              </a:rPr>
              <a:t>https://blogs.cisco.com/security/cisco-named-a-leader-in-the-2018-gartner-magic-quadrant-for-enterprise-network-firewalls</a:t>
            </a:r>
            <a:endParaRPr lang="en-US">
              <a:latin typeface="+mn-lt"/>
            </a:endParaRPr>
          </a:p>
          <a:p>
            <a:pPr marL="228600" lvl="0" indent="-228600" eaLnBrk="0" hangingPunct="0">
              <a:spcBef>
                <a:spcPct val="30000"/>
              </a:spcBef>
              <a:buFont typeface="Arial" panose="020B0604020202020204" pitchFamily="34" charset="0"/>
              <a:buAutoNum type="arabicPeriod"/>
            </a:pPr>
            <a:r>
              <a:rPr lang="en-US">
                <a:latin typeface="+mn-lt"/>
                <a:hlinkClick r:id="rId4">
                  <a:extLst>
                    <a:ext uri="{A12FA001-AC4F-418D-AE19-62706E023703}">
                      <ahyp:hlinkClr xmlns:ahyp="http://schemas.microsoft.com/office/drawing/2018/hyperlinkcolor" val="tx"/>
                    </a:ext>
                  </a:extLst>
                </a:hlinkClick>
              </a:rPr>
              <a:t>https://www.binat.net.il/wp-content/uploads/2018/11/Gartner-2018-Magic-Quadrant-for-Secure-Web-Gateways.pdf</a:t>
            </a:r>
            <a:endParaRPr lang="en-US">
              <a:latin typeface="+mn-lt"/>
            </a:endParaRPr>
          </a:p>
          <a:p>
            <a:pPr marL="228600" lvl="0" indent="-228600" eaLnBrk="0" hangingPunct="0">
              <a:spcBef>
                <a:spcPct val="30000"/>
              </a:spcBef>
              <a:buFont typeface="Arial" panose="020B0604020202020204" pitchFamily="34" charset="0"/>
              <a:buAutoNum type="arabicPeriod"/>
            </a:pPr>
            <a:r>
              <a:rPr lang="en-US">
                <a:hlinkClick r:id="rId5">
                  <a:extLst>
                    <a:ext uri="{A12FA001-AC4F-418D-AE19-62706E023703}">
                      <ahyp:hlinkClr xmlns:ahyp="http://schemas.microsoft.com/office/drawing/2018/hyperlinkcolor" val="tx"/>
                    </a:ext>
                  </a:extLst>
                </a:hlinkClick>
              </a:rPr>
              <a:t>https://duo.com/resources/ebooks/cisco-named-a-leader-in-the-2019-forrester-zero-trust-wave-report?utm_source=cisco&amp;utm_medium=website&amp;utm_campaign=zt-wave</a:t>
            </a:r>
            <a:endParaRPr lang="en-US"/>
          </a:p>
          <a:p>
            <a:pPr marL="228600" lvl="0" indent="-228600" eaLnBrk="0" hangingPunct="0">
              <a:spcBef>
                <a:spcPct val="30000"/>
              </a:spcBef>
              <a:buFont typeface="Arial" panose="020B0604020202020204" pitchFamily="34" charset="0"/>
              <a:buAutoNum type="arabicPeriod"/>
            </a:pPr>
            <a:r>
              <a:rPr lang="en-US">
                <a:latin typeface="+mn-lt"/>
                <a:hlinkClick r:id="rId6">
                  <a:extLst>
                    <a:ext uri="{A12FA001-AC4F-418D-AE19-62706E023703}">
                      <ahyp:hlinkClr xmlns:ahyp="http://schemas.microsoft.com/office/drawing/2018/hyperlinkcolor" val="tx"/>
                    </a:ext>
                  </a:extLst>
                </a:hlinkClick>
              </a:rPr>
              <a:t>https://www.forrester.com/report/The+Forrester+Wave+Enterprise+Email+Security+Q2+2019/-/E-RES144398</a:t>
            </a:r>
            <a:endParaRPr lang="en-US">
              <a:latin typeface="+mn-lt"/>
            </a:endParaRPr>
          </a:p>
          <a:p>
            <a:pPr marL="228600" lvl="0" indent="-228600" eaLnBrk="0" hangingPunct="0">
              <a:spcBef>
                <a:spcPct val="30000"/>
              </a:spcBef>
              <a:buFont typeface="Arial" panose="020B0604020202020204" pitchFamily="34" charset="0"/>
              <a:buAutoNum type="arabicPeriod"/>
            </a:pPr>
            <a:r>
              <a:rPr lang="en-US">
                <a:latin typeface="+mn-lt"/>
                <a:hlinkClick r:id="rId7">
                  <a:extLst>
                    <a:ext uri="{A12FA001-AC4F-418D-AE19-62706E023703}">
                      <ahyp:hlinkClr xmlns:ahyp="http://schemas.microsoft.com/office/drawing/2018/hyperlinkcolor" val="tx"/>
                    </a:ext>
                  </a:extLst>
                </a:hlinkClick>
              </a:rPr>
              <a:t>https://www.forrester.com/report/The+Forrester+Wave+Endpoint+Security+Suites+Q2+2018/-/E-RES137973</a:t>
            </a:r>
            <a:endParaRPr lang="en-US" kern="1200">
              <a:latin typeface="+mn-lt"/>
            </a:endParaRPr>
          </a:p>
          <a:p>
            <a:pPr marL="0" lvl="0" indent="0">
              <a:lnSpc>
                <a:spcPct val="107000"/>
              </a:lnSpc>
              <a:spcAft>
                <a:spcPts val="600"/>
              </a:spcAft>
              <a:buFont typeface="+mj-lt"/>
              <a:buNone/>
              <a:defRPr/>
            </a:pPr>
            <a:endParaRPr lang="en-US">
              <a:ea typeface="ＭＳ Ｐゴシック" charset="0"/>
            </a:endParaRPr>
          </a:p>
          <a:p>
            <a:pPr marL="0" lvl="0" indent="0">
              <a:lnSpc>
                <a:spcPct val="107000"/>
              </a:lnSpc>
              <a:spcAft>
                <a:spcPts val="600"/>
              </a:spcAft>
              <a:buFont typeface="+mj-lt"/>
              <a:buNone/>
              <a:defRPr/>
            </a:pPr>
            <a:endParaRPr lang="en-US">
              <a:ea typeface="ＭＳ Ｐゴシック" charset="0"/>
            </a:endParaRPr>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5</a:t>
            </a:fld>
            <a:endParaRPr lang="en-US"/>
          </a:p>
        </p:txBody>
      </p:sp>
    </p:spTree>
    <p:extLst>
      <p:ext uri="{BB962C8B-B14F-4D97-AF65-F5344CB8AC3E}">
        <p14:creationId xmlns:p14="http://schemas.microsoft.com/office/powerpoint/2010/main" val="21298261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a:t>
            </a:r>
          </a:p>
          <a:p>
            <a:endParaRPr lang="en-US"/>
          </a:p>
          <a:p>
            <a:r>
              <a:rPr lang="en-US" i="1"/>
              <a:t>Source: Internal research </a:t>
            </a:r>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6</a:t>
            </a:fld>
            <a:endParaRPr lang="en-US"/>
          </a:p>
        </p:txBody>
      </p:sp>
    </p:spTree>
    <p:extLst>
      <p:ext uri="{BB962C8B-B14F-4D97-AF65-F5344CB8AC3E}">
        <p14:creationId xmlns:p14="http://schemas.microsoft.com/office/powerpoint/2010/main" val="2801028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33]</a:t>
            </a:r>
          </a:p>
          <a:p>
            <a:pPr marL="0" indent="0">
              <a:buFont typeface="Arial" panose="020B0604020202020204" pitchFamily="34" charset="0"/>
              <a:buNone/>
            </a:pPr>
            <a:endParaRPr lang="en-US"/>
          </a:p>
          <a:p>
            <a:pPr marL="0" indent="0">
              <a:buFont typeface="Arial" panose="020B0604020202020204" pitchFamily="34" charset="0"/>
              <a:buNone/>
            </a:pPr>
            <a:r>
              <a:rPr lang="en-US"/>
              <a:t>Positive shifts like moving to the cloud and other elements of digital transformation are a double-edged sword. Although they drive your business forward, they put additional pressure on your security teams. </a:t>
            </a:r>
          </a:p>
          <a:p>
            <a:pPr marL="0" indent="0">
              <a:buFont typeface="Arial" panose="020B0604020202020204" pitchFamily="34" charset="0"/>
              <a:buNone/>
            </a:pPr>
            <a:endParaRPr lang="en-US"/>
          </a:p>
          <a:p>
            <a:pPr marL="0" indent="0">
              <a:buFont typeface="Arial" panose="020B0604020202020204" pitchFamily="34" charset="0"/>
              <a:buNone/>
            </a:pPr>
            <a:r>
              <a:rPr lang="en-US"/>
              <a:t>Already entrenched in the process of keeping your business secure, your security professionals are now asking themselves questions like:</a:t>
            </a:r>
          </a:p>
          <a:p>
            <a:pPr marL="171450" indent="-171450" algn="l">
              <a:buFont typeface="Arial" panose="020B0604020202020204" pitchFamily="34" charset="0"/>
              <a:buChar char="•"/>
            </a:pPr>
            <a:r>
              <a:rPr lang="en-US" b="0"/>
              <a:t>How can I maintain visibility across my infrastructure?</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b="0"/>
              <a:t>How do I find security professionals to integrate all these tools that don’t work with one another? </a:t>
            </a:r>
          </a:p>
          <a:p>
            <a:pPr marL="171450" marR="0" lvl="0"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b="0"/>
              <a:t>How can I maintain security as my perimeter evolves? </a:t>
            </a:r>
          </a:p>
          <a:p>
            <a:pPr marL="0" indent="0">
              <a:buFont typeface="Arial" panose="020B0604020202020204" pitchFamily="34" charset="0"/>
              <a:buNone/>
            </a:pPr>
            <a:endParaRPr lang="en-US"/>
          </a:p>
          <a:p>
            <a:pPr marL="0" indent="0">
              <a:buFont typeface="Arial" panose="020B0604020202020204" pitchFamily="34" charset="0"/>
              <a:buNone/>
            </a:pPr>
            <a:r>
              <a:rPr lang="en-US"/>
              <a:t>&lt;T&gt;: At times, it might feel like you can’t secure every new business endeavor.</a:t>
            </a:r>
          </a:p>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3586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096000" cy="4114800"/>
          </a:xfrm>
        </p:spPr>
        <p:txBody>
          <a:bodyPr/>
          <a:lstStyle/>
          <a:p>
            <a:pPr marL="0" marR="0" lvl="0" indent="0" algn="l" defTabSz="609585"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b="0" kern="1200">
                <a:solidFill>
                  <a:schemeClr val="tx1"/>
                </a:solidFill>
                <a:effectLst/>
                <a:latin typeface="+mn-lt"/>
                <a:ea typeface="ＭＳ Ｐゴシック" charset="0"/>
                <a:cs typeface="ＭＳ Ｐゴシック" charset="0"/>
              </a:rPr>
              <a:t>[:32]</a:t>
            </a:r>
          </a:p>
          <a:p>
            <a:pPr marL="0" marR="0" lvl="0" indent="0" algn="l" defTabSz="609585"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b="0" kern="1200">
              <a:solidFill>
                <a:schemeClr val="tx1"/>
              </a:solidFill>
              <a:effectLst/>
              <a:latin typeface="+mn-lt"/>
              <a:ea typeface="ＭＳ Ｐゴシック" charset="0"/>
              <a:cs typeface="ＭＳ Ｐゴシック" charset="0"/>
            </a:endParaRPr>
          </a:p>
          <a:p>
            <a:pPr marL="0" marR="0" lvl="0" indent="0" algn="l" defTabSz="609585"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b="0" kern="1200">
                <a:solidFill>
                  <a:schemeClr val="tx1"/>
                </a:solidFill>
                <a:effectLst/>
                <a:latin typeface="+mn-lt"/>
                <a:ea typeface="ＭＳ Ｐゴシック" charset="0"/>
                <a:cs typeface="ＭＳ Ｐゴシック" charset="0"/>
              </a:rPr>
              <a:t>It’s a never-ending grind. </a:t>
            </a:r>
          </a:p>
          <a:p>
            <a:pPr marL="0" marR="0" lvl="0" indent="0" algn="l" defTabSz="609585"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b="1" kern="1200">
              <a:solidFill>
                <a:schemeClr val="tx1"/>
              </a:solidFill>
              <a:effectLst/>
              <a:latin typeface="+mn-lt"/>
              <a:ea typeface="ＭＳ Ｐゴシック" charset="0"/>
              <a:cs typeface="ＭＳ Ｐゴシック" charset="0"/>
            </a:endParaRPr>
          </a:p>
          <a:p>
            <a:pPr marL="0" marR="0" lvl="0" indent="0" algn="l" defTabSz="609585"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b="0" kern="1200">
                <a:solidFill>
                  <a:schemeClr val="tx1"/>
                </a:solidFill>
                <a:effectLst/>
                <a:latin typeface="+mn-lt"/>
                <a:ea typeface="ＭＳ Ｐゴシック" charset="0"/>
                <a:cs typeface="ＭＳ Ｐゴシック" charset="0"/>
              </a:rPr>
              <a:t>You’re up against active adversaries who are well-funded and endlessly patient. You’re also dealing with perennial challenges that never seem to go away, like keeping an accurate inventory of users, applications, and devices. You’re juggling business risk alongside security risk while empowering teams to move fast. Yet business decisions continue to be made without security in mind.</a:t>
            </a:r>
          </a:p>
          <a:p>
            <a:endParaRPr lang="en-US" sz="1200" kern="1200">
              <a:solidFill>
                <a:schemeClr val="tx1"/>
              </a:solidFill>
              <a:effectLst/>
              <a:latin typeface="+mn-lt"/>
              <a:ea typeface="ＭＳ Ｐゴシック" charset="0"/>
              <a:cs typeface="ＭＳ Ｐゴシック" charset="0"/>
            </a:endParaRPr>
          </a:p>
          <a:p>
            <a:r>
              <a:rPr lang="en-US" sz="1200" b="0" kern="1200">
                <a:solidFill>
                  <a:schemeClr val="tx1"/>
                </a:solidFill>
                <a:effectLst/>
                <a:latin typeface="+mn-lt"/>
                <a:ea typeface="ＭＳ Ｐゴシック" charset="0"/>
                <a:cs typeface="ＭＳ Ｐゴシック" charset="0"/>
              </a:rPr>
              <a:t>And when you throw in new regulations, board mandates, budgets, risk management, the revolving door of security talent...the grind never stops. </a:t>
            </a:r>
            <a:endParaRPr lang="en-US" sz="1200" b="0">
              <a:solidFill>
                <a:srgbClr val="FFFFFF"/>
              </a:solidFill>
            </a:endParaRPr>
          </a:p>
          <a:p>
            <a:pPr marL="0" indent="0">
              <a:buFont typeface="Arial" panose="020B0604020202020204" pitchFamily="34" charset="0"/>
              <a:buNone/>
            </a:pPr>
            <a:endParaRPr lang="en-US" sz="1200" b="0" i="0" kern="1200">
              <a:solidFill>
                <a:srgbClr val="FFFFFF"/>
              </a:solidFill>
              <a:effectLst/>
              <a:latin typeface="+mn-lt"/>
              <a:ea typeface="ＭＳ Ｐゴシック" charset="0"/>
              <a:cs typeface="ＭＳ Ｐゴシック" charset="0"/>
            </a:endParaRPr>
          </a:p>
          <a:p>
            <a:pPr marL="0" indent="0">
              <a:buFont typeface="Arial" panose="020B0604020202020204" pitchFamily="34" charset="0"/>
              <a:buNone/>
            </a:pPr>
            <a:r>
              <a:rPr lang="en-US" sz="1200" b="0" i="0" kern="1200">
                <a:solidFill>
                  <a:srgbClr val="FF0000"/>
                </a:solidFill>
                <a:effectLst/>
                <a:latin typeface="+mn-lt"/>
                <a:ea typeface="ＭＳ Ｐゴシック" charset="0"/>
                <a:cs typeface="ＭＳ Ｐゴシック" charset="0"/>
              </a:rPr>
              <a:t>&lt;T&gt; It can feel like you’re on an endless treadmill. &lt;click&gt;</a:t>
            </a:r>
          </a:p>
          <a:p>
            <a:pPr marL="0" indent="0">
              <a:buFont typeface="Arial" panose="020B0604020202020204" pitchFamily="34" charset="0"/>
              <a:buNone/>
            </a:pPr>
            <a:endParaRPr lang="en-US" sz="1200" b="0" i="1" kern="1200">
              <a:solidFill>
                <a:schemeClr val="tx1"/>
              </a:solidFill>
              <a:effectLst/>
              <a:latin typeface="+mn-lt"/>
              <a:ea typeface="ＭＳ Ｐゴシック" charset="0"/>
              <a:cs typeface="+mn-cs"/>
            </a:endParaRPr>
          </a:p>
          <a:p>
            <a:pPr marL="0" indent="0">
              <a:buFont typeface="Arial" panose="020B0604020202020204" pitchFamily="34" charset="0"/>
              <a:buNone/>
            </a:pPr>
            <a:r>
              <a:rPr lang="en-US" sz="1200" b="0" i="1" kern="1200">
                <a:solidFill>
                  <a:schemeClr val="tx1"/>
                </a:solidFill>
                <a:effectLst/>
                <a:latin typeface="+mn-lt"/>
                <a:ea typeface="ＭＳ Ｐゴシック" charset="0"/>
                <a:cs typeface="+mn-cs"/>
              </a:rPr>
              <a:t>[Seller note: Here are useful statistics, if you would like to include them:] </a:t>
            </a:r>
          </a:p>
          <a:p>
            <a:pPr marL="241300" marR="0" lvl="1" indent="-196850" algn="l" defTabSz="457200" rtl="0" eaLnBrk="0" fontAlgn="base" latinLnBrk="0" hangingPunct="0">
              <a:lnSpc>
                <a:spcPct val="100000"/>
              </a:lnSpc>
              <a:spcBef>
                <a:spcPct val="30000"/>
              </a:spcBef>
              <a:spcAft>
                <a:spcPct val="0"/>
              </a:spcAft>
              <a:buClrTx/>
              <a:buSzTx/>
              <a:buFont typeface="Arial" panose="020B0604020202020204" pitchFamily="34" charset="0"/>
              <a:buChar char="•"/>
              <a:defRPr/>
            </a:pPr>
            <a:r>
              <a:rPr lang="en-US" sz="800" b="0" i="1"/>
              <a:t>83% of cybersecurity professionals believe that cyber-risk management is more difficult today </a:t>
            </a:r>
            <a:r>
              <a:rPr lang="en-US" sz="800" b="0" i="1" err="1"/>
              <a:t>dueto</a:t>
            </a:r>
            <a:r>
              <a:rPr lang="en-US" sz="800" b="0" i="1"/>
              <a:t> an expanding attack surface, increasing software vulnerabilities, and more sophisticated tactics, techniques, and procedures from adversaries. (1)</a:t>
            </a:r>
          </a:p>
          <a:p>
            <a:pPr marL="241300" marR="0" lvl="1" indent="-196850" algn="l" defTabSz="457200" rtl="0" eaLnBrk="0" fontAlgn="base" latinLnBrk="0" hangingPunct="0">
              <a:lnSpc>
                <a:spcPct val="100000"/>
              </a:lnSpc>
              <a:spcBef>
                <a:spcPct val="30000"/>
              </a:spcBef>
              <a:spcAft>
                <a:spcPct val="0"/>
              </a:spcAft>
              <a:buClrTx/>
              <a:buSzTx/>
              <a:buFont typeface="Arial" panose="020B0604020202020204" pitchFamily="34" charset="0"/>
              <a:buChar char="•"/>
              <a:defRPr/>
            </a:pPr>
            <a:r>
              <a:rPr lang="en-US" sz="800" b="0" i="1"/>
              <a:t>39% of professionals say the most stressful aspect of their job is finding out about IT initiatives or projects started by other teams with no security oversight (2)</a:t>
            </a:r>
          </a:p>
          <a:p>
            <a:pPr marL="241300" lvl="1" indent="-196850" defTabSz="609585">
              <a:buFont typeface="Arial" panose="020B0604020202020204" pitchFamily="34" charset="0"/>
              <a:buChar char="•"/>
              <a:defRPr/>
            </a:pPr>
            <a:r>
              <a:rPr lang="en-US" sz="800" b="0" i="1" kern="1200">
                <a:effectLst/>
              </a:rPr>
              <a:t>By 2021, as many as 3.5 million cybersecurity jobs will likely remain unfilled (3)</a:t>
            </a:r>
            <a:endParaRPr lang="en-US" sz="800" b="0" i="1"/>
          </a:p>
          <a:p>
            <a:pPr marL="241300" lvl="1" indent="-196850" defTabSz="609585">
              <a:buFont typeface="Arial" panose="020B0604020202020204" pitchFamily="34" charset="0"/>
              <a:buChar char="•"/>
              <a:defRPr/>
            </a:pPr>
            <a:r>
              <a:rPr lang="en-US" sz="800" b="0" i="1"/>
              <a:t>74% of professionals say that the cybersecurity skills shortage has impacted their organizations (4)</a:t>
            </a:r>
          </a:p>
          <a:p>
            <a:pPr marL="0" indent="0">
              <a:buFont typeface="Arial" panose="020B0604020202020204" pitchFamily="34" charset="0"/>
              <a:buNone/>
            </a:pPr>
            <a:endParaRPr lang="en-US" sz="800" b="0" i="0" kern="1200">
              <a:effectLst/>
              <a:latin typeface="+mn-lt"/>
              <a:ea typeface="ＭＳ Ｐゴシック" charset="0"/>
              <a:cs typeface="+mn-cs"/>
            </a:endParaRPr>
          </a:p>
          <a:p>
            <a:pPr marL="0" indent="0">
              <a:buFont typeface="Arial" panose="020B0604020202020204" pitchFamily="34" charset="0"/>
              <a:buNone/>
            </a:pPr>
            <a:r>
              <a:rPr lang="en-US" sz="800" b="0" i="0" kern="1200">
                <a:effectLst/>
                <a:latin typeface="+mn-lt"/>
                <a:ea typeface="ＭＳ Ｐゴシック" charset="0"/>
                <a:cs typeface="+mn-cs"/>
              </a:rPr>
              <a:t>Sources:</a:t>
            </a:r>
          </a:p>
          <a:p>
            <a:pPr marL="0" indent="0">
              <a:buFont typeface="Arial" panose="020B0604020202020204" pitchFamily="34" charset="0"/>
              <a:buNone/>
            </a:pPr>
            <a:r>
              <a:rPr lang="en-US" sz="800" b="0" i="0" kern="1200">
                <a:effectLst/>
                <a:latin typeface="+mn-lt"/>
                <a:ea typeface="ＭＳ Ｐゴシック" charset="0"/>
                <a:cs typeface="+mn-cs"/>
              </a:rPr>
              <a:t>1: ESG – ttps://www.esg-global.com/blog/bridging-the-cyber-risk-management-gap</a:t>
            </a:r>
          </a:p>
          <a:p>
            <a:pPr marL="0" indent="0">
              <a:buFont typeface="Arial" panose="020B0604020202020204" pitchFamily="34" charset="0"/>
              <a:buNone/>
            </a:pPr>
            <a:r>
              <a:rPr lang="en-US" sz="800" b="0" i="0" kern="1200">
                <a:effectLst/>
                <a:latin typeface="+mn-lt"/>
                <a:ea typeface="ＭＳ Ｐゴシック" charset="0"/>
                <a:cs typeface="+mn-cs"/>
              </a:rPr>
              <a:t>2: ESG/ISSA - </a:t>
            </a:r>
            <a:r>
              <a:rPr lang="en-US" sz="800" kern="1200">
                <a:effectLst/>
                <a:latin typeface="+mn-lt"/>
                <a:ea typeface="ＭＳ Ｐゴシック" charset="0"/>
                <a:hlinkClick r:id="rId3">
                  <a:extLst>
                    <a:ext uri="{A12FA001-AC4F-418D-AE19-62706E023703}">
                      <ahyp:hlinkClr xmlns:ahyp="http://schemas.microsoft.com/office/drawing/2018/hyperlinkcolor" val="tx"/>
                    </a:ext>
                  </a:extLst>
                </a:hlinkClick>
              </a:rPr>
              <a:t>https://cdn.ymaws.com/www.issa.org/resource/resmgr/surveys/esg-issa-2018-survey-results.pdf</a:t>
            </a:r>
            <a:endParaRPr lang="en-US" sz="800" b="0" i="0" kern="1200">
              <a:effectLst/>
              <a:latin typeface="+mn-lt"/>
              <a:ea typeface="ＭＳ Ｐゴシック" charset="0"/>
              <a:cs typeface="+mn-cs"/>
            </a:endParaRPr>
          </a:p>
          <a:p>
            <a:pPr marL="0" indent="0">
              <a:buFont typeface="Arial" panose="020B0604020202020204" pitchFamily="34" charset="0"/>
              <a:buNone/>
            </a:pPr>
            <a:r>
              <a:rPr lang="en-US" sz="800" b="0" i="0" kern="1200">
                <a:effectLst/>
                <a:latin typeface="+mn-lt"/>
                <a:ea typeface="ＭＳ Ｐゴシック" charset="0"/>
                <a:cs typeface="+mn-cs"/>
              </a:rPr>
              <a:t>3: Cybersecurity Ventures - </a:t>
            </a:r>
            <a:r>
              <a:rPr lang="en-US" sz="800">
                <a:hlinkClick r:id="rId4">
                  <a:extLst>
                    <a:ext uri="{A12FA001-AC4F-418D-AE19-62706E023703}">
                      <ahyp:hlinkClr xmlns:ahyp="http://schemas.microsoft.com/office/drawing/2018/hyperlinkcolor" val="tx"/>
                    </a:ext>
                  </a:extLst>
                </a:hlinkClick>
              </a:rPr>
              <a:t>https://cybersecurityventures.com/cybersecurity-almanac-research-from-cybersecurity-ventures-2017-to-2021/</a:t>
            </a:r>
            <a:endParaRPr lang="en-US" sz="800" b="0" i="0" kern="1200">
              <a:effectLst/>
              <a:cs typeface="+mn-cs"/>
            </a:endParaRP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800" b="0" i="0" kern="1200">
                <a:effectLst/>
                <a:latin typeface="+mn-lt"/>
                <a:ea typeface="ＭＳ Ｐゴシック" charset="0"/>
                <a:cs typeface="+mn-cs"/>
              </a:rPr>
              <a:t>4: ESG/ISSA - </a:t>
            </a:r>
            <a:r>
              <a:rPr lang="en-US" sz="800" kern="1200">
                <a:effectLst/>
                <a:latin typeface="+mn-lt"/>
                <a:ea typeface="ＭＳ Ｐゴシック" charset="0"/>
                <a:cs typeface="ＭＳ Ｐゴシック" charset="0"/>
                <a:hlinkClick r:id="rId3">
                  <a:extLst>
                    <a:ext uri="{A12FA001-AC4F-418D-AE19-62706E023703}">
                      <ahyp:hlinkClr xmlns:ahyp="http://schemas.microsoft.com/office/drawing/2018/hyperlinkcolor" val="tx"/>
                    </a:ext>
                  </a:extLst>
                </a:hlinkClick>
              </a:rPr>
              <a:t>https://cdn.ymaws.com/www.issa.org/resource/resmgr/surveys/esg-issa-2018-survey-results.pdf</a:t>
            </a:r>
            <a:endParaRPr lang="en-US" sz="800" b="0" i="0" kern="1200">
              <a:effectLst/>
              <a:latin typeface="+mn-lt"/>
              <a:ea typeface="ＭＳ Ｐゴシック" charset="0"/>
              <a:cs typeface="ＭＳ Ｐゴシック" charset="0"/>
            </a:endParaRPr>
          </a:p>
          <a:p>
            <a:pPr marL="0" indent="0">
              <a:buFont typeface="Arial" panose="020B0604020202020204" pitchFamily="34" charset="0"/>
              <a:buNone/>
            </a:pPr>
            <a:endParaRPr lang="en-US" sz="1200" b="0" i="0" kern="1200">
              <a:solidFill>
                <a:schemeClr val="tx1"/>
              </a:solidFill>
              <a:effectLst/>
              <a:latin typeface="+mn-lt"/>
              <a:ea typeface="ＭＳ Ｐゴシック" charset="0"/>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B274A4E-DC40-4CEC-88C7-A5504966AED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9150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09585"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kern="1200">
                <a:effectLst/>
                <a:ea typeface="ＭＳ Ｐゴシック" charset="0"/>
                <a:cs typeface="ＭＳ Ｐゴシック" charset="0"/>
              </a:rPr>
              <a:t>[:32]</a:t>
            </a:r>
          </a:p>
          <a:p>
            <a:pPr marL="0" marR="0" lvl="0" indent="0" algn="l" defTabSz="609585"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kern="1200">
              <a:effectLst/>
              <a:ea typeface="ＭＳ Ｐゴシック" charset="0"/>
              <a:cs typeface="ＭＳ Ｐゴシック" charset="0"/>
            </a:endParaRPr>
          </a:p>
          <a:p>
            <a:pPr marL="0" marR="0" lvl="0" indent="0" algn="l" defTabSz="609585"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kern="1200">
                <a:effectLst/>
                <a:ea typeface="ＭＳ Ｐゴシック" charset="0"/>
                <a:cs typeface="ＭＳ Ｐゴシック" charset="0"/>
              </a:rPr>
              <a:t>To make matters worse, you’ve been forced to pick individual solutions from an industry that’s rife with incompatibility. </a:t>
            </a:r>
            <a:r>
              <a:rPr lang="en-US" b="0"/>
              <a:t>Vendors may be coming to you with products that are “more secure,” but many vendors design their portfolios around single products, creating solutions that don’t easily integrate with one another and only address individual threat vectors. With this approach, it’s no surprise companies find themselves with an average of 75 security tools per enterprise environment. </a:t>
            </a:r>
          </a:p>
          <a:p>
            <a:pPr marL="0" marR="0" lvl="0" indent="0" algn="l" defTabSz="609585"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b="0">
              <a:solidFill>
                <a:srgbClr val="FFFFFF"/>
              </a:solidFill>
            </a:endParaRPr>
          </a:p>
          <a:p>
            <a:pPr marL="0" marR="0" lvl="0" indent="0" algn="l" defTabSz="609585"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a:ea typeface="CiscoSansTT ExtraLight" pitchFamily="34" charset="0"/>
                <a:cs typeface="CiscoSansTT ExtraLight" pitchFamily="34" charset="0"/>
              </a:rPr>
              <a:t>According to Deloitte</a:t>
            </a:r>
            <a:r>
              <a:rPr lang="en-US" baseline="30000">
                <a:ea typeface="CiscoSansTT ExtraLight" pitchFamily="34" charset="0"/>
                <a:cs typeface="CiscoSansTT ExtraLight" pitchFamily="34" charset="0"/>
              </a:rPr>
              <a:t>4</a:t>
            </a:r>
            <a:r>
              <a:rPr lang="en-US">
                <a:ea typeface="CiscoSansTT ExtraLight" pitchFamily="34" charset="0"/>
                <a:cs typeface="CiscoSansTT ExtraLight" pitchFamily="34" charset="0"/>
              </a:rPr>
              <a:t>, the proliferation of new solutions and integration challenges undermines effective cyber risk management.</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kern="1200">
              <a:solidFill>
                <a:schemeClr val="tx1"/>
              </a:solidFill>
              <a:effectLs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kern="1200">
                <a:solidFill>
                  <a:schemeClr val="tx1"/>
                </a:solidFill>
                <a:effectLst/>
                <a:ea typeface="ＭＳ Ｐゴシック" charset="0"/>
                <a:cs typeface="ＭＳ Ｐゴシック" charset="0"/>
              </a:rPr>
              <a:t>&lt;T&gt; It simply isn’t sustainable. </a:t>
            </a: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kern="1200">
              <a:solidFill>
                <a:schemeClr val="tx1"/>
              </a:solidFill>
              <a:effectLs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000" kern="1200">
                <a:effectLst/>
                <a:ea typeface="ＭＳ Ｐゴシック" charset="0"/>
                <a:cs typeface="ＭＳ Ｐゴシック" charset="0"/>
              </a:rPr>
              <a:t>Sources:</a:t>
            </a:r>
          </a:p>
          <a:p>
            <a:r>
              <a:rPr lang="en-US" sz="1000" kern="1200">
                <a:effectLst/>
                <a:ea typeface="ＭＳ Ｐゴシック" charset="0"/>
              </a:rPr>
              <a:t>1. 3000+ cybersecurity vendors globally – </a:t>
            </a:r>
            <a:r>
              <a:rPr lang="en-US" sz="1000"/>
              <a:t>Momentum Cyber Cybersecurity Almanac 2019 </a:t>
            </a:r>
          </a:p>
          <a:p>
            <a:r>
              <a:rPr lang="en-US" sz="1000"/>
              <a:t>2. 75+ average security tools per enterprise environment </a:t>
            </a:r>
            <a:r>
              <a:rPr lang="en-US" sz="1000" kern="1200">
                <a:effectLst/>
                <a:ea typeface="ＭＳ Ｐゴシック" charset="0"/>
              </a:rPr>
              <a:t>– </a:t>
            </a:r>
            <a:r>
              <a:rPr lang="en-US" sz="1000"/>
              <a:t>Momentum Cyber Cybersecurity Almanac 2019 </a:t>
            </a:r>
          </a:p>
          <a:p>
            <a:r>
              <a:rPr lang="en-US" sz="1000"/>
              <a:t>3. </a:t>
            </a:r>
            <a:r>
              <a:rPr kumimoji="0" lang="en-US" sz="1000" b="0" i="0" u="none" strike="noStrike" kern="1200" cap="none" spc="0" normalizeH="0" baseline="0" noProof="0">
                <a:ln>
                  <a:noFill/>
                </a:ln>
                <a:effectLst/>
                <a:uLnTx/>
                <a:uFillTx/>
                <a:ea typeface="ＭＳ Ｐゴシック" charset="0"/>
                <a:cs typeface="ＭＳ Ｐゴシック" charset="0"/>
              </a:rPr>
              <a:t>79% of CISOs said it was somewhat or very challenging to orchestrate alerts from multiple vendor products. Cisco CISO benchmark Study 2019</a:t>
            </a:r>
          </a:p>
          <a:p>
            <a:pPr marL="0" marR="0" lvl="0" indent="0" algn="l" defTabSz="457200" rtl="0" eaLnBrk="0" fontAlgn="base" latinLnBrk="0" hangingPunct="0">
              <a:lnSpc>
                <a:spcPct val="100000"/>
              </a:lnSpc>
              <a:spcBef>
                <a:spcPct val="30000"/>
              </a:spcBef>
              <a:spcAft>
                <a:spcPct val="0"/>
              </a:spcAft>
              <a:buClrTx/>
              <a:buSzTx/>
              <a:buFontTx/>
              <a:buNone/>
              <a:tabLst/>
              <a:defRPr/>
            </a:pPr>
            <a:r>
              <a:rPr kumimoji="0" lang="en-US" sz="1000" b="0" i="0" u="none" strike="noStrike" kern="1200" cap="none" spc="0" normalizeH="0" baseline="0" noProof="0">
                <a:ln>
                  <a:noFill/>
                </a:ln>
                <a:effectLst/>
                <a:uLnTx/>
                <a:uFillTx/>
                <a:ea typeface="ＭＳ Ｐゴシック" charset="0"/>
                <a:cs typeface="ＭＳ Ｐゴシック" charset="0"/>
              </a:rPr>
              <a:t>4. </a:t>
            </a:r>
            <a:r>
              <a:rPr lang="en-US" sz="1000">
                <a:hlinkClick r:id="rId3"/>
              </a:rPr>
              <a:t>https://www2.deloitte.com/etc/insights-lists/interactives/cyber-risk-interactive/index.html</a:t>
            </a:r>
            <a:endParaRPr lang="en-US" sz="1000">
              <a:ea typeface="CiscoSansTT ExtraLight" pitchFamily="34" charset="0"/>
              <a:cs typeface="CiscoSansTT ExtraLight" pitchFamily="34" charset="0"/>
            </a:endParaRPr>
          </a:p>
          <a:p>
            <a:endParaRPr kumimoji="0" lang="en-US" sz="1000" b="0" i="0" u="none" strike="noStrike" kern="1200" cap="none" spc="0" normalizeH="0" baseline="0" noProof="0">
              <a:ln>
                <a:noFill/>
              </a:ln>
              <a:effectLst/>
              <a:uLnTx/>
              <a:uFillTx/>
              <a:ea typeface="ＭＳ Ｐゴシック" charset="0"/>
              <a:cs typeface="ＭＳ Ｐゴシック"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33535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09585" rtl="0" eaLnBrk="1" fontAlgn="base" latinLnBrk="0" hangingPunct="1">
              <a:lnSpc>
                <a:spcPct val="100000"/>
              </a:lnSpc>
              <a:spcBef>
                <a:spcPct val="0"/>
              </a:spcBef>
              <a:spcAft>
                <a:spcPct val="0"/>
              </a:spcAft>
              <a:buClrTx/>
              <a:buSzTx/>
              <a:buFont typeface="Arial" panose="020B0604020202020204" pitchFamily="34" charset="0"/>
              <a:buNone/>
              <a:tabLst/>
              <a:defRPr/>
            </a:pPr>
            <a:r>
              <a:rPr lang="en-US" sz="1200">
                <a:solidFill>
                  <a:schemeClr val="bg1"/>
                </a:solidFill>
              </a:rPr>
              <a:t>[:38]</a:t>
            </a:r>
          </a:p>
          <a:p>
            <a:pPr marL="0" marR="0" lvl="0" indent="0" algn="l" defTabSz="609585" rtl="0" eaLnBrk="1" fontAlgn="base" latinLnBrk="0" hangingPunct="1">
              <a:lnSpc>
                <a:spcPct val="100000"/>
              </a:lnSpc>
              <a:spcBef>
                <a:spcPct val="0"/>
              </a:spcBef>
              <a:spcAft>
                <a:spcPct val="0"/>
              </a:spcAft>
              <a:buClrTx/>
              <a:buSzTx/>
              <a:buFont typeface="Arial" panose="020B0604020202020204" pitchFamily="34" charset="0"/>
              <a:buNone/>
              <a:tabLst/>
              <a:defRPr/>
            </a:pPr>
            <a:endParaRPr lang="en-US" sz="1200">
              <a:solidFill>
                <a:schemeClr val="bg1"/>
              </a:solidFill>
            </a:endParaRPr>
          </a:p>
          <a:p>
            <a:pPr marL="0" marR="0" lvl="0" indent="0" algn="l" defTabSz="609585" rtl="0" eaLnBrk="1" fontAlgn="base" latinLnBrk="0" hangingPunct="1">
              <a:lnSpc>
                <a:spcPct val="100000"/>
              </a:lnSpc>
              <a:spcBef>
                <a:spcPct val="0"/>
              </a:spcBef>
              <a:spcAft>
                <a:spcPct val="0"/>
              </a:spcAft>
              <a:buClrTx/>
              <a:buSzTx/>
              <a:buFont typeface="Arial" panose="020B0604020202020204" pitchFamily="34" charset="0"/>
              <a:buNone/>
              <a:tabLst/>
              <a:defRPr/>
            </a:pPr>
            <a:r>
              <a:rPr lang="en-US" sz="1200">
                <a:solidFill>
                  <a:schemeClr val="bg1"/>
                </a:solidFill>
              </a:rPr>
              <a:t>Your security vendors need to be people who aren’t thinking about selling their products, but about protecting your business. </a:t>
            </a:r>
          </a:p>
          <a:p>
            <a:pPr marL="0" marR="0" lvl="0" indent="0" algn="l" defTabSz="609585" rtl="0" eaLnBrk="1" fontAlgn="base" latinLnBrk="0" hangingPunct="1">
              <a:lnSpc>
                <a:spcPct val="100000"/>
              </a:lnSpc>
              <a:spcBef>
                <a:spcPct val="0"/>
              </a:spcBef>
              <a:spcAft>
                <a:spcPct val="0"/>
              </a:spcAft>
              <a:buClrTx/>
              <a:buSzTx/>
              <a:buFont typeface="Arial" panose="020B0604020202020204" pitchFamily="34" charset="0"/>
              <a:buNone/>
              <a:tabLst/>
              <a:defRPr/>
            </a:pPr>
            <a:endParaRPr lang="en-US" sz="1200">
              <a:solidFill>
                <a:schemeClr val="bg1"/>
              </a:solidFill>
            </a:endParaRPr>
          </a:p>
          <a:p>
            <a:pPr marL="0" marR="0" lvl="0" indent="0" algn="l" defTabSz="609585" rtl="0" eaLnBrk="1" fontAlgn="base" latinLnBrk="0" hangingPunct="1">
              <a:lnSpc>
                <a:spcPct val="100000"/>
              </a:lnSpc>
              <a:spcBef>
                <a:spcPct val="0"/>
              </a:spcBef>
              <a:spcAft>
                <a:spcPct val="0"/>
              </a:spcAft>
              <a:buClrTx/>
              <a:buSzTx/>
              <a:buFont typeface="Arial" panose="020B0604020202020204" pitchFamily="34" charset="0"/>
              <a:buNone/>
              <a:tabLst/>
              <a:defRPr/>
            </a:pPr>
            <a:r>
              <a:rPr lang="en-US" sz="1200">
                <a:solidFill>
                  <a:schemeClr val="bg1"/>
                </a:solidFill>
              </a:rPr>
              <a:t>So what do you look for, when you look for value in security? The best way to do that is for security to work as a team. </a:t>
            </a: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cs typeface="ＭＳ Ｐゴシック" charset="0"/>
              </a:rPr>
              <a:t>Teams communicate in real time, teams learn from each other, and teams respond as a coordinated unit. </a:t>
            </a:r>
            <a:r>
              <a:rPr lang="en-US" sz="1200">
                <a:solidFill>
                  <a:schemeClr val="bg1"/>
                </a:solidFill>
              </a:rPr>
              <a:t>Your endpoint security has to work with your network security and with cloud security, and you have to have MFA that speaks to identity and access. So to confidently secure your business, you should look for an integrated platform approach. </a:t>
            </a:r>
            <a:endParaRPr lang="en-US"/>
          </a:p>
          <a:p>
            <a:pPr marL="0" marR="0" lvl="0" indent="0" algn="l" defTabSz="609585"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FFFFFF"/>
              </a:solidFill>
              <a:effectLst/>
              <a:uLnTx/>
              <a:uFillTx/>
              <a:latin typeface="CiscoSansTT ExtraLight"/>
              <a:ea typeface="ＭＳ Ｐゴシック" charset="0"/>
              <a:cs typeface="ＭＳ Ｐゴシック" charset="0"/>
            </a:endParaRPr>
          </a:p>
          <a:p>
            <a:pPr marL="0" marR="0" lvl="0" indent="0" algn="l" defTabSz="609585"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cs typeface="ＭＳ Ｐゴシック" charset="0"/>
              </a:rPr>
              <a:t>&lt;T&gt; W</a:t>
            </a:r>
            <a:r>
              <a:rPr lang="en-US" sz="1200">
                <a:solidFill>
                  <a:schemeClr val="bg1"/>
                </a:solidFill>
              </a:rPr>
              <a:t>hen that happens, security becomes easier and more effective. </a:t>
            </a:r>
          </a:p>
          <a:p>
            <a:pPr marL="0" marR="0" lvl="0" indent="0" algn="l" defTabSz="609585" rtl="0" eaLnBrk="1" fontAlgn="base" latinLnBrk="0" hangingPunct="1">
              <a:lnSpc>
                <a:spcPct val="100000"/>
              </a:lnSpc>
              <a:spcBef>
                <a:spcPct val="0"/>
              </a:spcBef>
              <a:spcAft>
                <a:spcPct val="0"/>
              </a:spcAft>
              <a:buClrTx/>
              <a:buSzTx/>
              <a:buFont typeface="Arial" panose="020B0604020202020204" pitchFamily="34" charset="0"/>
              <a:buNone/>
              <a:tabLst/>
              <a:defRPr/>
            </a:pPr>
            <a:endParaRPr lang="en-US" sz="1200">
              <a:solidFill>
                <a:schemeClr val="bg1"/>
              </a:solidFill>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B274A4E-DC40-4CEC-88C7-A5504966AED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90587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1200" kern="1200">
                <a:solidFill>
                  <a:schemeClr val="tx1"/>
                </a:solidFill>
                <a:effectLst/>
                <a:latin typeface="+mn-lt"/>
                <a:ea typeface="ＭＳ Ｐゴシック" charset="0"/>
                <a:cs typeface="ＭＳ Ｐゴシック" charset="0"/>
              </a:rPr>
              <a:t>[:43]</a:t>
            </a:r>
          </a:p>
          <a:p>
            <a:pPr marL="0" lvl="0" indent="0">
              <a:buFont typeface="Arial" panose="020B0604020202020204" pitchFamily="34" charset="0"/>
              <a:buNone/>
            </a:pPr>
            <a:endParaRPr lang="en-US" sz="1200" kern="1200">
              <a:solidFill>
                <a:schemeClr val="tx1"/>
              </a:solidFill>
              <a:effectLst/>
              <a:latin typeface="+mn-lt"/>
              <a:ea typeface="ＭＳ Ｐゴシック" charset="0"/>
              <a:cs typeface="ＭＳ Ｐゴシック" charset="0"/>
            </a:endParaRPr>
          </a:p>
          <a:p>
            <a:pPr marL="0" lvl="0" indent="0">
              <a:buFont typeface="Arial" panose="020B0604020202020204" pitchFamily="34" charset="0"/>
              <a:buNone/>
            </a:pPr>
            <a:r>
              <a:rPr lang="en-US" sz="1200" kern="1200">
                <a:solidFill>
                  <a:schemeClr val="tx1"/>
                </a:solidFill>
                <a:effectLst/>
                <a:latin typeface="+mn-lt"/>
                <a:ea typeface="ＭＳ Ｐゴシック" charset="0"/>
                <a:cs typeface="ＭＳ Ｐゴシック" charset="0"/>
              </a:rPr>
              <a:t>Introducing the Cisco Security Platform. Our platform is the strongest security team on the planet, </a:t>
            </a:r>
            <a:r>
              <a:rPr lang="en-US" sz="1200" i="0" kern="1200">
                <a:solidFill>
                  <a:schemeClr val="tx1"/>
                </a:solidFill>
                <a:effectLst/>
                <a:latin typeface="+mn-lt"/>
                <a:ea typeface="ＭＳ Ｐゴシック" charset="0"/>
                <a:cs typeface="ＭＳ Ｐゴシック" charset="0"/>
              </a:rPr>
              <a:t>offering </a:t>
            </a:r>
            <a:r>
              <a:rPr lang="en-US" sz="1200" kern="1200">
                <a:solidFill>
                  <a:schemeClr val="tx1"/>
                </a:solidFill>
                <a:effectLst/>
                <a:latin typeface="+mn-lt"/>
                <a:ea typeface="ＭＳ Ｐゴシック" charset="0"/>
                <a:cs typeface="ＭＳ Ｐゴシック" charset="0"/>
              </a:rPr>
              <a:t>the protection you need for the way your business works today.</a:t>
            </a:r>
          </a:p>
          <a:p>
            <a:pPr marL="0" lvl="0" indent="0">
              <a:buFont typeface="Arial" panose="020B0604020202020204" pitchFamily="34" charset="0"/>
              <a:buNone/>
            </a:pPr>
            <a:endParaRPr lang="en-US" sz="1200" kern="1200">
              <a:solidFill>
                <a:schemeClr val="tx1"/>
              </a:solidFill>
              <a:effectLst/>
              <a:latin typeface="+mn-lt"/>
              <a:ea typeface="ＭＳ Ｐゴシック" charset="0"/>
              <a:cs typeface="ＭＳ Ｐゴシック" charset="0"/>
            </a:endParaRPr>
          </a:p>
          <a:p>
            <a:pPr marL="171450" lvl="0" indent="-171450">
              <a:buFont typeface="Arial" panose="020B0604020202020204" pitchFamily="34" charset="0"/>
              <a:buChar char="•"/>
            </a:pPr>
            <a:r>
              <a:rPr lang="en-US" sz="1200" kern="1200">
                <a:solidFill>
                  <a:schemeClr val="tx1"/>
                </a:solidFill>
                <a:effectLst/>
                <a:latin typeface="+mn-lt"/>
                <a:ea typeface="ＭＳ Ｐゴシック" charset="0"/>
                <a:cs typeface="ＭＳ Ｐゴシック" charset="0"/>
              </a:rPr>
              <a:t>We start with </a:t>
            </a:r>
            <a:r>
              <a:rPr lang="en-US" sz="1200" b="1" kern="1200">
                <a:solidFill>
                  <a:schemeClr val="tx1"/>
                </a:solidFill>
                <a:effectLst/>
                <a:latin typeface="+mn-lt"/>
                <a:ea typeface="ＭＳ Ｐゴシック" charset="0"/>
                <a:cs typeface="ＭＳ Ｐゴシック" charset="0"/>
              </a:rPr>
              <a:t>best of breed products</a:t>
            </a:r>
            <a:r>
              <a:rPr lang="en-US" sz="1200" kern="1200">
                <a:solidFill>
                  <a:schemeClr val="tx1"/>
                </a:solidFill>
                <a:effectLst/>
                <a:latin typeface="+mn-lt"/>
                <a:ea typeface="ＭＳ Ｐゴシック" charset="0"/>
                <a:cs typeface="ＭＳ Ｐゴシック" charset="0"/>
              </a:rPr>
              <a:t>, protecting the network, endpoint, applications and cloud. So your entire environment is covered.</a:t>
            </a:r>
          </a:p>
          <a:p>
            <a:pPr marL="171450" lvl="0" indent="-171450">
              <a:buFont typeface="Arial" panose="020B0604020202020204" pitchFamily="34" charset="0"/>
              <a:buChar char="•"/>
            </a:pPr>
            <a:r>
              <a:rPr lang="en-US" sz="1200" kern="1200">
                <a:solidFill>
                  <a:schemeClr val="tx1"/>
                </a:solidFill>
                <a:effectLst/>
                <a:latin typeface="+mn-lt"/>
                <a:ea typeface="ＭＳ Ｐゴシック" charset="0"/>
                <a:cs typeface="ＭＳ Ｐゴシック" charset="0"/>
              </a:rPr>
              <a:t>We have a comprehensive approach to Zero Trust so </a:t>
            </a:r>
            <a:r>
              <a:rPr lang="en-US" sz="1200" b="1" kern="1200">
                <a:solidFill>
                  <a:schemeClr val="tx1"/>
                </a:solidFill>
                <a:effectLst/>
                <a:latin typeface="+mn-lt"/>
                <a:ea typeface="ＭＳ Ｐゴシック" charset="0"/>
                <a:cs typeface="ＭＳ Ｐゴシック" charset="0"/>
              </a:rPr>
              <a:t>trust verification</a:t>
            </a:r>
            <a:r>
              <a:rPr lang="en-US" sz="1200" kern="1200">
                <a:solidFill>
                  <a:schemeClr val="tx1"/>
                </a:solidFill>
                <a:effectLst/>
                <a:latin typeface="+mn-lt"/>
                <a:ea typeface="ＭＳ Ｐゴシック" charset="0"/>
                <a:cs typeface="ＭＳ Ｐゴシック" charset="0"/>
              </a:rPr>
              <a:t> is foundational to ensuring only the right people gain access.</a:t>
            </a:r>
          </a:p>
          <a:p>
            <a:pPr marL="171450" lvl="0" indent="-171450">
              <a:buFont typeface="Arial" panose="020B0604020202020204" pitchFamily="34" charset="0"/>
              <a:buChar char="•"/>
            </a:pPr>
            <a:r>
              <a:rPr lang="en-US" sz="1200" kern="1200">
                <a:solidFill>
                  <a:schemeClr val="tx1"/>
                </a:solidFill>
                <a:effectLst/>
                <a:latin typeface="+mn-lt"/>
                <a:ea typeface="ＭＳ Ｐゴシック" charset="0"/>
                <a:cs typeface="ＭＳ Ｐゴシック" charset="0"/>
              </a:rPr>
              <a:t>Everything we offer is backed with industry-leading </a:t>
            </a:r>
            <a:r>
              <a:rPr lang="en-US" sz="1200" b="1" kern="1200" err="1">
                <a:solidFill>
                  <a:schemeClr val="tx1"/>
                </a:solidFill>
                <a:effectLst/>
                <a:latin typeface="+mn-lt"/>
                <a:ea typeface="ＭＳ Ｐゴシック" charset="0"/>
                <a:cs typeface="ＭＳ Ｐゴシック" charset="0"/>
              </a:rPr>
              <a:t>Talos</a:t>
            </a:r>
            <a:r>
              <a:rPr lang="en-US" sz="1200" b="1" kern="1200">
                <a:solidFill>
                  <a:schemeClr val="tx1"/>
                </a:solidFill>
                <a:effectLst/>
                <a:latin typeface="+mn-lt"/>
                <a:ea typeface="ＭＳ Ｐゴシック" charset="0"/>
                <a:cs typeface="ＭＳ Ｐゴシック" charset="0"/>
              </a:rPr>
              <a:t> threat intelligence</a:t>
            </a:r>
            <a:r>
              <a:rPr lang="en-US" sz="1200" kern="1200">
                <a:solidFill>
                  <a:schemeClr val="tx1"/>
                </a:solidFill>
                <a:effectLst/>
                <a:latin typeface="+mn-lt"/>
                <a:ea typeface="ＭＳ Ｐゴシック" charset="0"/>
                <a:cs typeface="ＭＳ Ｐゴシック" charset="0"/>
              </a:rPr>
              <a:t> to block more threats and keep your organization safer. </a:t>
            </a:r>
          </a:p>
          <a:p>
            <a:pPr marL="171450" lvl="0" indent="-171450">
              <a:buFont typeface="Arial" panose="020B0604020202020204" pitchFamily="34" charset="0"/>
              <a:buChar char="•"/>
            </a:pPr>
            <a:r>
              <a:rPr lang="en-US" sz="1200" kern="1200">
                <a:solidFill>
                  <a:schemeClr val="tx1"/>
                </a:solidFill>
                <a:effectLst/>
                <a:latin typeface="+mn-lt"/>
                <a:ea typeface="ＭＳ Ｐゴシック" charset="0"/>
                <a:cs typeface="ＭＳ Ｐゴシック" charset="0"/>
              </a:rPr>
              <a:t>We provide </a:t>
            </a:r>
            <a:r>
              <a:rPr lang="en-US" sz="1200" b="1" kern="1200">
                <a:solidFill>
                  <a:schemeClr val="tx1"/>
                </a:solidFill>
                <a:effectLst/>
                <a:latin typeface="+mn-lt"/>
                <a:ea typeface="ＭＳ Ｐゴシック" charset="0"/>
                <a:cs typeface="ＭＳ Ｐゴシック" charset="0"/>
              </a:rPr>
              <a:t>automated responses to advanced threats</a:t>
            </a:r>
            <a:r>
              <a:rPr lang="en-US" sz="1200" kern="1200">
                <a:solidFill>
                  <a:schemeClr val="tx1"/>
                </a:solidFill>
                <a:effectLst/>
                <a:latin typeface="+mn-lt"/>
                <a:ea typeface="ＭＳ Ｐゴシック" charset="0"/>
                <a:cs typeface="ＭＳ Ｐゴシック" charset="0"/>
              </a:rPr>
              <a:t> and </a:t>
            </a:r>
            <a:r>
              <a:rPr lang="en-US" sz="1200" b="1" kern="1200">
                <a:solidFill>
                  <a:schemeClr val="tx1"/>
                </a:solidFill>
                <a:effectLst/>
                <a:latin typeface="+mn-lt"/>
                <a:ea typeface="ＭＳ Ｐゴシック" charset="0"/>
                <a:cs typeface="ＭＳ Ｐゴシック" charset="0"/>
              </a:rPr>
              <a:t>streamline operations</a:t>
            </a:r>
            <a:r>
              <a:rPr lang="en-US" sz="1200" kern="1200">
                <a:solidFill>
                  <a:schemeClr val="tx1"/>
                </a:solidFill>
                <a:effectLst/>
                <a:latin typeface="+mn-lt"/>
                <a:ea typeface="ＭＳ Ｐゴシック" charset="0"/>
                <a:cs typeface="ＭＳ Ｐゴシック" charset="0"/>
              </a:rPr>
              <a:t> with </a:t>
            </a:r>
            <a:r>
              <a:rPr lang="en-US" sz="1200" b="1" kern="1200">
                <a:solidFill>
                  <a:schemeClr val="tx1"/>
                </a:solidFill>
                <a:effectLst/>
                <a:latin typeface="+mn-lt"/>
                <a:ea typeface="ＭＳ Ｐゴシック" charset="0"/>
                <a:cs typeface="ＭＳ Ｐゴシック" charset="0"/>
              </a:rPr>
              <a:t>integrated threat and security management</a:t>
            </a:r>
            <a:r>
              <a:rPr lang="en-US" sz="1200" kern="1200">
                <a:solidFill>
                  <a:schemeClr val="tx1"/>
                </a:solidFill>
                <a:effectLst/>
                <a:latin typeface="+mn-lt"/>
                <a:ea typeface="ＭＳ Ｐゴシック" charset="0"/>
                <a:cs typeface="ＭＳ Ｐゴシック" charset="0"/>
              </a:rPr>
              <a:t> throughout our portfolio.</a:t>
            </a:r>
          </a:p>
          <a:p>
            <a:pPr marL="0" lvl="0" indent="0">
              <a:buFont typeface="Arial" panose="020B0604020202020204" pitchFamily="34" charset="0"/>
              <a:buNone/>
            </a:pPr>
            <a:endParaRPr lang="en-US" sz="1200" kern="1200">
              <a:solidFill>
                <a:schemeClr val="tx1"/>
              </a:solidFill>
              <a:effectLst/>
              <a:latin typeface="+mn-lt"/>
              <a:ea typeface="ＭＳ Ｐゴシック" charset="0"/>
              <a:cs typeface="ＭＳ Ｐゴシック" charset="0"/>
            </a:endParaRPr>
          </a:p>
          <a:p>
            <a:pPr marL="0" lvl="0" indent="0">
              <a:buFont typeface="Arial" panose="020B0604020202020204" pitchFamily="34" charset="0"/>
              <a:buNone/>
            </a:pPr>
            <a:r>
              <a:rPr lang="en-US" sz="1200" kern="1200">
                <a:solidFill>
                  <a:schemeClr val="tx1"/>
                </a:solidFill>
                <a:effectLst/>
                <a:latin typeface="+mn-lt"/>
                <a:ea typeface="ＭＳ Ｐゴシック" charset="0"/>
                <a:cs typeface="ＭＳ Ｐゴシック" charset="0"/>
              </a:rPr>
              <a:t>&lt;T&gt; Lastly, we build our products to work with the other technologies you have in place for integrated security responses – even outside of Cisco. </a:t>
            </a:r>
          </a:p>
          <a:p>
            <a:pPr marL="0" lvl="0" indent="0">
              <a:buFont typeface="Arial" panose="020B0604020202020204" pitchFamily="34" charset="0"/>
              <a:buNone/>
            </a:pPr>
            <a:endParaRPr lang="en-US" sz="1200" kern="120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375140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a:solidFill>
                  <a:schemeClr val="tx1"/>
                </a:solidFill>
                <a:effectLst/>
                <a:latin typeface="+mn-lt"/>
                <a:ea typeface="ＭＳ Ｐゴシック" charset="0"/>
                <a:cs typeface="ＭＳ Ｐゴシック" charset="0"/>
              </a:rPr>
              <a:t>[:31]</a:t>
            </a:r>
          </a:p>
          <a:p>
            <a:pPr rtl="0" fontAlgn="base"/>
            <a:endParaRPr lang="en-US" sz="1200" b="0" i="0" u="none" strike="noStrike" kern="1200">
              <a:solidFill>
                <a:schemeClr val="tx1"/>
              </a:solidFill>
              <a:effectLst/>
              <a:latin typeface="+mn-lt"/>
              <a:ea typeface="ＭＳ Ｐゴシック" charset="0"/>
              <a:cs typeface="ＭＳ Ｐゴシック" charset="0"/>
            </a:endParaRPr>
          </a:p>
          <a:p>
            <a:pPr rtl="0" fontAlgn="base"/>
            <a:r>
              <a:rPr lang="en-US" sz="1200" b="0" i="0" u="none" strike="noStrike" kern="1200">
                <a:solidFill>
                  <a:schemeClr val="tx1"/>
                </a:solidFill>
                <a:effectLst/>
                <a:latin typeface="+mn-lt"/>
                <a:ea typeface="ＭＳ Ｐゴシック" charset="0"/>
                <a:cs typeface="ＭＳ Ｐゴシック" charset="0"/>
              </a:rPr>
              <a:t>We have the broadest set of solutions to support what you need. But you should be able to benefit from a platform regardless of the number solutions you have. Cisco Security gives you the benefits of platform even if you’re starting with a single great product. And as your needs change, you can continue build out your security ecosystem across any area you need – from identity, cloud, email, applications and more. The value of your existing security investments will only multiply as you add in more solutions. </a:t>
            </a:r>
          </a:p>
          <a:p>
            <a:pPr rtl="0" fontAlgn="base"/>
            <a:r>
              <a:rPr lang="en-US" sz="1200" b="0" i="0" kern="1200">
                <a:solidFill>
                  <a:schemeClr val="tx1"/>
                </a:solidFill>
                <a:effectLst/>
                <a:latin typeface="+mn-lt"/>
                <a:ea typeface="ＭＳ Ｐゴシック" charset="0"/>
                <a:cs typeface="ＭＳ Ｐゴシック" charset="0"/>
              </a:rPr>
              <a:t>​</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u="none" strike="noStrike" kern="1200">
                <a:solidFill>
                  <a:schemeClr val="tx1"/>
                </a:solidFill>
                <a:effectLst/>
                <a:latin typeface="+mn-lt"/>
                <a:ea typeface="ＭＳ Ｐゴシック" charset="0"/>
                <a:cs typeface="ＭＳ Ｐゴシック" charset="0"/>
              </a:rPr>
              <a:t>&lt;T&gt;  That’s when things get good.</a:t>
            </a:r>
            <a:r>
              <a:rPr lang="en-US" sz="1200" b="0" i="0" kern="1200">
                <a:solidFill>
                  <a:schemeClr val="tx1"/>
                </a:solidFill>
                <a:effectLst/>
                <a:latin typeface="+mn-lt"/>
                <a:ea typeface="ＭＳ Ｐゴシック" charset="0"/>
                <a:cs typeface="ＭＳ Ｐゴシック" charset="0"/>
              </a:rPr>
              <a:t>​</a:t>
            </a:r>
          </a:p>
          <a:p>
            <a:pPr rtl="0" fontAlgn="base"/>
            <a:r>
              <a:rPr lang="en-US" sz="1200" b="0" i="0" kern="1200">
                <a:solidFill>
                  <a:schemeClr val="tx1"/>
                </a:solidFill>
                <a:effectLst/>
                <a:latin typeface="+mn-lt"/>
                <a:ea typeface="ＭＳ Ｐゴシック" charset="0"/>
                <a:cs typeface="ＭＳ Ｐゴシック" charset="0"/>
              </a:rPr>
              <a:t>​</a:t>
            </a:r>
          </a:p>
          <a:p>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8</a:t>
            </a:fld>
            <a:endParaRPr lang="en-US"/>
          </a:p>
        </p:txBody>
      </p:sp>
    </p:spTree>
    <p:extLst>
      <p:ext uri="{BB962C8B-B14F-4D97-AF65-F5344CB8AC3E}">
        <p14:creationId xmlns:p14="http://schemas.microsoft.com/office/powerpoint/2010/main" val="34656243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a:solidFill>
                  <a:schemeClr val="tx1"/>
                </a:solidFill>
                <a:effectLst/>
                <a:latin typeface="+mn-lt"/>
                <a:ea typeface="ＭＳ Ｐゴシック" charset="0"/>
                <a:cs typeface="ＭＳ Ｐゴシック" charset="0"/>
              </a:rPr>
              <a:t>[:9]</a:t>
            </a:r>
          </a:p>
          <a:p>
            <a:pPr rtl="0" fontAlgn="base"/>
            <a:endParaRPr lang="en-US" sz="1200" b="0" i="0" u="none" strike="noStrike" kern="1200">
              <a:solidFill>
                <a:schemeClr val="tx1"/>
              </a:solidFill>
              <a:effectLst/>
              <a:latin typeface="+mn-lt"/>
              <a:ea typeface="ＭＳ Ｐゴシック" charset="0"/>
              <a:cs typeface="ＭＳ Ｐゴシック" charset="0"/>
            </a:endParaRPr>
          </a:p>
          <a:p>
            <a:pPr rtl="0" fontAlgn="base"/>
            <a:r>
              <a:rPr lang="en-US" sz="1200" b="0" i="0" u="none" strike="noStrike" kern="1200">
                <a:solidFill>
                  <a:schemeClr val="tx1"/>
                </a:solidFill>
                <a:effectLst/>
                <a:latin typeface="+mn-lt"/>
                <a:ea typeface="ＭＳ Ｐゴシック" charset="0"/>
                <a:cs typeface="ＭＳ Ｐゴシック" charset="0"/>
              </a:rPr>
              <a:t>With powerful integrations and industry-leading solutions, the Cisco Security Platform simplifies your security experience, accelerates your success, and protects your future. </a:t>
            </a:r>
            <a:r>
              <a:rPr lang="en-US" sz="1200" b="0" i="0" kern="1200">
                <a:solidFill>
                  <a:schemeClr val="tx1"/>
                </a:solidFill>
                <a:effectLst/>
                <a:latin typeface="+mn-lt"/>
                <a:ea typeface="ＭＳ Ｐゴシック" charset="0"/>
                <a:cs typeface="ＭＳ Ｐゴシック" charset="0"/>
              </a:rPr>
              <a:t>​</a:t>
            </a:r>
          </a:p>
          <a:p>
            <a:pPr rtl="0" fontAlgn="base"/>
            <a:r>
              <a:rPr lang="en-US" sz="1200" b="0" i="0" kern="1200">
                <a:solidFill>
                  <a:schemeClr val="tx1"/>
                </a:solidFill>
                <a:effectLst/>
                <a:latin typeface="+mn-lt"/>
                <a:ea typeface="ＭＳ Ｐゴシック" charset="0"/>
                <a:cs typeface="ＭＳ Ｐゴシック" charset="0"/>
              </a:rPr>
              <a:t>​</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0" i="0" u="none" strike="noStrike" kern="1200">
                <a:solidFill>
                  <a:schemeClr val="tx1"/>
                </a:solidFill>
                <a:effectLst/>
                <a:latin typeface="+mn-lt"/>
                <a:ea typeface="ＭＳ Ｐゴシック" charset="0"/>
                <a:cs typeface="ＭＳ Ｐゴシック" charset="0"/>
              </a:rPr>
              <a:t>&lt;T&gt;  Let’s dive into each of these</a:t>
            </a:r>
            <a:endParaRPr lang="en-US" sz="1200" b="0" i="0" kern="1200">
              <a:solidFill>
                <a:schemeClr val="tx1"/>
              </a:solidFill>
              <a:effectLst/>
              <a:latin typeface="+mn-lt"/>
              <a:ea typeface="ＭＳ Ｐゴシック" charset="0"/>
              <a:cs typeface="ＭＳ Ｐゴシック" charset="0"/>
            </a:endParaRPr>
          </a:p>
          <a:p>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9</a:t>
            </a:fld>
            <a:endParaRPr lang="en-US"/>
          </a:p>
        </p:txBody>
      </p:sp>
    </p:spTree>
    <p:extLst>
      <p:ext uri="{BB962C8B-B14F-4D97-AF65-F5344CB8AC3E}">
        <p14:creationId xmlns:p14="http://schemas.microsoft.com/office/powerpoint/2010/main" val="7941049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jpeg"/><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2122942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2">
                    <a:alpha val="60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7140791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
        <p:nvSpPr>
          <p:cNvPr id="5" name="Rectangle 4">
            <a:extLst>
              <a:ext uri="{FF2B5EF4-FFF2-40B4-BE49-F238E27FC236}">
                <a16:creationId xmlns:a16="http://schemas.microsoft.com/office/drawing/2014/main" id="{ED2D946C-8394-4DB3-A1F0-BC54DDDA7AA6}"/>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3164433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ullet_Heavy Text">
    <p:bg>
      <p:bgPr>
        <a:solidFill>
          <a:schemeClr val="bg2"/>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6" name="Rectangle 4">
            <a:extLst>
              <a:ext uri="{FF2B5EF4-FFF2-40B4-BE49-F238E27FC236}">
                <a16:creationId xmlns:a16="http://schemas.microsoft.com/office/drawing/2014/main" id="{36ABA4FE-A8E0-42F9-84EF-9C56817CDB86}"/>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0880305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_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GB"/>
              <a:t>Click to edit Master title style</a:t>
            </a:r>
          </a:p>
        </p:txBody>
      </p:sp>
      <p:sp>
        <p:nvSpPr>
          <p:cNvPr id="4" name="Rectangle 4">
            <a:extLst>
              <a:ext uri="{FF2B5EF4-FFF2-40B4-BE49-F238E27FC236}">
                <a16:creationId xmlns:a16="http://schemas.microsoft.com/office/drawing/2014/main" id="{D2DA2F50-B0FD-48F0-9FE7-B9C8C5A60778}"/>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8967244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llustration Slide">
    <p:bg>
      <p:bgPr>
        <a:solidFill>
          <a:schemeClr val="bg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A45D00-2CFF-47C6-AFB8-D998BE0BC287}"/>
              </a:ext>
            </a:extLst>
          </p:cNvPr>
          <p:cNvSpPr>
            <a:spLocks noGrp="1"/>
          </p:cNvSpPr>
          <p:nvPr>
            <p:ph type="body" sz="quarter" idx="11" hasCustomPrompt="1"/>
          </p:nvPr>
        </p:nvSpPr>
        <p:spPr>
          <a:xfrm>
            <a:off x="533400" y="660401"/>
            <a:ext cx="2638425" cy="3822700"/>
          </a:xfrm>
          <a:prstGeom prst="rect">
            <a:avLst/>
          </a:prstGeom>
        </p:spPr>
        <p:txBody>
          <a:bodyPr lIns="0" tIns="0" rIns="0" bIns="0" anchor="ctr">
            <a:noAutofit/>
          </a:bodyPr>
          <a:lstStyle>
            <a:lvl1pPr marL="0" indent="0">
              <a:lnSpc>
                <a:spcPct val="100000"/>
              </a:lnSpc>
              <a:spcBef>
                <a:spcPts val="0"/>
              </a:spcBef>
              <a:buNone/>
              <a:defRPr sz="3200">
                <a:solidFill>
                  <a:schemeClr val="tx1"/>
                </a:solidFill>
                <a:latin typeface="+mj-lt"/>
              </a:defRPr>
            </a:lvl1pPr>
          </a:lstStyle>
          <a:p>
            <a:pPr lvl="0"/>
            <a:r>
              <a:rPr lang="en-US"/>
              <a:t>Title</a:t>
            </a:r>
          </a:p>
        </p:txBody>
      </p:sp>
      <p:sp>
        <p:nvSpPr>
          <p:cNvPr id="5" name="Text Placeholder 3">
            <a:extLst>
              <a:ext uri="{FF2B5EF4-FFF2-40B4-BE49-F238E27FC236}">
                <a16:creationId xmlns:a16="http://schemas.microsoft.com/office/drawing/2014/main" id="{4B26C853-AE34-41DD-A94A-C91B2D2437A9}"/>
              </a:ext>
            </a:extLst>
          </p:cNvPr>
          <p:cNvSpPr>
            <a:spLocks noGrp="1"/>
          </p:cNvSpPr>
          <p:nvPr>
            <p:ph type="body" sz="quarter" idx="10" hasCustomPrompt="1"/>
          </p:nvPr>
        </p:nvSpPr>
        <p:spPr>
          <a:xfrm>
            <a:off x="3295650" y="0"/>
            <a:ext cx="5848350" cy="5143500"/>
          </a:xfrm>
          <a:prstGeom prst="rect">
            <a:avLst/>
          </a:prstGeom>
          <a:solidFill>
            <a:srgbClr val="1E4471"/>
          </a:solidFill>
          <a:ln w="3175">
            <a:noFill/>
          </a:ln>
        </p:spPr>
        <p:txBody>
          <a:bodyPr/>
          <a:lstStyle>
            <a:lvl1pPr marL="0" indent="0">
              <a:lnSpc>
                <a:spcPct val="100000"/>
              </a:lnSpc>
              <a:buNone/>
              <a:defRPr/>
            </a:lvl1pPr>
          </a:lstStyle>
          <a:p>
            <a:pPr lvl="0"/>
            <a:r>
              <a:rPr lang="en-US"/>
              <a:t>  </a:t>
            </a:r>
          </a:p>
        </p:txBody>
      </p:sp>
      <p:sp>
        <p:nvSpPr>
          <p:cNvPr id="7" name="Rectangle 4">
            <a:extLst>
              <a:ext uri="{FF2B5EF4-FFF2-40B4-BE49-F238E27FC236}">
                <a16:creationId xmlns:a16="http://schemas.microsoft.com/office/drawing/2014/main" id="{7D875EB2-426F-4C8E-95EB-E6B567611FA1}"/>
              </a:ext>
            </a:extLst>
          </p:cNvPr>
          <p:cNvSpPr>
            <a:spLocks noChangeArrowheads="1"/>
          </p:cNvSpPr>
          <p:nvPr userDrawn="1"/>
        </p:nvSpPr>
        <p:spPr bwMode="ltGray">
          <a:xfrm>
            <a:off x="476250" y="4741653"/>
            <a:ext cx="284734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6995625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Illustration Slide">
    <p:bg>
      <p:bgPr>
        <a:solidFill>
          <a:schemeClr val="tx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A45D00-2CFF-47C6-AFB8-D998BE0BC287}"/>
              </a:ext>
            </a:extLst>
          </p:cNvPr>
          <p:cNvSpPr>
            <a:spLocks noGrp="1"/>
          </p:cNvSpPr>
          <p:nvPr>
            <p:ph type="body" sz="quarter" idx="11" hasCustomPrompt="1"/>
          </p:nvPr>
        </p:nvSpPr>
        <p:spPr>
          <a:xfrm>
            <a:off x="533400" y="660401"/>
            <a:ext cx="2638425" cy="3822700"/>
          </a:xfrm>
          <a:prstGeom prst="rect">
            <a:avLst/>
          </a:prstGeom>
        </p:spPr>
        <p:txBody>
          <a:bodyPr lIns="0" tIns="0" rIns="0" bIns="0" anchor="ctr">
            <a:noAutofit/>
          </a:bodyPr>
          <a:lstStyle>
            <a:lvl1pPr marL="0" indent="0">
              <a:lnSpc>
                <a:spcPct val="100000"/>
              </a:lnSpc>
              <a:spcBef>
                <a:spcPts val="0"/>
              </a:spcBef>
              <a:buNone/>
              <a:defRPr sz="3200">
                <a:solidFill>
                  <a:schemeClr val="bg2"/>
                </a:solidFill>
                <a:latin typeface="+mj-lt"/>
              </a:defRPr>
            </a:lvl1pPr>
          </a:lstStyle>
          <a:p>
            <a:pPr lvl="0"/>
            <a:r>
              <a:rPr lang="en-US"/>
              <a:t>Title</a:t>
            </a:r>
          </a:p>
        </p:txBody>
      </p:sp>
      <p:sp>
        <p:nvSpPr>
          <p:cNvPr id="5" name="Text Placeholder 3">
            <a:extLst>
              <a:ext uri="{FF2B5EF4-FFF2-40B4-BE49-F238E27FC236}">
                <a16:creationId xmlns:a16="http://schemas.microsoft.com/office/drawing/2014/main" id="{4B26C853-AE34-41DD-A94A-C91B2D2437A9}"/>
              </a:ext>
            </a:extLst>
          </p:cNvPr>
          <p:cNvSpPr>
            <a:spLocks noGrp="1"/>
          </p:cNvSpPr>
          <p:nvPr>
            <p:ph type="body" sz="quarter" idx="10" hasCustomPrompt="1"/>
          </p:nvPr>
        </p:nvSpPr>
        <p:spPr>
          <a:xfrm>
            <a:off x="3295650" y="0"/>
            <a:ext cx="5848350" cy="5143500"/>
          </a:xfrm>
          <a:prstGeom prst="rect">
            <a:avLst/>
          </a:prstGeom>
          <a:solidFill>
            <a:schemeClr val="tx2"/>
          </a:solidFill>
          <a:ln w="3175">
            <a:noFill/>
          </a:ln>
        </p:spPr>
        <p:txBody>
          <a:bodyPr/>
          <a:lstStyle>
            <a:lvl1pPr marL="0" indent="0">
              <a:lnSpc>
                <a:spcPct val="100000"/>
              </a:lnSpc>
              <a:buNone/>
              <a:defRPr/>
            </a:lvl1pPr>
          </a:lstStyle>
          <a:p>
            <a:pPr lvl="0"/>
            <a:r>
              <a:rPr lang="en-US"/>
              <a:t>  </a:t>
            </a:r>
          </a:p>
        </p:txBody>
      </p:sp>
      <p:sp>
        <p:nvSpPr>
          <p:cNvPr id="7" name="Rectangle 4">
            <a:extLst>
              <a:ext uri="{FF2B5EF4-FFF2-40B4-BE49-F238E27FC236}">
                <a16:creationId xmlns:a16="http://schemas.microsoft.com/office/drawing/2014/main" id="{7D875EB2-426F-4C8E-95EB-E6B567611FA1}"/>
              </a:ext>
            </a:extLst>
          </p:cNvPr>
          <p:cNvSpPr>
            <a:spLocks noChangeArrowheads="1"/>
          </p:cNvSpPr>
          <p:nvPr userDrawn="1"/>
        </p:nvSpPr>
        <p:spPr bwMode="ltGray">
          <a:xfrm>
            <a:off x="476250" y="4741653"/>
            <a:ext cx="284734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1596885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2"/>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054489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Slide">
    <p:bg>
      <p:bgPr>
        <a:solidFill>
          <a:schemeClr val="tx1"/>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155162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Blank Slide">
    <p:bg>
      <p:bgPr>
        <a:solidFill>
          <a:schemeClr val="tx2"/>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3565953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Title and Table">
    <p:bg>
      <p:bgPr>
        <a:solidFill>
          <a:schemeClr val="bg2"/>
        </a:solidFill>
        <a:effectLst/>
      </p:bgPr>
    </p:bg>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7" name="Rectangle 4">
            <a:extLst>
              <a:ext uri="{FF2B5EF4-FFF2-40B4-BE49-F238E27FC236}">
                <a16:creationId xmlns:a16="http://schemas.microsoft.com/office/drawing/2014/main" id="{01840A64-D0F9-41A1-A207-B587F04F780C}"/>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2545634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1"/>
        </a:solidFill>
        <a:effectLst/>
      </p:bgPr>
    </p:bg>
    <p:spTree>
      <p:nvGrpSpPr>
        <p:cNvPr id="1" name=""/>
        <p:cNvGrpSpPr/>
        <p:nvPr/>
      </p:nvGrpSpPr>
      <p:grpSpPr>
        <a:xfrm>
          <a:off x="0" y="0"/>
          <a:ext cx="0" cy="0"/>
          <a:chOff x="0" y="0"/>
          <a:chExt cx="0" cy="0"/>
        </a:xfrm>
      </p:grpSpPr>
      <p:pic>
        <p:nvPicPr>
          <p:cNvPr id="5" name="Picture 4" descr="A path with trees on the side of a mountain&#10;&#10;Description automatically generated">
            <a:extLst>
              <a:ext uri="{FF2B5EF4-FFF2-40B4-BE49-F238E27FC236}">
                <a16:creationId xmlns:a16="http://schemas.microsoft.com/office/drawing/2014/main" id="{2084111B-E4B4-4666-87F7-AD8F9EFC09A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graphicFrame>
        <p:nvGraphicFramePr>
          <p:cNvPr id="3" name="Object 2" hidden="1">
            <a:extLst>
              <a:ext uri="{FF2B5EF4-FFF2-40B4-BE49-F238E27FC236}">
                <a16:creationId xmlns:a16="http://schemas.microsoft.com/office/drawing/2014/main" id="{E64C8021-6DBE-4F03-83CC-7073EEFD3D0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6" imgW="425" imgH="424" progId="TCLayout.ActiveDocument.1">
                  <p:embed/>
                </p:oleObj>
              </mc:Choice>
              <mc:Fallback>
                <p:oleObj name="think-cell Slide" r:id="rId6" imgW="425" imgH="424" progId="TCLayout.ActiveDocument.1">
                  <p:embed/>
                  <p:pic>
                    <p:nvPicPr>
                      <p:cNvPr id="3" name="Object 2" hidden="1">
                        <a:extLst>
                          <a:ext uri="{FF2B5EF4-FFF2-40B4-BE49-F238E27FC236}">
                            <a16:creationId xmlns:a16="http://schemas.microsoft.com/office/drawing/2014/main" id="{E64C8021-6DBE-4F03-83CC-7073EEFD3D0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CE1C919-DF44-436C-9A59-6030629E328E}"/>
              </a:ext>
            </a:extLst>
          </p:cNvPr>
          <p:cNvSpPr/>
          <p:nvPr userDrawn="1">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en-GB" sz="4000" b="0" i="0" baseline="0">
              <a:latin typeface="CiscoSansTT ExtraLight" panose="020B0303020201020303" pitchFamily="34" charset="0"/>
              <a:sym typeface="CiscoSansTT ExtraLight" panose="020B0303020201020303" pitchFamily="34" charset="0"/>
            </a:endParaRPr>
          </a:p>
        </p:txBody>
      </p:sp>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Tree>
    <p:extLst>
      <p:ext uri="{BB962C8B-B14F-4D97-AF65-F5344CB8AC3E}">
        <p14:creationId xmlns:p14="http://schemas.microsoft.com/office/powerpoint/2010/main" val="18017836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hart">
    <p:bg>
      <p:bgPr>
        <a:solidFill>
          <a:schemeClr val="bg2"/>
        </a:solidFill>
        <a:effectLst/>
      </p:bgPr>
    </p:bg>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8" name="Rectangle 4">
            <a:extLst>
              <a:ext uri="{FF2B5EF4-FFF2-40B4-BE49-F238E27FC236}">
                <a16:creationId xmlns:a16="http://schemas.microsoft.com/office/drawing/2014/main" id="{3E07930A-5E92-4820-BB3E-7D89EAB195D5}"/>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3699458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Multi_Slide">
    <p:bg>
      <p:bgPr>
        <a:solidFill>
          <a:schemeClr val="bg2"/>
        </a:solid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6" name="Rectangle 4">
            <a:extLst>
              <a:ext uri="{FF2B5EF4-FFF2-40B4-BE49-F238E27FC236}">
                <a16:creationId xmlns:a16="http://schemas.microsoft.com/office/drawing/2014/main" id="{91307307-D73D-4F8F-A403-D94A22A7C51F}"/>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8718261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Half_Page_Blank">
    <p:bg>
      <p:bgPr>
        <a:solidFill>
          <a:schemeClr val="bg2"/>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lumMod val="75000"/>
                </a:schemeClr>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1005199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288" userDrawn="1">
          <p15:clr>
            <a:srgbClr val="FBAE40"/>
          </p15:clr>
        </p15:guide>
        <p15:guide id="3" pos="2598"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Half_Page_Tex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556835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6" userDrawn="1">
          <p15:clr>
            <a:srgbClr val="FBAE40"/>
          </p15:clr>
        </p15:guide>
        <p15:guide id="4" pos="2675"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Half_Page_Text_2 colum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7705512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4" pos="2675"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Half_Page_Picture_Captio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3394826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Half_Page_Pictur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6427646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Half_Page_Headline Only">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5"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8844655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Half_Page_Picture_Full">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5381808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Half_Page_Char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3018367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3" orient="horz" pos="2196"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7121915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9_Half_Page_Tabl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9913787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userDrawn="1">
          <p15:clr>
            <a:srgbClr val="FBAE40"/>
          </p15:clr>
        </p15:guide>
        <p15:guide id="3" orient="horz" pos="2196"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9587595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White Title Only">
    <p:bg>
      <p:bgPr>
        <a:solidFill>
          <a:schemeClr val="tx1"/>
        </a:solidFill>
        <a:effectLst/>
      </p:bgPr>
    </p:bg>
    <p:spTree>
      <p:nvGrpSpPr>
        <p:cNvPr id="1" name=""/>
        <p:cNvGrpSpPr/>
        <p:nvPr/>
      </p:nvGrpSpPr>
      <p:grpSpPr>
        <a:xfrm>
          <a:off x="0" y="0"/>
          <a:ext cx="0" cy="0"/>
          <a:chOff x="0" y="0"/>
          <a:chExt cx="0" cy="0"/>
        </a:xfrm>
      </p:grpSpPr>
      <p:sp>
        <p:nvSpPr>
          <p:cNvPr id="4" name="Title Placeholder 5">
            <a:extLst>
              <a:ext uri="{FF2B5EF4-FFF2-40B4-BE49-F238E27FC236}">
                <a16:creationId xmlns:a16="http://schemas.microsoft.com/office/drawing/2014/main" id="{9FE09404-DE6C-47D7-BACF-48EB8E035AAF}"/>
              </a:ext>
            </a:extLst>
          </p:cNvPr>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bg2"/>
                </a:solidFill>
              </a:defRPr>
            </a:lvl1pPr>
          </a:lstStyle>
          <a:p>
            <a:pPr lvl="0"/>
            <a:r>
              <a:rPr lang="en-US"/>
              <a:t>Click to edit Master title style</a:t>
            </a:r>
            <a:endParaRPr lang="en-GB"/>
          </a:p>
        </p:txBody>
      </p:sp>
      <p:sp>
        <p:nvSpPr>
          <p:cNvPr id="5" name="Rectangle 4">
            <a:extLst>
              <a:ext uri="{FF2B5EF4-FFF2-40B4-BE49-F238E27FC236}">
                <a16:creationId xmlns:a16="http://schemas.microsoft.com/office/drawing/2014/main" id="{2A3D5D7E-3E33-40F0-8612-E3341225BD49}"/>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7533821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White Title Only">
    <p:bg>
      <p:bgPr>
        <a:solidFill>
          <a:schemeClr val="tx2"/>
        </a:solidFill>
        <a:effectLst/>
      </p:bgPr>
    </p:bg>
    <p:spTree>
      <p:nvGrpSpPr>
        <p:cNvPr id="1" name=""/>
        <p:cNvGrpSpPr/>
        <p:nvPr/>
      </p:nvGrpSpPr>
      <p:grpSpPr>
        <a:xfrm>
          <a:off x="0" y="0"/>
          <a:ext cx="0" cy="0"/>
          <a:chOff x="0" y="0"/>
          <a:chExt cx="0" cy="0"/>
        </a:xfrm>
      </p:grpSpPr>
      <p:sp>
        <p:nvSpPr>
          <p:cNvPr id="4" name="Title Placeholder 5">
            <a:extLst>
              <a:ext uri="{FF2B5EF4-FFF2-40B4-BE49-F238E27FC236}">
                <a16:creationId xmlns:a16="http://schemas.microsoft.com/office/drawing/2014/main" id="{9FE09404-DE6C-47D7-BACF-48EB8E035AAF}"/>
              </a:ext>
            </a:extLst>
          </p:cNvPr>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bg2"/>
                </a:solidFill>
              </a:defRPr>
            </a:lvl1pPr>
          </a:lstStyle>
          <a:p>
            <a:pPr lvl="0"/>
            <a:r>
              <a:rPr lang="en-US"/>
              <a:t>Click to edit Master title style</a:t>
            </a:r>
            <a:endParaRPr lang="en-GB"/>
          </a:p>
        </p:txBody>
      </p:sp>
      <p:sp>
        <p:nvSpPr>
          <p:cNvPr id="5" name="Rectangle 4">
            <a:extLst>
              <a:ext uri="{FF2B5EF4-FFF2-40B4-BE49-F238E27FC236}">
                <a16:creationId xmlns:a16="http://schemas.microsoft.com/office/drawing/2014/main" id="{2A3D5D7E-3E33-40F0-8612-E3341225BD49}"/>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6416047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White 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33400" y="276344"/>
            <a:ext cx="80772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nSpc>
                <a:spcPct val="100000"/>
              </a:lnSpc>
              <a:defRPr sz="2800">
                <a:solidFill>
                  <a:schemeClr val="tx1"/>
                </a:solidFill>
              </a:defRPr>
            </a:lvl1pPr>
          </a:lstStyle>
          <a:p>
            <a:pPr lvl="0"/>
            <a:r>
              <a:rPr lang="en-GB"/>
              <a:t>Click to edit Master title style</a:t>
            </a:r>
          </a:p>
        </p:txBody>
      </p:sp>
    </p:spTree>
    <p:extLst>
      <p:ext uri="{BB962C8B-B14F-4D97-AF65-F5344CB8AC3E}">
        <p14:creationId xmlns:p14="http://schemas.microsoft.com/office/powerpoint/2010/main" val="29636884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27901636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1"/>
        </a:solidFill>
        <a:effectLst/>
      </p:bgPr>
    </p:bg>
    <p:spTree>
      <p:nvGrpSpPr>
        <p:cNvPr id="1" name=""/>
        <p:cNvGrpSpPr/>
        <p:nvPr/>
      </p:nvGrpSpPr>
      <p:grpSpPr>
        <a:xfrm>
          <a:off x="0" y="0"/>
          <a:ext cx="0" cy="0"/>
          <a:chOff x="0" y="0"/>
          <a:chExt cx="0" cy="0"/>
        </a:xfrm>
      </p:grpSpPr>
      <p:pic>
        <p:nvPicPr>
          <p:cNvPr id="5" name="Picture 4" descr="A path with trees on the side of a mountain&#10;&#10;Description automatically generated">
            <a:extLst>
              <a:ext uri="{FF2B5EF4-FFF2-40B4-BE49-F238E27FC236}">
                <a16:creationId xmlns:a16="http://schemas.microsoft.com/office/drawing/2014/main" id="{2084111B-E4B4-4666-87F7-AD8F9EFC09A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graphicFrame>
        <p:nvGraphicFramePr>
          <p:cNvPr id="3" name="Object 2" hidden="1">
            <a:extLst>
              <a:ext uri="{FF2B5EF4-FFF2-40B4-BE49-F238E27FC236}">
                <a16:creationId xmlns:a16="http://schemas.microsoft.com/office/drawing/2014/main" id="{E64C8021-6DBE-4F03-83CC-7073EEFD3D0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6" imgW="425" imgH="424" progId="TCLayout.ActiveDocument.1">
                  <p:embed/>
                </p:oleObj>
              </mc:Choice>
              <mc:Fallback>
                <p:oleObj name="think-cell Slide" r:id="rId6" imgW="425" imgH="424" progId="TCLayout.ActiveDocument.1">
                  <p:embed/>
                  <p:pic>
                    <p:nvPicPr>
                      <p:cNvPr id="3" name="Object 2" hidden="1">
                        <a:extLst>
                          <a:ext uri="{FF2B5EF4-FFF2-40B4-BE49-F238E27FC236}">
                            <a16:creationId xmlns:a16="http://schemas.microsoft.com/office/drawing/2014/main" id="{E64C8021-6DBE-4F03-83CC-7073EEFD3D0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CE1C919-DF44-436C-9A59-6030629E328E}"/>
              </a:ext>
            </a:extLst>
          </p:cNvPr>
          <p:cNvSpPr/>
          <p:nvPr userDrawn="1">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en-GB" sz="4000" b="0" i="0" baseline="0">
              <a:latin typeface="CiscoSansTT ExtraLight" panose="020B0303020201020303" pitchFamily="34" charset="0"/>
              <a:sym typeface="CiscoSansTT ExtraLight" panose="020B0303020201020303" pitchFamily="34" charset="0"/>
            </a:endParaRPr>
          </a:p>
        </p:txBody>
      </p:sp>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Tree>
    <p:extLst>
      <p:ext uri="{BB962C8B-B14F-4D97-AF65-F5344CB8AC3E}">
        <p14:creationId xmlns:p14="http://schemas.microsoft.com/office/powerpoint/2010/main" val="6792509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6764837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Segue_White">
    <p:bg>
      <p:bgPr>
        <a:solidFill>
          <a:schemeClr val="bg2">
            <a:lumMod val="75000"/>
          </a:schemeClr>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6742722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75000"/>
                </a:schemeClr>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3475582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gue_White">
    <p:bg>
      <p:bgPr>
        <a:solidFill>
          <a:schemeClr val="bg2">
            <a:lumMod val="75000"/>
          </a:schemeClr>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916777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6437681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Full Bleed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4967330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
        <p:nvSpPr>
          <p:cNvPr id="5" name="Rectangle 4">
            <a:extLst>
              <a:ext uri="{FF2B5EF4-FFF2-40B4-BE49-F238E27FC236}">
                <a16:creationId xmlns:a16="http://schemas.microsoft.com/office/drawing/2014/main" id="{0FEF15F2-DA50-4414-B235-779557BAF714}"/>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5997072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Full bleed photo">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3283916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2">
                    <a:alpha val="60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7401456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ulle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
        <p:nvSpPr>
          <p:cNvPr id="5" name="Rectangle 4">
            <a:extLst>
              <a:ext uri="{FF2B5EF4-FFF2-40B4-BE49-F238E27FC236}">
                <a16:creationId xmlns:a16="http://schemas.microsoft.com/office/drawing/2014/main" id="{ED2D946C-8394-4DB3-A1F0-BC54DDDA7AA6}"/>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6375148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ullet_Heavy Text">
    <p:bg>
      <p:bgPr>
        <a:solidFill>
          <a:schemeClr val="bg2"/>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6" name="Rectangle 4">
            <a:extLst>
              <a:ext uri="{FF2B5EF4-FFF2-40B4-BE49-F238E27FC236}">
                <a16:creationId xmlns:a16="http://schemas.microsoft.com/office/drawing/2014/main" id="{36ABA4FE-A8E0-42F9-84EF-9C56817CDB86}"/>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5076550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ullet_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GB"/>
              <a:t>Click to edit Master title style</a:t>
            </a:r>
          </a:p>
        </p:txBody>
      </p:sp>
      <p:sp>
        <p:nvSpPr>
          <p:cNvPr id="4" name="Rectangle 4">
            <a:extLst>
              <a:ext uri="{FF2B5EF4-FFF2-40B4-BE49-F238E27FC236}">
                <a16:creationId xmlns:a16="http://schemas.microsoft.com/office/drawing/2014/main" id="{D2DA2F50-B0FD-48F0-9FE7-B9C8C5A60778}"/>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9819970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llustration Slide">
    <p:bg>
      <p:bgPr>
        <a:solidFill>
          <a:schemeClr val="bg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A45D00-2CFF-47C6-AFB8-D998BE0BC287}"/>
              </a:ext>
            </a:extLst>
          </p:cNvPr>
          <p:cNvSpPr>
            <a:spLocks noGrp="1"/>
          </p:cNvSpPr>
          <p:nvPr>
            <p:ph type="body" sz="quarter" idx="11" hasCustomPrompt="1"/>
          </p:nvPr>
        </p:nvSpPr>
        <p:spPr>
          <a:xfrm>
            <a:off x="533400" y="660401"/>
            <a:ext cx="2638425" cy="3822700"/>
          </a:xfrm>
          <a:prstGeom prst="rect">
            <a:avLst/>
          </a:prstGeom>
        </p:spPr>
        <p:txBody>
          <a:bodyPr lIns="0" tIns="0" rIns="0" bIns="0" anchor="ctr">
            <a:noAutofit/>
          </a:bodyPr>
          <a:lstStyle>
            <a:lvl1pPr marL="0" indent="0">
              <a:lnSpc>
                <a:spcPct val="100000"/>
              </a:lnSpc>
              <a:spcBef>
                <a:spcPts val="0"/>
              </a:spcBef>
              <a:buNone/>
              <a:defRPr sz="3200">
                <a:solidFill>
                  <a:schemeClr val="tx1"/>
                </a:solidFill>
                <a:latin typeface="+mj-lt"/>
              </a:defRPr>
            </a:lvl1pPr>
          </a:lstStyle>
          <a:p>
            <a:pPr lvl="0"/>
            <a:r>
              <a:rPr lang="en-US"/>
              <a:t>Title</a:t>
            </a:r>
          </a:p>
        </p:txBody>
      </p:sp>
      <p:sp>
        <p:nvSpPr>
          <p:cNvPr id="5" name="Text Placeholder 3">
            <a:extLst>
              <a:ext uri="{FF2B5EF4-FFF2-40B4-BE49-F238E27FC236}">
                <a16:creationId xmlns:a16="http://schemas.microsoft.com/office/drawing/2014/main" id="{4B26C853-AE34-41DD-A94A-C91B2D2437A9}"/>
              </a:ext>
            </a:extLst>
          </p:cNvPr>
          <p:cNvSpPr>
            <a:spLocks noGrp="1"/>
          </p:cNvSpPr>
          <p:nvPr>
            <p:ph type="body" sz="quarter" idx="10" hasCustomPrompt="1"/>
          </p:nvPr>
        </p:nvSpPr>
        <p:spPr>
          <a:xfrm>
            <a:off x="3295650" y="0"/>
            <a:ext cx="5848350" cy="5143500"/>
          </a:xfrm>
          <a:prstGeom prst="rect">
            <a:avLst/>
          </a:prstGeom>
          <a:solidFill>
            <a:srgbClr val="1E4471"/>
          </a:solidFill>
          <a:ln w="3175">
            <a:noFill/>
          </a:ln>
        </p:spPr>
        <p:txBody>
          <a:bodyPr/>
          <a:lstStyle>
            <a:lvl1pPr marL="0" indent="0">
              <a:lnSpc>
                <a:spcPct val="100000"/>
              </a:lnSpc>
              <a:buNone/>
              <a:defRPr/>
            </a:lvl1pPr>
          </a:lstStyle>
          <a:p>
            <a:pPr lvl="0"/>
            <a:r>
              <a:rPr lang="en-US"/>
              <a:t>  </a:t>
            </a:r>
          </a:p>
        </p:txBody>
      </p:sp>
      <p:sp>
        <p:nvSpPr>
          <p:cNvPr id="7" name="Rectangle 4">
            <a:extLst>
              <a:ext uri="{FF2B5EF4-FFF2-40B4-BE49-F238E27FC236}">
                <a16:creationId xmlns:a16="http://schemas.microsoft.com/office/drawing/2014/main" id="{7D875EB2-426F-4C8E-95EB-E6B567611FA1}"/>
              </a:ext>
            </a:extLst>
          </p:cNvPr>
          <p:cNvSpPr>
            <a:spLocks noChangeArrowheads="1"/>
          </p:cNvSpPr>
          <p:nvPr userDrawn="1"/>
        </p:nvSpPr>
        <p:spPr bwMode="ltGray">
          <a:xfrm>
            <a:off x="476250" y="4741653"/>
            <a:ext cx="284734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1977200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llustration Slide">
    <p:bg>
      <p:bgPr>
        <a:solidFill>
          <a:schemeClr val="tx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A45D00-2CFF-47C6-AFB8-D998BE0BC287}"/>
              </a:ext>
            </a:extLst>
          </p:cNvPr>
          <p:cNvSpPr>
            <a:spLocks noGrp="1"/>
          </p:cNvSpPr>
          <p:nvPr>
            <p:ph type="body" sz="quarter" idx="11" hasCustomPrompt="1"/>
          </p:nvPr>
        </p:nvSpPr>
        <p:spPr>
          <a:xfrm>
            <a:off x="533400" y="660401"/>
            <a:ext cx="2638425" cy="3822700"/>
          </a:xfrm>
          <a:prstGeom prst="rect">
            <a:avLst/>
          </a:prstGeom>
        </p:spPr>
        <p:txBody>
          <a:bodyPr lIns="0" tIns="0" rIns="0" bIns="0" anchor="ctr">
            <a:noAutofit/>
          </a:bodyPr>
          <a:lstStyle>
            <a:lvl1pPr marL="0" indent="0">
              <a:lnSpc>
                <a:spcPct val="100000"/>
              </a:lnSpc>
              <a:spcBef>
                <a:spcPts val="0"/>
              </a:spcBef>
              <a:buNone/>
              <a:defRPr sz="3200">
                <a:solidFill>
                  <a:schemeClr val="bg2"/>
                </a:solidFill>
                <a:latin typeface="+mj-lt"/>
              </a:defRPr>
            </a:lvl1pPr>
          </a:lstStyle>
          <a:p>
            <a:pPr lvl="0"/>
            <a:r>
              <a:rPr lang="en-US"/>
              <a:t>Title</a:t>
            </a:r>
          </a:p>
        </p:txBody>
      </p:sp>
      <p:sp>
        <p:nvSpPr>
          <p:cNvPr id="5" name="Text Placeholder 3">
            <a:extLst>
              <a:ext uri="{FF2B5EF4-FFF2-40B4-BE49-F238E27FC236}">
                <a16:creationId xmlns:a16="http://schemas.microsoft.com/office/drawing/2014/main" id="{4B26C853-AE34-41DD-A94A-C91B2D2437A9}"/>
              </a:ext>
            </a:extLst>
          </p:cNvPr>
          <p:cNvSpPr>
            <a:spLocks noGrp="1"/>
          </p:cNvSpPr>
          <p:nvPr>
            <p:ph type="body" sz="quarter" idx="10" hasCustomPrompt="1"/>
          </p:nvPr>
        </p:nvSpPr>
        <p:spPr>
          <a:xfrm>
            <a:off x="3295650" y="0"/>
            <a:ext cx="5848350" cy="5143500"/>
          </a:xfrm>
          <a:prstGeom prst="rect">
            <a:avLst/>
          </a:prstGeom>
          <a:solidFill>
            <a:schemeClr val="tx2"/>
          </a:solidFill>
          <a:ln w="3175">
            <a:noFill/>
          </a:ln>
        </p:spPr>
        <p:txBody>
          <a:bodyPr/>
          <a:lstStyle>
            <a:lvl1pPr marL="0" indent="0">
              <a:lnSpc>
                <a:spcPct val="100000"/>
              </a:lnSpc>
              <a:buNone/>
              <a:defRPr/>
            </a:lvl1pPr>
          </a:lstStyle>
          <a:p>
            <a:pPr lvl="0"/>
            <a:r>
              <a:rPr lang="en-US"/>
              <a:t>  </a:t>
            </a:r>
          </a:p>
        </p:txBody>
      </p:sp>
      <p:sp>
        <p:nvSpPr>
          <p:cNvPr id="7" name="Rectangle 4">
            <a:extLst>
              <a:ext uri="{FF2B5EF4-FFF2-40B4-BE49-F238E27FC236}">
                <a16:creationId xmlns:a16="http://schemas.microsoft.com/office/drawing/2014/main" id="{7D875EB2-426F-4C8E-95EB-E6B567611FA1}"/>
              </a:ext>
            </a:extLst>
          </p:cNvPr>
          <p:cNvSpPr>
            <a:spLocks noChangeArrowheads="1"/>
          </p:cNvSpPr>
          <p:nvPr userDrawn="1"/>
        </p:nvSpPr>
        <p:spPr bwMode="ltGray">
          <a:xfrm>
            <a:off x="476250" y="4741653"/>
            <a:ext cx="284734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0342825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75000"/>
                </a:schemeClr>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0998972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2"/>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3375328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Blank Slide">
    <p:bg>
      <p:bgPr>
        <a:solidFill>
          <a:schemeClr val="tx1"/>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639867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Blank Slide">
    <p:bg>
      <p:bgPr>
        <a:solidFill>
          <a:schemeClr val="tx2"/>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1716391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Title and Table">
    <p:bg>
      <p:bgPr>
        <a:solidFill>
          <a:schemeClr val="bg2"/>
        </a:solidFill>
        <a:effectLst/>
      </p:bgPr>
    </p:bg>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7" name="Rectangle 4">
            <a:extLst>
              <a:ext uri="{FF2B5EF4-FFF2-40B4-BE49-F238E27FC236}">
                <a16:creationId xmlns:a16="http://schemas.microsoft.com/office/drawing/2014/main" id="{01840A64-D0F9-41A1-A207-B587F04F780C}"/>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1365996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hart">
    <p:bg>
      <p:bgPr>
        <a:solidFill>
          <a:schemeClr val="bg2"/>
        </a:solidFill>
        <a:effectLst/>
      </p:bgPr>
    </p:bg>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8" name="Rectangle 4">
            <a:extLst>
              <a:ext uri="{FF2B5EF4-FFF2-40B4-BE49-F238E27FC236}">
                <a16:creationId xmlns:a16="http://schemas.microsoft.com/office/drawing/2014/main" id="{3E07930A-5E92-4820-BB3E-7D89EAB195D5}"/>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7573304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Multi_Slide">
    <p:bg>
      <p:bgPr>
        <a:solidFill>
          <a:schemeClr val="bg2"/>
        </a:solid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6" name="Rectangle 4">
            <a:extLst>
              <a:ext uri="{FF2B5EF4-FFF2-40B4-BE49-F238E27FC236}">
                <a16:creationId xmlns:a16="http://schemas.microsoft.com/office/drawing/2014/main" id="{91307307-D73D-4F8F-A403-D94A22A7C51F}"/>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4892215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Half_Page_Blank">
    <p:bg>
      <p:bgPr>
        <a:solidFill>
          <a:schemeClr val="bg2"/>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lumMod val="75000"/>
                </a:schemeClr>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5694195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288" userDrawn="1">
          <p15:clr>
            <a:srgbClr val="FBAE40"/>
          </p15:clr>
        </p15:guide>
        <p15:guide id="3" pos="2598"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Half_Page_Tex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683146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6" userDrawn="1">
          <p15:clr>
            <a:srgbClr val="FBAE40"/>
          </p15:clr>
        </p15:guide>
        <p15:guide id="4" pos="2675"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Half_Page_Text_2 colum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5791074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4" pos="2675"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Half_Page_Picture_Captio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4698222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6194845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Half_Page_Pictur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1229621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_Half_Page_Headline Only">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5"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0341744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7_Half_Page_Picture_Full">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7514883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8_Half_Page_Char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2884413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3" orient="horz" pos="2196"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9_Half_Page_Tabl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0203415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userDrawn="1">
          <p15:clr>
            <a:srgbClr val="FBAE40"/>
          </p15:clr>
        </p15:guide>
        <p15:guide id="3" orient="horz" pos="2196"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22711621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White Title Only">
    <p:bg>
      <p:bgPr>
        <a:solidFill>
          <a:schemeClr val="tx2"/>
        </a:solidFill>
        <a:effectLst/>
      </p:bgPr>
    </p:bg>
    <p:spTree>
      <p:nvGrpSpPr>
        <p:cNvPr id="1" name=""/>
        <p:cNvGrpSpPr/>
        <p:nvPr/>
      </p:nvGrpSpPr>
      <p:grpSpPr>
        <a:xfrm>
          <a:off x="0" y="0"/>
          <a:ext cx="0" cy="0"/>
          <a:chOff x="0" y="0"/>
          <a:chExt cx="0" cy="0"/>
        </a:xfrm>
      </p:grpSpPr>
      <p:sp>
        <p:nvSpPr>
          <p:cNvPr id="4" name="Title Placeholder 5">
            <a:extLst>
              <a:ext uri="{FF2B5EF4-FFF2-40B4-BE49-F238E27FC236}">
                <a16:creationId xmlns:a16="http://schemas.microsoft.com/office/drawing/2014/main" id="{9FE09404-DE6C-47D7-BACF-48EB8E035AAF}"/>
              </a:ext>
            </a:extLst>
          </p:cNvPr>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bg2"/>
                </a:solidFill>
              </a:defRPr>
            </a:lvl1pPr>
          </a:lstStyle>
          <a:p>
            <a:pPr lvl="0"/>
            <a:r>
              <a:rPr lang="en-US"/>
              <a:t>Click to edit Master title style</a:t>
            </a:r>
            <a:endParaRPr lang="en-GB"/>
          </a:p>
        </p:txBody>
      </p:sp>
      <p:sp>
        <p:nvSpPr>
          <p:cNvPr id="5" name="Rectangle 4">
            <a:extLst>
              <a:ext uri="{FF2B5EF4-FFF2-40B4-BE49-F238E27FC236}">
                <a16:creationId xmlns:a16="http://schemas.microsoft.com/office/drawing/2014/main" id="{2A3D5D7E-3E33-40F0-8612-E3341225BD49}"/>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8754992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White 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33400" y="276344"/>
            <a:ext cx="80772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nSpc>
                <a:spcPct val="100000"/>
              </a:lnSpc>
              <a:defRPr sz="2800">
                <a:solidFill>
                  <a:schemeClr val="tx1"/>
                </a:solidFill>
              </a:defRPr>
            </a:lvl1pPr>
          </a:lstStyle>
          <a:p>
            <a:pPr lvl="0"/>
            <a:r>
              <a:rPr lang="en-GB"/>
              <a:t>Click to edit Master title style</a:t>
            </a:r>
          </a:p>
        </p:txBody>
      </p:sp>
    </p:spTree>
    <p:extLst>
      <p:ext uri="{BB962C8B-B14F-4D97-AF65-F5344CB8AC3E}">
        <p14:creationId xmlns:p14="http://schemas.microsoft.com/office/powerpoint/2010/main" val="20034730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White Title Only">
    <p:bg>
      <p:bgPr>
        <a:solidFill>
          <a:schemeClr val="tx1"/>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33400" y="276344"/>
            <a:ext cx="80772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nSpc>
                <a:spcPct val="100000"/>
              </a:lnSpc>
              <a:defRPr sz="2800">
                <a:solidFill>
                  <a:schemeClr val="bg2"/>
                </a:solidFill>
              </a:defRPr>
            </a:lvl1pPr>
          </a:lstStyle>
          <a:p>
            <a:pPr lvl="0"/>
            <a:r>
              <a:rPr lang="en-GB"/>
              <a:t>Click to edit Master title style</a:t>
            </a:r>
          </a:p>
        </p:txBody>
      </p:sp>
      <p:sp>
        <p:nvSpPr>
          <p:cNvPr id="4" name="Rectangle 4">
            <a:extLst>
              <a:ext uri="{FF2B5EF4-FFF2-40B4-BE49-F238E27FC236}">
                <a16:creationId xmlns:a16="http://schemas.microsoft.com/office/drawing/2014/main" id="{363B6AB7-61E7-406A-9E98-1BE886EF78F1}"/>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5277657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56737"/>
            <a:ext cx="8296421" cy="288131"/>
          </a:xfrm>
          <a:prstGeom prst="rect">
            <a:avLst/>
          </a:prstGeom>
        </p:spPr>
        <p:txBody>
          <a:bodyPr lIns="91420" tIns="45710" rIns="91420" bIns="45710" anchor="b" anchorCtr="0">
            <a:noAutofit/>
          </a:bodyPr>
          <a:lstStyle>
            <a:lvl1pPr marL="0" indent="0" algn="l">
              <a:buNone/>
              <a:defRPr sz="18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7" y="4072670"/>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3" y="3043654"/>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6"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9783656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Full Bleed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6305647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404162560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89726867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25551939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6223431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4" y="3901528"/>
            <a:ext cx="8139112" cy="544829"/>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8382721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415093050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38142277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p:nvSpPr>
        <p:spPr bwMode="ltGray">
          <a:xfrm>
            <a:off x="477680" y="4741654"/>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42847359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1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2545435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5483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
        <p:nvSpPr>
          <p:cNvPr id="5" name="Rectangle 4">
            <a:extLst>
              <a:ext uri="{FF2B5EF4-FFF2-40B4-BE49-F238E27FC236}">
                <a16:creationId xmlns:a16="http://schemas.microsoft.com/office/drawing/2014/main" id="{0FEF15F2-DA50-4414-B235-779557BAF714}"/>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31557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0952880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94795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9"/>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9180903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5878407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324757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tx2"/>
                </a:solidFill>
                <a:latin typeface="+mn-lt"/>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tx2"/>
                </a:solidFill>
                <a:latin typeface="+mn-lt"/>
                <a:ea typeface="CiscoSansTT Thin" charset="0"/>
                <a:cs typeface="CiscoSansTT Thin" charset="0"/>
              </a:defRPr>
            </a:lvl2pPr>
            <a:lvl3pPr marL="403215" indent="-114297">
              <a:buClr>
                <a:schemeClr val="tx2"/>
              </a:buClr>
              <a:buSzPct val="60000"/>
              <a:buFont typeface="Arial"/>
              <a:buChar char="•"/>
              <a:defRPr sz="1600" b="0" i="0">
                <a:solidFill>
                  <a:schemeClr val="tx2"/>
                </a:solidFill>
                <a:latin typeface="+mn-lt"/>
                <a:ea typeface="CiscoSansTT Thin" charset="0"/>
                <a:cs typeface="CiscoSansTT Thin" charset="0"/>
              </a:defRPr>
            </a:lvl3pPr>
            <a:lvl4pPr marL="517512" indent="-114297">
              <a:buClr>
                <a:schemeClr val="tx2"/>
              </a:buClr>
              <a:buSzPct val="60000"/>
              <a:buFont typeface="Arial"/>
              <a:buChar char="•"/>
              <a:defRPr sz="1400" b="0" i="0">
                <a:solidFill>
                  <a:schemeClr val="tx2"/>
                </a:solidFill>
                <a:latin typeface="+mn-lt"/>
                <a:ea typeface="CiscoSansTT Thin" charset="0"/>
                <a:cs typeface="CiscoSansTT Thin" charset="0"/>
              </a:defRPr>
            </a:lvl4pPr>
            <a:lvl5pPr marL="631809" indent="-114297">
              <a:buClr>
                <a:schemeClr val="tx2"/>
              </a:buClr>
              <a:buSzPct val="60000"/>
              <a:buFont typeface="Arial"/>
              <a:buChar char="•"/>
              <a:defRPr sz="1200" b="0" i="0">
                <a:solidFill>
                  <a:schemeClr val="tx2"/>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tx2"/>
                </a:solidFill>
              </a:defRPr>
            </a:lvl1pPr>
          </a:lstStyle>
          <a:p>
            <a:pPr lvl="0"/>
            <a:r>
              <a:rPr lang="en-US"/>
              <a:t>Click to edit Master title style</a:t>
            </a:r>
            <a:endParaRPr lang="en-GB"/>
          </a:p>
        </p:txBody>
      </p:sp>
      <p:sp>
        <p:nvSpPr>
          <p:cNvPr id="8" name="Rectangle 4"/>
          <p:cNvSpPr>
            <a:spLocks noChangeArrowheads="1"/>
          </p:cNvSpPr>
          <p:nvPr/>
        </p:nvSpPr>
        <p:spPr bwMode="ltGray">
          <a:xfrm>
            <a:off x="477679" y="4741654"/>
            <a:ext cx="35683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170770507"/>
      </p:ext>
    </p:extLst>
  </p:cSld>
  <p:clrMapOvr>
    <a:masterClrMapping/>
  </p:clrMapOvr>
  <p:extLst>
    <p:ext uri="{DCECCB84-F9BA-43D5-87BE-67443E8EF086}">
      <p15:sldGuideLst xmlns:p15="http://schemas.microsoft.com/office/powerpoint/2012/main">
        <p15:guide id="2" pos="216">
          <p15:clr>
            <a:srgbClr val="FBAE40"/>
          </p15:clr>
        </p15:guide>
        <p15:guide id="3" pos="1949">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a:lvl1pPr>
            <a:lvl2pPr marL="346067" indent="-171446">
              <a:lnSpc>
                <a:spcPct val="100000"/>
              </a:lnSpc>
              <a:buClr>
                <a:schemeClr val="tx1"/>
              </a:buClr>
              <a:buSzPct val="60000"/>
              <a:buFont typeface="Arial" panose="020B0604020202020204" pitchFamily="34" charset="0"/>
              <a:buChar char="•"/>
              <a:defRPr sz="2400"/>
            </a:lvl2pPr>
            <a:lvl3pPr marL="457189" indent="-117472">
              <a:lnSpc>
                <a:spcPct val="100000"/>
              </a:lnSpc>
              <a:buClr>
                <a:schemeClr val="tx1"/>
              </a:buClr>
              <a:buSzPct val="60000"/>
              <a:buFont typeface="Arial" panose="020B0604020202020204" pitchFamily="34" charset="0"/>
              <a:buChar char="•"/>
              <a:defRPr sz="2000"/>
            </a:lvl3pPr>
            <a:lvl4pPr marL="574661" indent="-117472">
              <a:lnSpc>
                <a:spcPct val="100000"/>
              </a:lnSpc>
              <a:buClr>
                <a:schemeClr val="tx1"/>
              </a:buClr>
              <a:buSzPct val="60000"/>
              <a:buFont typeface="Arial" panose="020B0604020202020204" pitchFamily="34" charset="0"/>
              <a:buChar char="•"/>
              <a:tabLst/>
              <a:defRPr sz="1800"/>
            </a:lvl4pPr>
            <a:lvl5pPr marL="744520" indent="-112710">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p:nvSpPr>
        <p:spPr bwMode="ltGray">
          <a:xfrm>
            <a:off x="477680" y="4741654"/>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304961515"/>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7">
          <p15:clr>
            <a:srgbClr val="FBAE40"/>
          </p15:clr>
        </p15:guide>
        <p15:guide id="4" pos="200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a:lvl1pPr>
            <a:lvl2pPr marL="228594" indent="-114297">
              <a:lnSpc>
                <a:spcPct val="100000"/>
              </a:lnSpc>
              <a:buClr>
                <a:schemeClr val="tx1"/>
              </a:buClr>
              <a:buSzPct val="60000"/>
              <a:defRPr sz="2000"/>
            </a:lvl2pPr>
            <a:lvl3pPr marL="342892" indent="-114297">
              <a:lnSpc>
                <a:spcPct val="100000"/>
              </a:lnSpc>
              <a:buClr>
                <a:schemeClr val="tx1"/>
              </a:buClr>
              <a:buSzPct val="60000"/>
              <a:defRPr sz="1800"/>
            </a:lvl3pPr>
            <a:lvl4pPr marL="457189" indent="-123822">
              <a:lnSpc>
                <a:spcPct val="100000"/>
              </a:lnSpc>
              <a:buClr>
                <a:schemeClr val="tx1"/>
              </a:buClr>
              <a:buSzPct val="60000"/>
              <a:defRPr sz="1600"/>
            </a:lvl4pPr>
            <a:lvl5pPr marL="574661" indent="-117472">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kern="1200" dirty="0" smtClean="0">
                <a:solidFill>
                  <a:schemeClr val="tx2"/>
                </a:solidFill>
                <a:latin typeface="+mn-lt"/>
                <a:ea typeface="ＭＳ Ｐゴシック" charset="0"/>
                <a:cs typeface="CiscoSans"/>
              </a:defRPr>
            </a:lvl1pPr>
            <a:lvl2pPr marL="228594" indent="-114297">
              <a:buClr>
                <a:schemeClr val="tx2"/>
              </a:buClr>
              <a:buSzPct val="60000"/>
              <a:defRPr sz="2000">
                <a:solidFill>
                  <a:schemeClr val="tx2"/>
                </a:solidFill>
              </a:defRPr>
            </a:lvl2pPr>
            <a:lvl3pPr marL="342892" indent="-114297">
              <a:buClr>
                <a:schemeClr val="tx2"/>
              </a:buClr>
              <a:buSzPct val="60000"/>
              <a:defRPr sz="1800">
                <a:solidFill>
                  <a:schemeClr val="tx2"/>
                </a:solidFill>
              </a:defRPr>
            </a:lvl3pPr>
            <a:lvl4pPr marL="457189" indent="-123822">
              <a:buClr>
                <a:schemeClr val="tx2"/>
              </a:buClr>
              <a:buSzPct val="60000"/>
              <a:defRPr sz="1600">
                <a:solidFill>
                  <a:schemeClr val="tx2"/>
                </a:solidFill>
              </a:defRPr>
            </a:lvl4pPr>
            <a:lvl5pPr marL="574661" indent="-117472">
              <a:buClr>
                <a:schemeClr val="tx2"/>
              </a:buClr>
              <a:buSzPct val="60000"/>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10828623"/>
      </p:ext>
    </p:extLst>
  </p:cSld>
  <p:clrMapOvr>
    <a:masterClrMapping/>
  </p:clrMapOvr>
  <p:extLst>
    <p:ext uri="{DCECCB84-F9BA-43D5-87BE-67443E8EF086}">
      <p15:sldGuideLst xmlns:p15="http://schemas.microsoft.com/office/powerpoint/2012/main">
        <p15:guide id="4" pos="200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13331"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p:nvSpPr>
        <p:spPr bwMode="ltGray">
          <a:xfrm>
            <a:off x="477680" y="4741655"/>
            <a:ext cx="2863168"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00345124"/>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5764"/>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4"/>
            <a:ext cx="3559175" cy="4059236"/>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635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017073557"/>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Full bleed photo">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22300523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8" name="Rectangle 4"/>
          <p:cNvSpPr>
            <a:spLocks noChangeArrowheads="1"/>
          </p:cNvSpPr>
          <p:nvPr/>
        </p:nvSpPr>
        <p:spPr bwMode="ltGray">
          <a:xfrm>
            <a:off x="477679" y="4741655"/>
            <a:ext cx="2946839"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139147324"/>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994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063002255"/>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477679" y="4741655"/>
            <a:ext cx="3179921"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51174862"/>
      </p:ext>
    </p:extLst>
  </p:cSld>
  <p:clrMapOvr>
    <a:masterClrMapping/>
  </p:clrMapOvr>
  <p:extLst>
    <p:ext uri="{DCECCB84-F9BA-43D5-87BE-67443E8EF086}">
      <p15:sldGuideLst xmlns:p15="http://schemas.microsoft.com/office/powerpoint/2012/main">
        <p15:guide id="3" orient="horz" pos="1647">
          <p15:clr>
            <a:srgbClr val="FBAE40"/>
          </p15:clr>
        </p15:guide>
        <p15:guide id="4" pos="2006">
          <p15:clr>
            <a:srgbClr val="FBAE40"/>
          </p15:clr>
        </p15:guide>
        <p15:guide id="7" pos="2405">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477679" y="4741654"/>
            <a:ext cx="3407027"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32674879"/>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7">
          <p15:clr>
            <a:srgbClr val="FBAE40"/>
          </p15:clr>
        </p15:guide>
        <p15:guide id="4" pos="2006">
          <p15:clr>
            <a:srgbClr val="FBAE40"/>
          </p15:clr>
        </p15:guide>
        <p15:guide id="7" pos="2405">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Freeform 6"/>
          <p:cNvSpPr>
            <a:spLocks noChangeAspect="1" noEditPoints="1"/>
          </p:cNvSpPr>
          <p:nvPr/>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Tree>
    <p:extLst>
      <p:ext uri="{BB962C8B-B14F-4D97-AF65-F5344CB8AC3E}">
        <p14:creationId xmlns:p14="http://schemas.microsoft.com/office/powerpoint/2010/main" val="31558392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18977-0C03-453D-BCF2-D4BE13749DA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989345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2_Title Slide RSA">
    <p:bg>
      <p:bgPr>
        <a:solidFill>
          <a:srgbClr val="005073"/>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68769"/>
            <a:ext cx="8296421" cy="288131"/>
          </a:xfrm>
          <a:prstGeom prst="rect">
            <a:avLst/>
          </a:prstGeom>
        </p:spPr>
        <p:txBody>
          <a:bodyPr lIns="91420" tIns="45710" rIns="91420" bIns="45710" anchor="b" anchorCtr="0">
            <a:noAutofit/>
          </a:bodyPr>
          <a:lstStyle>
            <a:lvl1pPr marL="0" indent="0" algn="l">
              <a:buNone/>
              <a:defRPr sz="1600" b="0" i="0">
                <a:solidFill>
                  <a:schemeClr val="bg2"/>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7" y="4108766"/>
            <a:ext cx="8296421" cy="288131"/>
          </a:xfrm>
          <a:prstGeom prst="rect">
            <a:avLst/>
          </a:prstGeom>
        </p:spPr>
        <p:txBody>
          <a:bodyPr lIns="91420" tIns="45710" rIns="91420" bIns="45710"/>
          <a:lstStyle>
            <a:lvl1pPr marL="0" indent="0" algn="l">
              <a:buFontTx/>
              <a:buNone/>
              <a:defRPr lang="en-US" sz="1600" b="0" i="0" kern="1200" dirty="0" smtClean="0">
                <a:solidFill>
                  <a:schemeClr val="bg2"/>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600" b="0" i="0" kern="1200" dirty="0" smtClean="0">
                <a:solidFill>
                  <a:schemeClr val="bg2"/>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3"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2"/>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rgbClr val="00BCEB"/>
                </a:solidFill>
                <a:latin typeface="+mj-lt"/>
                <a:cs typeface="CiscoSansTT ExtraLight"/>
              </a:defRPr>
            </a:lvl1pPr>
          </a:lstStyle>
          <a:p>
            <a:r>
              <a:rPr lang="en-GB"/>
              <a:t>Presentation Title Goes Here</a:t>
            </a:r>
            <a:endParaRPr lang="en-US"/>
          </a:p>
        </p:txBody>
      </p:sp>
    </p:spTree>
    <p:extLst>
      <p:ext uri="{BB962C8B-B14F-4D97-AF65-F5344CB8AC3E}">
        <p14:creationId xmlns:p14="http://schemas.microsoft.com/office/powerpoint/2010/main" val="2388981033"/>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theme" Target="../theme/theme3.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Tree>
  </p:cSld>
  <p:clrMap bg1="lt1" tx1="dk1" bg2="lt2" tx2="dk2" accent1="accent1" accent2="accent2" accent3="accent3" accent4="accent4" accent5="accent5" accent6="accent6" hlink="hlink" folHlink="folHlink"/>
  <p:sldLayoutIdLst>
    <p:sldLayoutId id="2147483874" r:id="rId1"/>
    <p:sldLayoutId id="2147484112" r:id="rId2"/>
    <p:sldLayoutId id="2147483876" r:id="rId3"/>
    <p:sldLayoutId id="2147484013" r:id="rId4"/>
    <p:sldLayoutId id="2147483982" r:id="rId5"/>
    <p:sldLayoutId id="2147484014" r:id="rId6"/>
    <p:sldLayoutId id="2147483978" r:id="rId7"/>
    <p:sldLayoutId id="2147483979" r:id="rId8"/>
    <p:sldLayoutId id="2147483980" r:id="rId9"/>
    <p:sldLayoutId id="2147483981" r:id="rId10"/>
    <p:sldLayoutId id="2147483879" r:id="rId11"/>
    <p:sldLayoutId id="2147483976" r:id="rId12"/>
    <p:sldLayoutId id="2147483885" r:id="rId13"/>
    <p:sldLayoutId id="2147484113" r:id="rId14"/>
    <p:sldLayoutId id="2147484244" r:id="rId15"/>
    <p:sldLayoutId id="2147484011" r:id="rId16"/>
    <p:sldLayoutId id="2147484246" r:id="rId17"/>
    <p:sldLayoutId id="2147484247" r:id="rId18"/>
    <p:sldLayoutId id="2147483985" r:id="rId19"/>
    <p:sldLayoutId id="2147483986" r:id="rId20"/>
    <p:sldLayoutId id="2147484012" r:id="rId21"/>
    <p:sldLayoutId id="2147483969" r:id="rId22"/>
    <p:sldLayoutId id="2147483968" r:id="rId23"/>
    <p:sldLayoutId id="2147483973" r:id="rId24"/>
    <p:sldLayoutId id="2147483967" r:id="rId25"/>
    <p:sldLayoutId id="2147483970" r:id="rId26"/>
    <p:sldLayoutId id="2147483987" r:id="rId27"/>
    <p:sldLayoutId id="2147483983" r:id="rId28"/>
    <p:sldLayoutId id="2147483971" r:id="rId29"/>
    <p:sldLayoutId id="2147483972" r:id="rId30"/>
    <p:sldLayoutId id="2147483897" r:id="rId31"/>
    <p:sldLayoutId id="2147484174" r:id="rId32"/>
    <p:sldLayoutId id="2147484245" r:id="rId33"/>
    <p:sldLayoutId id="2147484243" r:id="rId34"/>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userDrawn="1">
          <p15:clr>
            <a:srgbClr val="F26B43"/>
          </p15:clr>
        </p15:guide>
        <p15:guide id="2" pos="336" userDrawn="1">
          <p15:clr>
            <a:srgbClr val="F26B43"/>
          </p15:clr>
        </p15:guide>
        <p15:guide id="3" pos="5425"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Tree>
    <p:extLst>
      <p:ext uri="{BB962C8B-B14F-4D97-AF65-F5344CB8AC3E}">
        <p14:creationId xmlns:p14="http://schemas.microsoft.com/office/powerpoint/2010/main" val="4195320765"/>
      </p:ext>
    </p:extLst>
  </p:cSld>
  <p:clrMap bg1="lt1" tx1="dk1" bg2="lt2" tx2="dk2" accent1="accent1" accent2="accent2" accent3="accent3" accent4="accent4" accent5="accent5" accent6="accent6" hlink="hlink" folHlink="folHlink"/>
  <p:sldLayoutIdLst>
    <p:sldLayoutId id="2147484249" r:id="rId1"/>
    <p:sldLayoutId id="2147484250" r:id="rId2"/>
    <p:sldLayoutId id="2147484251" r:id="rId3"/>
    <p:sldLayoutId id="2147484252" r:id="rId4"/>
    <p:sldLayoutId id="2147484253" r:id="rId5"/>
    <p:sldLayoutId id="2147484254" r:id="rId6"/>
    <p:sldLayoutId id="2147484255" r:id="rId7"/>
    <p:sldLayoutId id="2147484256" r:id="rId8"/>
    <p:sldLayoutId id="2147484257" r:id="rId9"/>
    <p:sldLayoutId id="2147484258" r:id="rId10"/>
    <p:sldLayoutId id="2147484259" r:id="rId11"/>
    <p:sldLayoutId id="2147484260" r:id="rId12"/>
    <p:sldLayoutId id="2147484261" r:id="rId13"/>
    <p:sldLayoutId id="2147484262" r:id="rId14"/>
    <p:sldLayoutId id="2147484263" r:id="rId15"/>
    <p:sldLayoutId id="2147484264" r:id="rId16"/>
    <p:sldLayoutId id="2147484265" r:id="rId17"/>
    <p:sldLayoutId id="2147484266" r:id="rId18"/>
    <p:sldLayoutId id="2147484267" r:id="rId19"/>
    <p:sldLayoutId id="2147484268" r:id="rId20"/>
    <p:sldLayoutId id="2147484269" r:id="rId21"/>
    <p:sldLayoutId id="2147484270" r:id="rId22"/>
    <p:sldLayoutId id="2147484271" r:id="rId23"/>
    <p:sldLayoutId id="2147484272" r:id="rId24"/>
    <p:sldLayoutId id="2147484273" r:id="rId25"/>
    <p:sldLayoutId id="2147484274" r:id="rId26"/>
    <p:sldLayoutId id="2147484275" r:id="rId27"/>
    <p:sldLayoutId id="2147484276" r:id="rId28"/>
    <p:sldLayoutId id="2147484277" r:id="rId29"/>
    <p:sldLayoutId id="2147484278" r:id="rId30"/>
    <p:sldLayoutId id="2147484279" r:id="rId31"/>
    <p:sldLayoutId id="2147484280" r:id="rId32"/>
    <p:sldLayoutId id="2147484281" r:id="rId33"/>
    <p:sldLayoutId id="2147484282" r:id="rId34"/>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userDrawn="1">
          <p15:clr>
            <a:srgbClr val="F26B43"/>
          </p15:clr>
        </p15:guide>
        <p15:guide id="2" pos="336" userDrawn="1">
          <p15:clr>
            <a:srgbClr val="F26B43"/>
          </p15:clr>
        </p15:guide>
        <p15:guide id="3" pos="5425"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p:nvSpPr>
        <p:spPr bwMode="ltGray">
          <a:xfrm>
            <a:off x="477680" y="4741654"/>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bg2">
                    <a:lumMod val="65000"/>
                  </a:schemeClr>
                </a:solidFill>
                <a:latin typeface="+mn-lt"/>
                <a:ea typeface="+mn-ea"/>
                <a:cs typeface="CiscoSans Thin"/>
              </a:rPr>
              <a:t>© 2019  Cisco and/or its affiliates. All rights reserved.   Cisco Confidential</a:t>
            </a:r>
          </a:p>
        </p:txBody>
      </p:sp>
      <p:sp>
        <p:nvSpPr>
          <p:cNvPr id="4" name="ToolsToo_Slide" descr="ToolsToo_Slide">
            <a:extLst>
              <a:ext uri="{FF2B5EF4-FFF2-40B4-BE49-F238E27FC236}">
                <a16:creationId xmlns:a16="http://schemas.microsoft.com/office/drawing/2014/main" id="{6FDD8C79-3247-4F43-9561-F51AED9D01C3}"/>
              </a:ext>
            </a:extLst>
          </p:cNvPr>
          <p:cNvSpPr/>
          <p:nvPr userDrawn="1"/>
        </p:nvSpPr>
        <p:spPr>
          <a:xfrm>
            <a:off x="0" y="0"/>
            <a:ext cx="9144000" cy="51435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481092667"/>
      </p:ext>
    </p:extLst>
  </p:cSld>
  <p:clrMap bg1="lt1" tx1="dk1" bg2="lt2" tx2="dk2" accent1="accent1" accent2="accent2" accent3="accent3" accent4="accent4" accent5="accent5" accent6="accent6" hlink="hlink" folHlink="folHlink"/>
  <p:sldLayoutIdLst>
    <p:sldLayoutId id="2147484284" r:id="rId1"/>
    <p:sldLayoutId id="2147484285" r:id="rId2"/>
    <p:sldLayoutId id="2147484286" r:id="rId3"/>
    <p:sldLayoutId id="2147484287" r:id="rId4"/>
    <p:sldLayoutId id="2147484288" r:id="rId5"/>
    <p:sldLayoutId id="2147484289" r:id="rId6"/>
    <p:sldLayoutId id="2147484290" r:id="rId7"/>
    <p:sldLayoutId id="2147484291" r:id="rId8"/>
    <p:sldLayoutId id="2147484292" r:id="rId9"/>
    <p:sldLayoutId id="2147484293" r:id="rId10"/>
    <p:sldLayoutId id="2147484294" r:id="rId11"/>
    <p:sldLayoutId id="2147484295" r:id="rId12"/>
    <p:sldLayoutId id="2147484296" r:id="rId13"/>
    <p:sldLayoutId id="2147484297" r:id="rId14"/>
    <p:sldLayoutId id="2147484298" r:id="rId15"/>
    <p:sldLayoutId id="2147484299" r:id="rId16"/>
    <p:sldLayoutId id="2147484300" r:id="rId17"/>
    <p:sldLayoutId id="2147484301" r:id="rId18"/>
    <p:sldLayoutId id="2147484302" r:id="rId19"/>
    <p:sldLayoutId id="2147484303" r:id="rId20"/>
    <p:sldLayoutId id="2147484304" r:id="rId21"/>
    <p:sldLayoutId id="2147484305" r:id="rId22"/>
    <p:sldLayoutId id="2147484306" r:id="rId23"/>
    <p:sldLayoutId id="2147484307" r:id="rId24"/>
    <p:sldLayoutId id="2147484308" r:id="rId25"/>
    <p:sldLayoutId id="2147484309" r:id="rId26"/>
    <p:sldLayoutId id="2147484310" r:id="rId27"/>
    <p:sldLayoutId id="2147484311" r:id="rId28"/>
  </p:sldLayoutIdLst>
  <p:txStyles>
    <p:titleStyle>
      <a:lvl1pPr algn="l" defTabSz="684196" rtl="0" eaLnBrk="1" fontAlgn="base" hangingPunct="1">
        <a:lnSpc>
          <a:spcPct val="80000"/>
        </a:lnSpc>
        <a:spcBef>
          <a:spcPct val="0"/>
        </a:spcBef>
        <a:spcAft>
          <a:spcPct val="0"/>
        </a:spcAft>
        <a:defRPr lang="en-US" sz="21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2169">
          <p15:clr>
            <a:srgbClr val="F26B43"/>
          </p15:clr>
        </p15:guide>
        <p15:guide id="9" pos="252">
          <p15:clr>
            <a:srgbClr val="F26B43"/>
          </p15:clr>
        </p15:guide>
        <p15:guide id="10" pos="4086">
          <p15:clr>
            <a:srgbClr val="F26B43"/>
          </p15:clr>
        </p15:guide>
        <p15:guide id="11" orient="horz" pos="568">
          <p15:clr>
            <a:srgbClr val="F26B43"/>
          </p15:clr>
        </p15:guide>
        <p15:guide id="12" orient="horz" pos="251">
          <p15:clr>
            <a:srgbClr val="F26B43"/>
          </p15:clr>
        </p15:guide>
        <p15:guide id="13" pos="2157">
          <p15:clr>
            <a:srgbClr val="F26B43"/>
          </p15:clr>
        </p15:guide>
        <p15:guide id="14" orient="horz" pos="78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microsoft.com/office/2007/relationships/hdphoto" Target="../media/hdphoto8.wdp"/><Relationship Id="rId5" Type="http://schemas.openxmlformats.org/officeDocument/2006/relationships/image" Target="../media/image55.png"/><Relationship Id="rId4" Type="http://schemas.microsoft.com/office/2007/relationships/hdphoto" Target="../media/hdphoto7.wdp"/></Relationships>
</file>

<file path=ppt/slides/_rels/slide11.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7.png"/><Relationship Id="rId7" Type="http://schemas.microsoft.com/office/2007/relationships/hdphoto" Target="../media/hdphoto10.wdp"/><Relationship Id="rId2" Type="http://schemas.openxmlformats.org/officeDocument/2006/relationships/notesSlide" Target="../notesSlides/notesSlide11.xml"/><Relationship Id="rId1" Type="http://schemas.openxmlformats.org/officeDocument/2006/relationships/slideLayout" Target="../slideLayouts/slideLayout32.xml"/><Relationship Id="rId6" Type="http://schemas.openxmlformats.org/officeDocument/2006/relationships/image" Target="../media/image59.png"/><Relationship Id="rId5" Type="http://schemas.openxmlformats.org/officeDocument/2006/relationships/image" Target="../media/image58.png"/><Relationship Id="rId4" Type="http://schemas.microsoft.com/office/2007/relationships/hdphoto" Target="../media/hdphoto9.wdp"/><Relationship Id="rId9" Type="http://schemas.openxmlformats.org/officeDocument/2006/relationships/image" Target="../media/image61.png"/></Relationships>
</file>

<file path=ppt/slides/_rels/slide1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2.xml"/><Relationship Id="rId1" Type="http://schemas.openxmlformats.org/officeDocument/2006/relationships/slideLayout" Target="../slideLayouts/slideLayout3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1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14.xml"/><Relationship Id="rId1" Type="http://schemas.openxmlformats.org/officeDocument/2006/relationships/slideLayout" Target="../slideLayouts/slideLayout32.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 Id="rId9" Type="http://schemas.microsoft.com/office/2007/relationships/hdphoto" Target="../media/hdphoto11.wdp"/></Relationships>
</file>

<file path=ppt/slides/_rels/slide15.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3" Type="http://schemas.openxmlformats.org/officeDocument/2006/relationships/image" Target="../media/image6.png"/><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notesSlide" Target="../notesSlides/notesSlide15.xml"/><Relationship Id="rId1" Type="http://schemas.openxmlformats.org/officeDocument/2006/relationships/slideLayout" Target="../slideLayouts/slideLayout68.xml"/><Relationship Id="rId6" Type="http://schemas.microsoft.com/office/2007/relationships/hdphoto" Target="../media/hdphoto12.wdp"/><Relationship Id="rId11" Type="http://schemas.openxmlformats.org/officeDocument/2006/relationships/image" Target="../media/image79.png"/><Relationship Id="rId5" Type="http://schemas.openxmlformats.org/officeDocument/2006/relationships/image" Target="../media/image74.png"/><Relationship Id="rId10" Type="http://schemas.openxmlformats.org/officeDocument/2006/relationships/image" Target="../media/image78.png"/><Relationship Id="rId4" Type="http://schemas.openxmlformats.org/officeDocument/2006/relationships/image" Target="../media/image73.png"/><Relationship Id="rId9" Type="http://schemas.openxmlformats.org/officeDocument/2006/relationships/image" Target="../media/image77.png"/></Relationships>
</file>

<file path=ppt/slides/_rels/slide1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6.xml"/><Relationship Id="rId1" Type="http://schemas.openxmlformats.org/officeDocument/2006/relationships/slideLayout" Target="../slideLayouts/slideLayout17.xml"/><Relationship Id="rId5" Type="http://schemas.openxmlformats.org/officeDocument/2006/relationships/image" Target="../media/image84.png"/><Relationship Id="rId4" Type="http://schemas.openxmlformats.org/officeDocument/2006/relationships/image" Target="../media/image83.png"/></Relationships>
</file>

<file path=ppt/slides/_rels/slide1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8.xml"/><Relationship Id="rId1" Type="http://schemas.openxmlformats.org/officeDocument/2006/relationships/slideLayout" Target="../slideLayouts/slideLayout32.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19.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notesSlide" Target="../notesSlides/notesSlide19.xml"/><Relationship Id="rId1" Type="http://schemas.openxmlformats.org/officeDocument/2006/relationships/slideLayout" Target="../slideLayouts/slideLayout32.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4.png"/><Relationship Id="rId3" Type="http://schemas.openxmlformats.org/officeDocument/2006/relationships/image" Target="../media/image95.png"/><Relationship Id="rId7" Type="http://schemas.openxmlformats.org/officeDocument/2006/relationships/image" Target="../media/image99.png"/><Relationship Id="rId12" Type="http://schemas.microsoft.com/office/2007/relationships/hdphoto" Target="../media/hdphoto13.wdp"/><Relationship Id="rId2" Type="http://schemas.openxmlformats.org/officeDocument/2006/relationships/notesSlide" Target="../notesSlides/notesSlide20.xml"/><Relationship Id="rId1" Type="http://schemas.openxmlformats.org/officeDocument/2006/relationships/slideLayout" Target="../slideLayouts/slideLayout68.xml"/><Relationship Id="rId6" Type="http://schemas.openxmlformats.org/officeDocument/2006/relationships/image" Target="../media/image98.png"/><Relationship Id="rId11" Type="http://schemas.openxmlformats.org/officeDocument/2006/relationships/image" Target="../media/image103.png"/><Relationship Id="rId5" Type="http://schemas.openxmlformats.org/officeDocument/2006/relationships/image" Target="../media/image97.pn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2.xml"/><Relationship Id="rId1" Type="http://schemas.openxmlformats.org/officeDocument/2006/relationships/slideLayout" Target="../slideLayouts/slideLayout32.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svg"/></Relationships>
</file>

<file path=ppt/slides/_rels/slide23.xml.rels><?xml version="1.0" encoding="UTF-8" standalone="yes"?>
<Relationships xmlns="http://schemas.openxmlformats.org/package/2006/relationships"><Relationship Id="rId3" Type="http://schemas.openxmlformats.org/officeDocument/2006/relationships/image" Target="../media/image109.png"/><Relationship Id="rId7" Type="http://schemas.microsoft.com/office/2007/relationships/hdphoto" Target="../media/hdphoto15.wdp"/><Relationship Id="rId2" Type="http://schemas.openxmlformats.org/officeDocument/2006/relationships/notesSlide" Target="../notesSlides/notesSlide23.xml"/><Relationship Id="rId1" Type="http://schemas.openxmlformats.org/officeDocument/2006/relationships/slideLayout" Target="../slideLayouts/slideLayout18.xml"/><Relationship Id="rId6" Type="http://schemas.openxmlformats.org/officeDocument/2006/relationships/image" Target="../media/image111.png"/><Relationship Id="rId5" Type="http://schemas.microsoft.com/office/2007/relationships/hdphoto" Target="../media/hdphoto14.wdp"/><Relationship Id="rId4" Type="http://schemas.openxmlformats.org/officeDocument/2006/relationships/image" Target="../media/image110.png"/></Relationships>
</file>

<file path=ppt/slides/_rels/slide2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5.xml"/><Relationship Id="rId1" Type="http://schemas.openxmlformats.org/officeDocument/2006/relationships/slideLayout" Target="../slideLayouts/slideLayout17.xml"/><Relationship Id="rId5" Type="http://schemas.microsoft.com/office/2007/relationships/hdphoto" Target="../media/hdphoto16.wdp"/><Relationship Id="rId4" Type="http://schemas.openxmlformats.org/officeDocument/2006/relationships/image" Target="../media/image11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18" Type="http://schemas.openxmlformats.org/officeDocument/2006/relationships/image" Target="../media/image27.png"/><Relationship Id="rId3" Type="http://schemas.openxmlformats.org/officeDocument/2006/relationships/image" Target="../media/image14.png"/><Relationship Id="rId7" Type="http://schemas.openxmlformats.org/officeDocument/2006/relationships/image" Target="../media/image17.png"/><Relationship Id="rId12" Type="http://schemas.openxmlformats.org/officeDocument/2006/relationships/image" Target="../media/image22.png"/><Relationship Id="rId17" Type="http://schemas.openxmlformats.org/officeDocument/2006/relationships/image" Target="../media/image26.png"/><Relationship Id="rId2" Type="http://schemas.openxmlformats.org/officeDocument/2006/relationships/notesSlide" Target="../notesSlides/notesSlide3.xml"/><Relationship Id="rId16" Type="http://schemas.openxmlformats.org/officeDocument/2006/relationships/image" Target="../media/image25.png"/><Relationship Id="rId20" Type="http://schemas.openxmlformats.org/officeDocument/2006/relationships/image" Target="../media/image29.png"/><Relationship Id="rId1" Type="http://schemas.openxmlformats.org/officeDocument/2006/relationships/slideLayout" Target="../slideLayouts/slideLayout32.xml"/><Relationship Id="rId6" Type="http://schemas.microsoft.com/office/2007/relationships/hdphoto" Target="../media/hdphoto1.wdp"/><Relationship Id="rId11" Type="http://schemas.openxmlformats.org/officeDocument/2006/relationships/image" Target="../media/image21.png"/><Relationship Id="rId5" Type="http://schemas.openxmlformats.org/officeDocument/2006/relationships/image" Target="../media/image16.png"/><Relationship Id="rId15" Type="http://schemas.microsoft.com/office/2007/relationships/hdphoto" Target="../media/hdphoto2.wdp"/><Relationship Id="rId10" Type="http://schemas.openxmlformats.org/officeDocument/2006/relationships/image" Target="../media/image20.png"/><Relationship Id="rId19" Type="http://schemas.openxmlformats.org/officeDocument/2006/relationships/image" Target="../media/image28.png"/><Relationship Id="rId4" Type="http://schemas.openxmlformats.org/officeDocument/2006/relationships/image" Target="../media/image15.png"/><Relationship Id="rId9" Type="http://schemas.openxmlformats.org/officeDocument/2006/relationships/image" Target="../media/image19.png"/><Relationship Id="rId14" Type="http://schemas.openxmlformats.org/officeDocument/2006/relationships/image" Target="../media/image24.png"/></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32.png"/><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39.png"/><Relationship Id="rId3" Type="http://schemas.openxmlformats.org/officeDocument/2006/relationships/image" Target="../media/image33.png"/><Relationship Id="rId7" Type="http://schemas.microsoft.com/office/2007/relationships/hdphoto" Target="../media/hdphoto4.wdp"/><Relationship Id="rId12"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35.png"/><Relationship Id="rId11" Type="http://schemas.microsoft.com/office/2007/relationships/hdphoto" Target="../media/hdphoto6.wdp"/><Relationship Id="rId5" Type="http://schemas.microsoft.com/office/2007/relationships/hdphoto" Target="../media/hdphoto3.wdp"/><Relationship Id="rId10" Type="http://schemas.openxmlformats.org/officeDocument/2006/relationships/image" Target="../media/image37.png"/><Relationship Id="rId4" Type="http://schemas.openxmlformats.org/officeDocument/2006/relationships/image" Target="../media/image34.png"/><Relationship Id="rId9" Type="http://schemas.microsoft.com/office/2007/relationships/hdphoto" Target="../media/hdphoto5.wdp"/></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svg"/></Relationships>
</file>

<file path=ppt/slides/_rels/slide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68.xml"/><Relationship Id="rId6" Type="http://schemas.openxmlformats.org/officeDocument/2006/relationships/image" Target="../media/image48.png"/><Relationship Id="rId5" Type="http://schemas.openxmlformats.org/officeDocument/2006/relationships/image" Target="../media/image4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s>
</file>

<file path=ppt/slides/_rels/slide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3.png"/><Relationship Id="rId7" Type="http://schemas.microsoft.com/office/2007/relationships/hdphoto" Target="../media/hdphoto8.wdp"/><Relationship Id="rId2" Type="http://schemas.openxmlformats.org/officeDocument/2006/relationships/notesSlide" Target="../notesSlides/notesSlide9.xml"/><Relationship Id="rId1" Type="http://schemas.openxmlformats.org/officeDocument/2006/relationships/slideLayout" Target="../slideLayouts/slideLayout32.xml"/><Relationship Id="rId6" Type="http://schemas.openxmlformats.org/officeDocument/2006/relationships/image" Target="../media/image55.png"/><Relationship Id="rId5" Type="http://schemas.microsoft.com/office/2007/relationships/hdphoto" Target="../media/hdphoto7.wdp"/><Relationship Id="rId4" Type="http://schemas.openxmlformats.org/officeDocument/2006/relationships/image" Target="../media/image5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44C0D04-0958-48ED-9AD6-8842A2C8D495}"/>
              </a:ext>
            </a:extLst>
          </p:cNvPr>
          <p:cNvPicPr>
            <a:picLocks noChangeAspect="1"/>
          </p:cNvPicPr>
          <p:nvPr/>
        </p:nvPicPr>
        <p:blipFill>
          <a:blip r:embed="rId3"/>
          <a:stretch>
            <a:fillRect/>
          </a:stretch>
        </p:blipFill>
        <p:spPr>
          <a:xfrm>
            <a:off x="0" y="0"/>
            <a:ext cx="9144000" cy="5141596"/>
          </a:xfrm>
          <a:prstGeom prst="rect">
            <a:avLst/>
          </a:prstGeom>
        </p:spPr>
      </p:pic>
      <p:sp>
        <p:nvSpPr>
          <p:cNvPr id="10" name="Freeform 6">
            <a:extLst>
              <a:ext uri="{FF2B5EF4-FFF2-40B4-BE49-F238E27FC236}">
                <a16:creationId xmlns:a16="http://schemas.microsoft.com/office/drawing/2014/main" id="{4FC6C9AB-B28B-416F-BCF4-E784AB23447A}"/>
              </a:ext>
            </a:extLst>
          </p:cNvPr>
          <p:cNvSpPr>
            <a:spLocks noChangeAspect="1" noEditPoints="1"/>
          </p:cNvSpPr>
          <p:nvPr/>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1E4471"/>
              </a:solidFill>
              <a:effectLst/>
              <a:uLnTx/>
              <a:uFillTx/>
              <a:latin typeface="Arial" charset="0"/>
              <a:ea typeface="ＭＳ Ｐゴシック" charset="0"/>
            </a:endParaRPr>
          </a:p>
        </p:txBody>
      </p:sp>
      <p:sp>
        <p:nvSpPr>
          <p:cNvPr id="5" name="Text Placeholder 4">
            <a:extLst>
              <a:ext uri="{FF2B5EF4-FFF2-40B4-BE49-F238E27FC236}">
                <a16:creationId xmlns:a16="http://schemas.microsoft.com/office/drawing/2014/main" id="{A0804341-54AC-491E-BCBC-5D9CC66422DA}"/>
              </a:ext>
            </a:extLst>
          </p:cNvPr>
          <p:cNvSpPr>
            <a:spLocks noGrp="1"/>
          </p:cNvSpPr>
          <p:nvPr>
            <p:ph type="body" sz="quarter" idx="13"/>
          </p:nvPr>
        </p:nvSpPr>
        <p:spPr/>
        <p:txBody>
          <a:bodyPr/>
          <a:lstStyle/>
          <a:p>
            <a:r>
              <a:rPr lang="en-US"/>
              <a:t>Protecting what’s now and what’s next</a:t>
            </a:r>
          </a:p>
        </p:txBody>
      </p:sp>
      <p:sp>
        <p:nvSpPr>
          <p:cNvPr id="7" name="Title 6">
            <a:extLst>
              <a:ext uri="{FF2B5EF4-FFF2-40B4-BE49-F238E27FC236}">
                <a16:creationId xmlns:a16="http://schemas.microsoft.com/office/drawing/2014/main" id="{CAABDB29-6901-2643-874E-045E0F42AE5F}"/>
              </a:ext>
            </a:extLst>
          </p:cNvPr>
          <p:cNvSpPr>
            <a:spLocks noGrp="1"/>
          </p:cNvSpPr>
          <p:nvPr>
            <p:ph type="ctrTitle"/>
          </p:nvPr>
        </p:nvSpPr>
        <p:spPr/>
        <p:txBody>
          <a:bodyPr/>
          <a:lstStyle/>
          <a:p>
            <a:r>
              <a:rPr lang="en-US"/>
              <a:t>Cisco Security:</a:t>
            </a:r>
          </a:p>
        </p:txBody>
      </p:sp>
      <p:sp>
        <p:nvSpPr>
          <p:cNvPr id="11" name="Rectangle 4">
            <a:extLst>
              <a:ext uri="{FF2B5EF4-FFF2-40B4-BE49-F238E27FC236}">
                <a16:creationId xmlns:a16="http://schemas.microsoft.com/office/drawing/2014/main" id="{CAD93A6F-AD05-49A3-8C39-07D35DF74704}"/>
              </a:ext>
            </a:extLst>
          </p:cNvPr>
          <p:cNvSpPr>
            <a:spLocks noChangeArrowheads="1"/>
          </p:cNvSpPr>
          <p:nvPr/>
        </p:nvSpPr>
        <p:spPr bwMode="ltGray">
          <a:xfrm>
            <a:off x="6306744" y="4956233"/>
            <a:ext cx="2743200" cy="154518"/>
          </a:xfrm>
          <a:prstGeom prst="rect">
            <a:avLst/>
          </a:prstGeom>
          <a:noFill/>
          <a:ln w="9525">
            <a:noFill/>
            <a:miter lim="800000"/>
            <a:headEnd/>
            <a:tailEnd/>
          </a:ln>
          <a:effectLst/>
        </p:spPr>
        <p:txBody>
          <a:bodyPr wrap="square" lIns="61586" tIns="30792" rIns="61586" bIns="30792" anchor="b">
            <a:noAutofit/>
          </a:bodyPr>
          <a:lstStyle/>
          <a:p>
            <a:pPr marL="0" marR="0" lvl="0" indent="0" algn="l"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20" normalizeH="0" baseline="0" noProof="0">
                <a:ln>
                  <a:noFill/>
                </a:ln>
                <a:solidFill>
                  <a:srgbClr val="FFFFFF"/>
                </a:solidFill>
                <a:effectLst/>
                <a:uLnTx/>
                <a:uFillTx/>
                <a:latin typeface="CiscoSansTT ExtraLight"/>
                <a:ea typeface="ＭＳ Ｐゴシック" charset="0"/>
                <a:cs typeface="CiscoSans Thin"/>
              </a:rPr>
              <a:t>© 2019 Cisco and/or its affiliates. All rights reserved. Cisco Public.</a:t>
            </a:r>
          </a:p>
        </p:txBody>
      </p:sp>
    </p:spTree>
    <p:extLst>
      <p:ext uri="{BB962C8B-B14F-4D97-AF65-F5344CB8AC3E}">
        <p14:creationId xmlns:p14="http://schemas.microsoft.com/office/powerpoint/2010/main" val="485631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 name="Title 9">
            <a:extLst>
              <a:ext uri="{FF2B5EF4-FFF2-40B4-BE49-F238E27FC236}">
                <a16:creationId xmlns:a16="http://schemas.microsoft.com/office/drawing/2014/main" id="{325A02AE-602C-4935-80BB-7896D85D5B63}"/>
              </a:ext>
            </a:extLst>
          </p:cNvPr>
          <p:cNvSpPr txBox="1">
            <a:spLocks/>
          </p:cNvSpPr>
          <p:nvPr/>
        </p:nvSpPr>
        <p:spPr bwMode="auto">
          <a:xfrm>
            <a:off x="534492" y="2666078"/>
            <a:ext cx="3909901"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274D"/>
                </a:solidFill>
                <a:effectLst/>
                <a:uLnTx/>
                <a:uFillTx/>
                <a:latin typeface="CiscoSansTT ExtraLight"/>
              </a:rPr>
              <a:t>Reduce complexity with an integrated and open platform that </a:t>
            </a:r>
            <a:r>
              <a:rPr lang="en-US" sz="2000">
                <a:latin typeface="CiscoSansTT" panose="020B0503020201020303" pitchFamily="34" charset="0"/>
              </a:rPr>
              <a:t>strengthens</a:t>
            </a:r>
            <a:r>
              <a:rPr kumimoji="0" lang="en-US" sz="2000" b="0" i="0" u="none" strike="noStrike" kern="1200" cap="none" spc="0" normalizeH="0" baseline="0" noProof="0">
                <a:ln>
                  <a:noFill/>
                </a:ln>
                <a:solidFill>
                  <a:srgbClr val="0D274D"/>
                </a:solidFill>
                <a:effectLst/>
                <a:uLnTx/>
                <a:uFillTx/>
                <a:latin typeface="CiscoSansTT ExtraLight"/>
              </a:rPr>
              <a:t> operations, gets out of the way, and gives your team time back.</a:t>
            </a:r>
          </a:p>
        </p:txBody>
      </p:sp>
      <p:cxnSp>
        <p:nvCxnSpPr>
          <p:cNvPr id="239" name="Straight Connector 238">
            <a:extLst>
              <a:ext uri="{FF2B5EF4-FFF2-40B4-BE49-F238E27FC236}">
                <a16:creationId xmlns:a16="http://schemas.microsoft.com/office/drawing/2014/main" id="{32543380-428C-4FB0-A4FA-7BF318B8A493}"/>
              </a:ext>
            </a:extLst>
          </p:cNvPr>
          <p:cNvCxnSpPr>
            <a:cxnSpLocks/>
          </p:cNvCxnSpPr>
          <p:nvPr/>
        </p:nvCxnSpPr>
        <p:spPr>
          <a:xfrm flipH="1">
            <a:off x="534492" y="2656875"/>
            <a:ext cx="3931920" cy="0"/>
          </a:xfrm>
          <a:prstGeom prst="line">
            <a:avLst/>
          </a:prstGeom>
          <a:noFill/>
          <a:ln w="9525" cap="flat" cmpd="sng" algn="ctr">
            <a:solidFill>
              <a:srgbClr val="0D274D"/>
            </a:solidFill>
            <a:prstDash val="solid"/>
          </a:ln>
          <a:effectLst/>
        </p:spPr>
      </p:cxnSp>
      <p:sp>
        <p:nvSpPr>
          <p:cNvPr id="240" name="Title 9">
            <a:extLst>
              <a:ext uri="{FF2B5EF4-FFF2-40B4-BE49-F238E27FC236}">
                <a16:creationId xmlns:a16="http://schemas.microsoft.com/office/drawing/2014/main" id="{6290BF38-9A3B-4A59-97D7-3E92857EC25C}"/>
              </a:ext>
            </a:extLst>
          </p:cNvPr>
          <p:cNvSpPr txBox="1">
            <a:spLocks/>
          </p:cNvSpPr>
          <p:nvPr/>
        </p:nvSpPr>
        <p:spPr bwMode="auto">
          <a:xfrm>
            <a:off x="534492" y="2024327"/>
            <a:ext cx="2823883" cy="49244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a:ln>
                  <a:noFill/>
                </a:ln>
                <a:solidFill>
                  <a:srgbClr val="6CBF4F"/>
                </a:solidFill>
                <a:effectLst/>
                <a:uLnTx/>
                <a:uFillTx/>
                <a:latin typeface="CiscoSansTT" panose="020B0503020201020303" pitchFamily="34" charset="0"/>
              </a:rPr>
              <a:t>simplified</a:t>
            </a:r>
          </a:p>
        </p:txBody>
      </p:sp>
      <p:sp>
        <p:nvSpPr>
          <p:cNvPr id="241" name="Title 9">
            <a:extLst>
              <a:ext uri="{FF2B5EF4-FFF2-40B4-BE49-F238E27FC236}">
                <a16:creationId xmlns:a16="http://schemas.microsoft.com/office/drawing/2014/main" id="{3015F877-6175-40D3-9058-F8233F073DDB}"/>
              </a:ext>
            </a:extLst>
          </p:cNvPr>
          <p:cNvSpPr txBox="1">
            <a:spLocks/>
          </p:cNvSpPr>
          <p:nvPr/>
        </p:nvSpPr>
        <p:spPr bwMode="auto">
          <a:xfrm>
            <a:off x="534492" y="1692937"/>
            <a:ext cx="3228610" cy="49244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0BCEC"/>
                </a:solidFill>
                <a:effectLst/>
                <a:uLnTx/>
                <a:uFillTx/>
                <a:latin typeface="CiscoSansTT ExtraLight"/>
              </a:rPr>
              <a:t>Experience </a:t>
            </a:r>
            <a:endParaRPr kumimoji="0" lang="en-US" sz="3200" b="0" i="0" u="none" strike="noStrike" kern="1200" cap="none" spc="0" normalizeH="0" baseline="0" noProof="0">
              <a:ln>
                <a:noFill/>
              </a:ln>
              <a:solidFill>
                <a:srgbClr val="6CBF4F"/>
              </a:solidFill>
              <a:effectLst/>
              <a:uLnTx/>
              <a:uFillTx/>
              <a:latin typeface="CiscoSansTT ExtraLight"/>
            </a:endParaRPr>
          </a:p>
        </p:txBody>
      </p:sp>
      <p:grpSp>
        <p:nvGrpSpPr>
          <p:cNvPr id="44" name="Group 43">
            <a:extLst>
              <a:ext uri="{FF2B5EF4-FFF2-40B4-BE49-F238E27FC236}">
                <a16:creationId xmlns:a16="http://schemas.microsoft.com/office/drawing/2014/main" id="{49894BC3-1E15-4989-9C7C-84D9442F8EEB}"/>
              </a:ext>
            </a:extLst>
          </p:cNvPr>
          <p:cNvGrpSpPr/>
          <p:nvPr/>
        </p:nvGrpSpPr>
        <p:grpSpPr>
          <a:xfrm>
            <a:off x="4825393" y="840529"/>
            <a:ext cx="3979872" cy="3401399"/>
            <a:chOff x="4435926" y="840529"/>
            <a:chExt cx="3979872" cy="3401399"/>
          </a:xfrm>
        </p:grpSpPr>
        <p:grpSp>
          <p:nvGrpSpPr>
            <p:cNvPr id="45" name="Group 44">
              <a:extLst>
                <a:ext uri="{FF2B5EF4-FFF2-40B4-BE49-F238E27FC236}">
                  <a16:creationId xmlns:a16="http://schemas.microsoft.com/office/drawing/2014/main" id="{A1EC2559-38FA-49B3-9A6B-6522820EBE0C}"/>
                </a:ext>
              </a:extLst>
            </p:cNvPr>
            <p:cNvGrpSpPr/>
            <p:nvPr/>
          </p:nvGrpSpPr>
          <p:grpSpPr>
            <a:xfrm>
              <a:off x="7298194" y="1162708"/>
              <a:ext cx="1117604" cy="951985"/>
              <a:chOff x="6445248" y="2814638"/>
              <a:chExt cx="1447804" cy="1231900"/>
            </a:xfrm>
          </p:grpSpPr>
          <p:sp>
            <p:nvSpPr>
              <p:cNvPr id="101" name="Freeform 62">
                <a:extLst>
                  <a:ext uri="{FF2B5EF4-FFF2-40B4-BE49-F238E27FC236}">
                    <a16:creationId xmlns:a16="http://schemas.microsoft.com/office/drawing/2014/main" id="{FF5D65B9-AE6F-4787-9CAF-415CE8FA4CD2}"/>
                  </a:ext>
                </a:extLst>
              </p:cNvPr>
              <p:cNvSpPr>
                <a:spLocks/>
              </p:cNvSpPr>
              <p:nvPr/>
            </p:nvSpPr>
            <p:spPr bwMode="auto">
              <a:xfrm>
                <a:off x="6445250" y="2814638"/>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3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6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3"/>
                    </a:lnTo>
                    <a:lnTo>
                      <a:pt x="135" y="83"/>
                    </a:lnTo>
                    <a:lnTo>
                      <a:pt x="264" y="0"/>
                    </a:lnTo>
                    <a:lnTo>
                      <a:pt x="392" y="83"/>
                    </a:lnTo>
                    <a:lnTo>
                      <a:pt x="521" y="0"/>
                    </a:lnTo>
                    <a:lnTo>
                      <a:pt x="649" y="83"/>
                    </a:lnTo>
                    <a:lnTo>
                      <a:pt x="778" y="0"/>
                    </a:lnTo>
                    <a:lnTo>
                      <a:pt x="912" y="86"/>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3">
                <a:extLst>
                  <a:ext uri="{FF2B5EF4-FFF2-40B4-BE49-F238E27FC236}">
                    <a16:creationId xmlns:a16="http://schemas.microsoft.com/office/drawing/2014/main" id="{8161F3F9-14DF-489B-B5FF-7BF02A131451}"/>
                  </a:ext>
                </a:extLst>
              </p:cNvPr>
              <p:cNvSpPr>
                <a:spLocks/>
              </p:cNvSpPr>
              <p:nvPr/>
            </p:nvSpPr>
            <p:spPr bwMode="auto">
              <a:xfrm>
                <a:off x="6445250" y="2965450"/>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4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7 h 109"/>
                  <a:gd name="T24" fmla="*/ 900 w 912"/>
                  <a:gd name="T25" fmla="*/ 106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4"/>
                    </a:lnTo>
                    <a:lnTo>
                      <a:pt x="135" y="83"/>
                    </a:lnTo>
                    <a:lnTo>
                      <a:pt x="264" y="0"/>
                    </a:lnTo>
                    <a:lnTo>
                      <a:pt x="392" y="83"/>
                    </a:lnTo>
                    <a:lnTo>
                      <a:pt x="521" y="0"/>
                    </a:lnTo>
                    <a:lnTo>
                      <a:pt x="649" y="83"/>
                    </a:lnTo>
                    <a:lnTo>
                      <a:pt x="778" y="0"/>
                    </a:lnTo>
                    <a:lnTo>
                      <a:pt x="912" y="87"/>
                    </a:lnTo>
                    <a:lnTo>
                      <a:pt x="900" y="106"/>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64">
                <a:extLst>
                  <a:ext uri="{FF2B5EF4-FFF2-40B4-BE49-F238E27FC236}">
                    <a16:creationId xmlns:a16="http://schemas.microsoft.com/office/drawing/2014/main" id="{E674EED3-F0D4-49FE-A4FA-0395B4A8DA64}"/>
                  </a:ext>
                </a:extLst>
              </p:cNvPr>
              <p:cNvSpPr>
                <a:spLocks/>
              </p:cNvSpPr>
              <p:nvPr/>
            </p:nvSpPr>
            <p:spPr bwMode="auto">
              <a:xfrm>
                <a:off x="6445249" y="3116263"/>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4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7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4"/>
                    </a:lnTo>
                    <a:lnTo>
                      <a:pt x="135" y="83"/>
                    </a:lnTo>
                    <a:lnTo>
                      <a:pt x="264" y="0"/>
                    </a:lnTo>
                    <a:lnTo>
                      <a:pt x="392" y="83"/>
                    </a:lnTo>
                    <a:lnTo>
                      <a:pt x="521" y="0"/>
                    </a:lnTo>
                    <a:lnTo>
                      <a:pt x="649" y="83"/>
                    </a:lnTo>
                    <a:lnTo>
                      <a:pt x="778" y="0"/>
                    </a:lnTo>
                    <a:lnTo>
                      <a:pt x="912" y="87"/>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65">
                <a:extLst>
                  <a:ext uri="{FF2B5EF4-FFF2-40B4-BE49-F238E27FC236}">
                    <a16:creationId xmlns:a16="http://schemas.microsoft.com/office/drawing/2014/main" id="{0399C601-18D8-4BB8-9343-58A98A27CD95}"/>
                  </a:ext>
                </a:extLst>
              </p:cNvPr>
              <p:cNvSpPr>
                <a:spLocks/>
              </p:cNvSpPr>
              <p:nvPr/>
            </p:nvSpPr>
            <p:spPr bwMode="auto">
              <a:xfrm>
                <a:off x="6445248" y="3267075"/>
                <a:ext cx="1447800" cy="174625"/>
              </a:xfrm>
              <a:custGeom>
                <a:avLst/>
                <a:gdLst>
                  <a:gd name="T0" fmla="*/ 392 w 912"/>
                  <a:gd name="T1" fmla="*/ 110 h 110"/>
                  <a:gd name="T2" fmla="*/ 264 w 912"/>
                  <a:gd name="T3" fmla="*/ 27 h 110"/>
                  <a:gd name="T4" fmla="*/ 135 w 912"/>
                  <a:gd name="T5" fmla="*/ 110 h 110"/>
                  <a:gd name="T6" fmla="*/ 0 w 912"/>
                  <a:gd name="T7" fmla="*/ 23 h 110"/>
                  <a:gd name="T8" fmla="*/ 12 w 912"/>
                  <a:gd name="T9" fmla="*/ 4 h 110"/>
                  <a:gd name="T10" fmla="*/ 135 w 912"/>
                  <a:gd name="T11" fmla="*/ 83 h 110"/>
                  <a:gd name="T12" fmla="*/ 264 w 912"/>
                  <a:gd name="T13" fmla="*/ 0 h 110"/>
                  <a:gd name="T14" fmla="*/ 392 w 912"/>
                  <a:gd name="T15" fmla="*/ 83 h 110"/>
                  <a:gd name="T16" fmla="*/ 521 w 912"/>
                  <a:gd name="T17" fmla="*/ 0 h 110"/>
                  <a:gd name="T18" fmla="*/ 649 w 912"/>
                  <a:gd name="T19" fmla="*/ 83 h 110"/>
                  <a:gd name="T20" fmla="*/ 778 w 912"/>
                  <a:gd name="T21" fmla="*/ 0 h 110"/>
                  <a:gd name="T22" fmla="*/ 912 w 912"/>
                  <a:gd name="T23" fmla="*/ 87 h 110"/>
                  <a:gd name="T24" fmla="*/ 900 w 912"/>
                  <a:gd name="T25" fmla="*/ 106 h 110"/>
                  <a:gd name="T26" fmla="*/ 778 w 912"/>
                  <a:gd name="T27" fmla="*/ 27 h 110"/>
                  <a:gd name="T28" fmla="*/ 649 w 912"/>
                  <a:gd name="T29" fmla="*/ 110 h 110"/>
                  <a:gd name="T30" fmla="*/ 521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4" y="27"/>
                    </a:lnTo>
                    <a:lnTo>
                      <a:pt x="135" y="110"/>
                    </a:lnTo>
                    <a:lnTo>
                      <a:pt x="0" y="23"/>
                    </a:lnTo>
                    <a:lnTo>
                      <a:pt x="12" y="4"/>
                    </a:lnTo>
                    <a:lnTo>
                      <a:pt x="135" y="83"/>
                    </a:lnTo>
                    <a:lnTo>
                      <a:pt x="264" y="0"/>
                    </a:lnTo>
                    <a:lnTo>
                      <a:pt x="392" y="83"/>
                    </a:lnTo>
                    <a:lnTo>
                      <a:pt x="521" y="0"/>
                    </a:lnTo>
                    <a:lnTo>
                      <a:pt x="649" y="83"/>
                    </a:lnTo>
                    <a:lnTo>
                      <a:pt x="778" y="0"/>
                    </a:lnTo>
                    <a:lnTo>
                      <a:pt x="912" y="87"/>
                    </a:lnTo>
                    <a:lnTo>
                      <a:pt x="900" y="106"/>
                    </a:lnTo>
                    <a:lnTo>
                      <a:pt x="778" y="27"/>
                    </a:lnTo>
                    <a:lnTo>
                      <a:pt x="649" y="110"/>
                    </a:lnTo>
                    <a:lnTo>
                      <a:pt x="521" y="27"/>
                    </a:lnTo>
                    <a:lnTo>
                      <a:pt x="392" y="110"/>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66">
                <a:extLst>
                  <a:ext uri="{FF2B5EF4-FFF2-40B4-BE49-F238E27FC236}">
                    <a16:creationId xmlns:a16="http://schemas.microsoft.com/office/drawing/2014/main" id="{95429746-C577-434B-9A62-E79A4A242AD0}"/>
                  </a:ext>
                </a:extLst>
              </p:cNvPr>
              <p:cNvSpPr>
                <a:spLocks/>
              </p:cNvSpPr>
              <p:nvPr/>
            </p:nvSpPr>
            <p:spPr bwMode="auto">
              <a:xfrm>
                <a:off x="6445250" y="3419475"/>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3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6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3"/>
                    </a:lnTo>
                    <a:lnTo>
                      <a:pt x="135" y="83"/>
                    </a:lnTo>
                    <a:lnTo>
                      <a:pt x="264" y="0"/>
                    </a:lnTo>
                    <a:lnTo>
                      <a:pt x="392" y="83"/>
                    </a:lnTo>
                    <a:lnTo>
                      <a:pt x="521" y="0"/>
                    </a:lnTo>
                    <a:lnTo>
                      <a:pt x="649" y="83"/>
                    </a:lnTo>
                    <a:lnTo>
                      <a:pt x="778" y="0"/>
                    </a:lnTo>
                    <a:lnTo>
                      <a:pt x="912" y="86"/>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67">
                <a:extLst>
                  <a:ext uri="{FF2B5EF4-FFF2-40B4-BE49-F238E27FC236}">
                    <a16:creationId xmlns:a16="http://schemas.microsoft.com/office/drawing/2014/main" id="{2BDABDBB-2ABD-4B11-ADA3-CF500852A97D}"/>
                  </a:ext>
                </a:extLst>
              </p:cNvPr>
              <p:cNvSpPr>
                <a:spLocks/>
              </p:cNvSpPr>
              <p:nvPr/>
            </p:nvSpPr>
            <p:spPr bwMode="auto">
              <a:xfrm>
                <a:off x="6445250" y="3570288"/>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4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7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4"/>
                    </a:lnTo>
                    <a:lnTo>
                      <a:pt x="135" y="83"/>
                    </a:lnTo>
                    <a:lnTo>
                      <a:pt x="264" y="0"/>
                    </a:lnTo>
                    <a:lnTo>
                      <a:pt x="392" y="83"/>
                    </a:lnTo>
                    <a:lnTo>
                      <a:pt x="521" y="0"/>
                    </a:lnTo>
                    <a:lnTo>
                      <a:pt x="649" y="83"/>
                    </a:lnTo>
                    <a:lnTo>
                      <a:pt x="778" y="0"/>
                    </a:lnTo>
                    <a:lnTo>
                      <a:pt x="912" y="87"/>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68">
                <a:extLst>
                  <a:ext uri="{FF2B5EF4-FFF2-40B4-BE49-F238E27FC236}">
                    <a16:creationId xmlns:a16="http://schemas.microsoft.com/office/drawing/2014/main" id="{98E0A893-AF6D-49D4-B2ED-7DE0CECBED08}"/>
                  </a:ext>
                </a:extLst>
              </p:cNvPr>
              <p:cNvSpPr>
                <a:spLocks/>
              </p:cNvSpPr>
              <p:nvPr/>
            </p:nvSpPr>
            <p:spPr bwMode="auto">
              <a:xfrm>
                <a:off x="6445250" y="3721100"/>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4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7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4"/>
                    </a:lnTo>
                    <a:lnTo>
                      <a:pt x="135" y="83"/>
                    </a:lnTo>
                    <a:lnTo>
                      <a:pt x="264" y="0"/>
                    </a:lnTo>
                    <a:lnTo>
                      <a:pt x="392" y="83"/>
                    </a:lnTo>
                    <a:lnTo>
                      <a:pt x="521" y="0"/>
                    </a:lnTo>
                    <a:lnTo>
                      <a:pt x="649" y="83"/>
                    </a:lnTo>
                    <a:lnTo>
                      <a:pt x="778" y="0"/>
                    </a:lnTo>
                    <a:lnTo>
                      <a:pt x="912" y="87"/>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69">
                <a:extLst>
                  <a:ext uri="{FF2B5EF4-FFF2-40B4-BE49-F238E27FC236}">
                    <a16:creationId xmlns:a16="http://schemas.microsoft.com/office/drawing/2014/main" id="{FBEB23D6-570D-436A-B522-0E22715A57FB}"/>
                  </a:ext>
                </a:extLst>
              </p:cNvPr>
              <p:cNvSpPr>
                <a:spLocks/>
              </p:cNvSpPr>
              <p:nvPr/>
            </p:nvSpPr>
            <p:spPr bwMode="auto">
              <a:xfrm>
                <a:off x="6445252" y="3871913"/>
                <a:ext cx="1447800" cy="174625"/>
              </a:xfrm>
              <a:custGeom>
                <a:avLst/>
                <a:gdLst>
                  <a:gd name="T0" fmla="*/ 392 w 912"/>
                  <a:gd name="T1" fmla="*/ 110 h 110"/>
                  <a:gd name="T2" fmla="*/ 264 w 912"/>
                  <a:gd name="T3" fmla="*/ 27 h 110"/>
                  <a:gd name="T4" fmla="*/ 135 w 912"/>
                  <a:gd name="T5" fmla="*/ 110 h 110"/>
                  <a:gd name="T6" fmla="*/ 0 w 912"/>
                  <a:gd name="T7" fmla="*/ 23 h 110"/>
                  <a:gd name="T8" fmla="*/ 12 w 912"/>
                  <a:gd name="T9" fmla="*/ 4 h 110"/>
                  <a:gd name="T10" fmla="*/ 135 w 912"/>
                  <a:gd name="T11" fmla="*/ 83 h 110"/>
                  <a:gd name="T12" fmla="*/ 264 w 912"/>
                  <a:gd name="T13" fmla="*/ 0 h 110"/>
                  <a:gd name="T14" fmla="*/ 392 w 912"/>
                  <a:gd name="T15" fmla="*/ 83 h 110"/>
                  <a:gd name="T16" fmla="*/ 521 w 912"/>
                  <a:gd name="T17" fmla="*/ 0 h 110"/>
                  <a:gd name="T18" fmla="*/ 649 w 912"/>
                  <a:gd name="T19" fmla="*/ 83 h 110"/>
                  <a:gd name="T20" fmla="*/ 778 w 912"/>
                  <a:gd name="T21" fmla="*/ 0 h 110"/>
                  <a:gd name="T22" fmla="*/ 912 w 912"/>
                  <a:gd name="T23" fmla="*/ 87 h 110"/>
                  <a:gd name="T24" fmla="*/ 900 w 912"/>
                  <a:gd name="T25" fmla="*/ 106 h 110"/>
                  <a:gd name="T26" fmla="*/ 778 w 912"/>
                  <a:gd name="T27" fmla="*/ 27 h 110"/>
                  <a:gd name="T28" fmla="*/ 649 w 912"/>
                  <a:gd name="T29" fmla="*/ 110 h 110"/>
                  <a:gd name="T30" fmla="*/ 521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4" y="27"/>
                    </a:lnTo>
                    <a:lnTo>
                      <a:pt x="135" y="110"/>
                    </a:lnTo>
                    <a:lnTo>
                      <a:pt x="0" y="23"/>
                    </a:lnTo>
                    <a:lnTo>
                      <a:pt x="12" y="4"/>
                    </a:lnTo>
                    <a:lnTo>
                      <a:pt x="135" y="83"/>
                    </a:lnTo>
                    <a:lnTo>
                      <a:pt x="264" y="0"/>
                    </a:lnTo>
                    <a:lnTo>
                      <a:pt x="392" y="83"/>
                    </a:lnTo>
                    <a:lnTo>
                      <a:pt x="521" y="0"/>
                    </a:lnTo>
                    <a:lnTo>
                      <a:pt x="649" y="83"/>
                    </a:lnTo>
                    <a:lnTo>
                      <a:pt x="778" y="0"/>
                    </a:lnTo>
                    <a:lnTo>
                      <a:pt x="912" y="87"/>
                    </a:lnTo>
                    <a:lnTo>
                      <a:pt x="900" y="106"/>
                    </a:lnTo>
                    <a:lnTo>
                      <a:pt x="778" y="27"/>
                    </a:lnTo>
                    <a:lnTo>
                      <a:pt x="649" y="110"/>
                    </a:lnTo>
                    <a:lnTo>
                      <a:pt x="521" y="27"/>
                    </a:lnTo>
                    <a:lnTo>
                      <a:pt x="392" y="110"/>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8" name="Oval 47">
              <a:extLst>
                <a:ext uri="{FF2B5EF4-FFF2-40B4-BE49-F238E27FC236}">
                  <a16:creationId xmlns:a16="http://schemas.microsoft.com/office/drawing/2014/main" id="{027EC82A-B9E6-46AA-ADCF-436DEB16563E}"/>
                </a:ext>
              </a:extLst>
            </p:cNvPr>
            <p:cNvSpPr/>
            <p:nvPr/>
          </p:nvSpPr>
          <p:spPr>
            <a:xfrm>
              <a:off x="6238429" y="1050652"/>
              <a:ext cx="1431281" cy="1431281"/>
            </a:xfrm>
            <a:prstGeom prst="ellipse">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a:p>
          </p:txBody>
        </p:sp>
        <p:sp>
          <p:nvSpPr>
            <p:cNvPr id="52" name="Freeform: Shape 51">
              <a:extLst>
                <a:ext uri="{FF2B5EF4-FFF2-40B4-BE49-F238E27FC236}">
                  <a16:creationId xmlns:a16="http://schemas.microsoft.com/office/drawing/2014/main" id="{BB5D3D52-76BD-4A0B-8B30-CF5323E29BDC}"/>
                </a:ext>
              </a:extLst>
            </p:cNvPr>
            <p:cNvSpPr/>
            <p:nvPr/>
          </p:nvSpPr>
          <p:spPr>
            <a:xfrm>
              <a:off x="8056191" y="2308886"/>
              <a:ext cx="258133" cy="258132"/>
            </a:xfrm>
            <a:custGeom>
              <a:avLst/>
              <a:gdLst>
                <a:gd name="connsiteX0" fmla="*/ 225625 w 451250"/>
                <a:gd name="connsiteY0" fmla="*/ 451250 h 451249"/>
                <a:gd name="connsiteX1" fmla="*/ 0 w 451250"/>
                <a:gd name="connsiteY1" fmla="*/ 225625 h 451249"/>
                <a:gd name="connsiteX2" fmla="*/ 225625 w 451250"/>
                <a:gd name="connsiteY2" fmla="*/ 0 h 451249"/>
                <a:gd name="connsiteX3" fmla="*/ 451250 w 451250"/>
                <a:gd name="connsiteY3" fmla="*/ 225625 h 451249"/>
                <a:gd name="connsiteX4" fmla="*/ 225625 w 451250"/>
                <a:gd name="connsiteY4" fmla="*/ 451250 h 451249"/>
                <a:gd name="connsiteX5" fmla="*/ 225625 w 451250"/>
                <a:gd name="connsiteY5" fmla="*/ 36884 h 451249"/>
                <a:gd name="connsiteX6" fmla="*/ 36884 w 451250"/>
                <a:gd name="connsiteY6" fmla="*/ 225625 h 451249"/>
                <a:gd name="connsiteX7" fmla="*/ 225625 w 451250"/>
                <a:gd name="connsiteY7" fmla="*/ 414366 h 451249"/>
                <a:gd name="connsiteX8" fmla="*/ 414366 w 451250"/>
                <a:gd name="connsiteY8" fmla="*/ 225625 h 451249"/>
                <a:gd name="connsiteX9" fmla="*/ 225625 w 451250"/>
                <a:gd name="connsiteY9" fmla="*/ 36884 h 45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1250" h="451249">
                  <a:moveTo>
                    <a:pt x="225625" y="451250"/>
                  </a:moveTo>
                  <a:cubicBezTo>
                    <a:pt x="101220" y="451250"/>
                    <a:pt x="0" y="350030"/>
                    <a:pt x="0" y="225625"/>
                  </a:cubicBezTo>
                  <a:cubicBezTo>
                    <a:pt x="0" y="101220"/>
                    <a:pt x="101220" y="0"/>
                    <a:pt x="225625" y="0"/>
                  </a:cubicBezTo>
                  <a:cubicBezTo>
                    <a:pt x="350030" y="0"/>
                    <a:pt x="451250" y="101220"/>
                    <a:pt x="451250" y="225625"/>
                  </a:cubicBezTo>
                  <a:cubicBezTo>
                    <a:pt x="451250" y="350030"/>
                    <a:pt x="350030" y="451250"/>
                    <a:pt x="225625" y="451250"/>
                  </a:cubicBezTo>
                  <a:close/>
                  <a:moveTo>
                    <a:pt x="225625" y="36884"/>
                  </a:moveTo>
                  <a:cubicBezTo>
                    <a:pt x="121559" y="36884"/>
                    <a:pt x="36884" y="121559"/>
                    <a:pt x="36884" y="225625"/>
                  </a:cubicBezTo>
                  <a:cubicBezTo>
                    <a:pt x="36884" y="329691"/>
                    <a:pt x="121559" y="414366"/>
                    <a:pt x="225625" y="414366"/>
                  </a:cubicBezTo>
                  <a:cubicBezTo>
                    <a:pt x="329691" y="414366"/>
                    <a:pt x="414366" y="329691"/>
                    <a:pt x="414366" y="225625"/>
                  </a:cubicBezTo>
                  <a:cubicBezTo>
                    <a:pt x="414366" y="121559"/>
                    <a:pt x="329691" y="36884"/>
                    <a:pt x="225625" y="36884"/>
                  </a:cubicBezTo>
                  <a:close/>
                </a:path>
              </a:pathLst>
            </a:custGeom>
            <a:solidFill>
              <a:schemeClr val="accent1"/>
            </a:solidFill>
            <a:ln w="5266"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FFFFFF"/>
                </a:solidFill>
                <a:effectLst/>
                <a:uLnTx/>
                <a:uFillTx/>
                <a:latin typeface="CiscoSansTT ExtraLight"/>
                <a:ea typeface="+mn-ea"/>
                <a:cs typeface="+mn-cs"/>
              </a:endParaRPr>
            </a:p>
          </p:txBody>
        </p:sp>
        <p:grpSp>
          <p:nvGrpSpPr>
            <p:cNvPr id="54" name="Group 53">
              <a:extLst>
                <a:ext uri="{FF2B5EF4-FFF2-40B4-BE49-F238E27FC236}">
                  <a16:creationId xmlns:a16="http://schemas.microsoft.com/office/drawing/2014/main" id="{265B4156-9C2E-4EF8-8B9F-8667F364370F}"/>
                </a:ext>
              </a:extLst>
            </p:cNvPr>
            <p:cNvGrpSpPr/>
            <p:nvPr/>
          </p:nvGrpSpPr>
          <p:grpSpPr>
            <a:xfrm>
              <a:off x="5249052" y="2647677"/>
              <a:ext cx="1314451" cy="1141412"/>
              <a:chOff x="639763" y="2862263"/>
              <a:chExt cx="1314451" cy="1141412"/>
            </a:xfrm>
          </p:grpSpPr>
          <p:sp>
            <p:nvSpPr>
              <p:cNvPr id="82" name="Oval 170">
                <a:extLst>
                  <a:ext uri="{FF2B5EF4-FFF2-40B4-BE49-F238E27FC236}">
                    <a16:creationId xmlns:a16="http://schemas.microsoft.com/office/drawing/2014/main" id="{35F841A1-0833-46C4-9560-125639F09F53}"/>
                  </a:ext>
                </a:extLst>
              </p:cNvPr>
              <p:cNvSpPr>
                <a:spLocks noChangeArrowheads="1"/>
              </p:cNvSpPr>
              <p:nvPr/>
            </p:nvSpPr>
            <p:spPr bwMode="auto">
              <a:xfrm>
                <a:off x="639763" y="3646488"/>
                <a:ext cx="74613" cy="77788"/>
              </a:xfrm>
              <a:prstGeom prst="ellipse">
                <a:avLst/>
              </a:pr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171">
                <a:extLst>
                  <a:ext uri="{FF2B5EF4-FFF2-40B4-BE49-F238E27FC236}">
                    <a16:creationId xmlns:a16="http://schemas.microsoft.com/office/drawing/2014/main" id="{034CC4E8-F266-4B44-AD3C-2933C2DDEC7C}"/>
                  </a:ext>
                </a:extLst>
              </p:cNvPr>
              <p:cNvSpPr>
                <a:spLocks noChangeArrowheads="1"/>
              </p:cNvSpPr>
              <p:nvPr/>
            </p:nvSpPr>
            <p:spPr bwMode="auto">
              <a:xfrm>
                <a:off x="862013" y="3646488"/>
                <a:ext cx="73025" cy="77788"/>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Oval 172">
                <a:extLst>
                  <a:ext uri="{FF2B5EF4-FFF2-40B4-BE49-F238E27FC236}">
                    <a16:creationId xmlns:a16="http://schemas.microsoft.com/office/drawing/2014/main" id="{35139B83-2788-48D6-B575-7ACF0B2F1F37}"/>
                  </a:ext>
                </a:extLst>
              </p:cNvPr>
              <p:cNvSpPr>
                <a:spLocks noChangeArrowheads="1"/>
              </p:cNvSpPr>
              <p:nvPr/>
            </p:nvSpPr>
            <p:spPr bwMode="auto">
              <a:xfrm>
                <a:off x="1344613" y="3646488"/>
                <a:ext cx="74613" cy="7778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Oval 173">
                <a:extLst>
                  <a:ext uri="{FF2B5EF4-FFF2-40B4-BE49-F238E27FC236}">
                    <a16:creationId xmlns:a16="http://schemas.microsoft.com/office/drawing/2014/main" id="{D2BF82D9-5A77-41B7-B4CF-0E68E4F794D9}"/>
                  </a:ext>
                </a:extLst>
              </p:cNvPr>
              <p:cNvSpPr>
                <a:spLocks noChangeArrowheads="1"/>
              </p:cNvSpPr>
              <p:nvPr/>
            </p:nvSpPr>
            <p:spPr bwMode="auto">
              <a:xfrm>
                <a:off x="1344613" y="3398838"/>
                <a:ext cx="74613" cy="74613"/>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174">
                <a:extLst>
                  <a:ext uri="{FF2B5EF4-FFF2-40B4-BE49-F238E27FC236}">
                    <a16:creationId xmlns:a16="http://schemas.microsoft.com/office/drawing/2014/main" id="{B6A40779-D3BE-46EB-B919-43AC9EED9FBB}"/>
                  </a:ext>
                </a:extLst>
              </p:cNvPr>
              <p:cNvSpPr>
                <a:spLocks noChangeArrowheads="1"/>
              </p:cNvSpPr>
              <p:nvPr/>
            </p:nvSpPr>
            <p:spPr bwMode="auto">
              <a:xfrm>
                <a:off x="1585913" y="3138488"/>
                <a:ext cx="73025" cy="77788"/>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Oval 175">
                <a:extLst>
                  <a:ext uri="{FF2B5EF4-FFF2-40B4-BE49-F238E27FC236}">
                    <a16:creationId xmlns:a16="http://schemas.microsoft.com/office/drawing/2014/main" id="{5780867D-1563-46B3-BA0E-ABC6BCD79210}"/>
                  </a:ext>
                </a:extLst>
              </p:cNvPr>
              <p:cNvSpPr>
                <a:spLocks noChangeArrowheads="1"/>
              </p:cNvSpPr>
              <p:nvPr/>
            </p:nvSpPr>
            <p:spPr bwMode="auto">
              <a:xfrm>
                <a:off x="1585913" y="2890838"/>
                <a:ext cx="73025" cy="74613"/>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176">
                <a:extLst>
                  <a:ext uri="{FF2B5EF4-FFF2-40B4-BE49-F238E27FC236}">
                    <a16:creationId xmlns:a16="http://schemas.microsoft.com/office/drawing/2014/main" id="{6F72F275-D50F-4016-B48C-1262AE80657A}"/>
                  </a:ext>
                </a:extLst>
              </p:cNvPr>
              <p:cNvSpPr>
                <a:spLocks noChangeArrowheads="1"/>
              </p:cNvSpPr>
              <p:nvPr/>
            </p:nvSpPr>
            <p:spPr bwMode="auto">
              <a:xfrm>
                <a:off x="1851026" y="3144838"/>
                <a:ext cx="74613" cy="79375"/>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177">
                <a:extLst>
                  <a:ext uri="{FF2B5EF4-FFF2-40B4-BE49-F238E27FC236}">
                    <a16:creationId xmlns:a16="http://schemas.microsoft.com/office/drawing/2014/main" id="{09F4E645-E02E-4C1C-8096-15EA586B02D7}"/>
                  </a:ext>
                </a:extLst>
              </p:cNvPr>
              <p:cNvSpPr>
                <a:spLocks noChangeArrowheads="1"/>
              </p:cNvSpPr>
              <p:nvPr/>
            </p:nvSpPr>
            <p:spPr bwMode="auto">
              <a:xfrm>
                <a:off x="639763" y="3900488"/>
                <a:ext cx="74613" cy="74613"/>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Oval 178">
                <a:extLst>
                  <a:ext uri="{FF2B5EF4-FFF2-40B4-BE49-F238E27FC236}">
                    <a16:creationId xmlns:a16="http://schemas.microsoft.com/office/drawing/2014/main" id="{82E5C7EA-6552-459F-ABCC-BB189A1C387F}"/>
                  </a:ext>
                </a:extLst>
              </p:cNvPr>
              <p:cNvSpPr>
                <a:spLocks noChangeArrowheads="1"/>
              </p:cNvSpPr>
              <p:nvPr/>
            </p:nvSpPr>
            <p:spPr bwMode="auto">
              <a:xfrm>
                <a:off x="1344613" y="3900488"/>
                <a:ext cx="74613" cy="74613"/>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179">
                <a:extLst>
                  <a:ext uri="{FF2B5EF4-FFF2-40B4-BE49-F238E27FC236}">
                    <a16:creationId xmlns:a16="http://schemas.microsoft.com/office/drawing/2014/main" id="{45866EDD-BA53-4491-9355-B08C376EB32D}"/>
                  </a:ext>
                </a:extLst>
              </p:cNvPr>
              <p:cNvSpPr>
                <a:spLocks noChangeArrowheads="1"/>
              </p:cNvSpPr>
              <p:nvPr/>
            </p:nvSpPr>
            <p:spPr bwMode="auto">
              <a:xfrm>
                <a:off x="1585913" y="3900488"/>
                <a:ext cx="73025" cy="74613"/>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80">
                <a:extLst>
                  <a:ext uri="{FF2B5EF4-FFF2-40B4-BE49-F238E27FC236}">
                    <a16:creationId xmlns:a16="http://schemas.microsoft.com/office/drawing/2014/main" id="{95130E35-7122-47B1-B2A1-96FFAB9976C5}"/>
                  </a:ext>
                </a:extLst>
              </p:cNvPr>
              <p:cNvSpPr>
                <a:spLocks noEditPoints="1"/>
              </p:cNvSpPr>
              <p:nvPr/>
            </p:nvSpPr>
            <p:spPr bwMode="auto">
              <a:xfrm>
                <a:off x="1822451" y="3870325"/>
                <a:ext cx="131763"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81">
                <a:extLst>
                  <a:ext uri="{FF2B5EF4-FFF2-40B4-BE49-F238E27FC236}">
                    <a16:creationId xmlns:a16="http://schemas.microsoft.com/office/drawing/2014/main" id="{0778F5E9-A15C-4183-A19C-6B80D9F670BD}"/>
                  </a:ext>
                </a:extLst>
              </p:cNvPr>
              <p:cNvSpPr>
                <a:spLocks noEditPoints="1"/>
              </p:cNvSpPr>
              <p:nvPr/>
            </p:nvSpPr>
            <p:spPr bwMode="auto">
              <a:xfrm>
                <a:off x="1555751"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82">
                <a:extLst>
                  <a:ext uri="{FF2B5EF4-FFF2-40B4-BE49-F238E27FC236}">
                    <a16:creationId xmlns:a16="http://schemas.microsoft.com/office/drawing/2014/main" id="{5FAB46C4-A172-4EC2-B8B7-741E945D12C6}"/>
                  </a:ext>
                </a:extLst>
              </p:cNvPr>
              <p:cNvSpPr>
                <a:spLocks noEditPoints="1"/>
              </p:cNvSpPr>
              <p:nvPr/>
            </p:nvSpPr>
            <p:spPr bwMode="auto">
              <a:xfrm>
                <a:off x="1555751" y="3368675"/>
                <a:ext cx="133350" cy="134938"/>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83">
                <a:extLst>
                  <a:ext uri="{FF2B5EF4-FFF2-40B4-BE49-F238E27FC236}">
                    <a16:creationId xmlns:a16="http://schemas.microsoft.com/office/drawing/2014/main" id="{931E17C9-0694-470B-A9FF-42C6120B2C37}"/>
                  </a:ext>
                </a:extLst>
              </p:cNvPr>
              <p:cNvSpPr>
                <a:spLocks noEditPoints="1"/>
              </p:cNvSpPr>
              <p:nvPr/>
            </p:nvSpPr>
            <p:spPr bwMode="auto">
              <a:xfrm>
                <a:off x="1822451" y="3619500"/>
                <a:ext cx="131763"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84">
                <a:extLst>
                  <a:ext uri="{FF2B5EF4-FFF2-40B4-BE49-F238E27FC236}">
                    <a16:creationId xmlns:a16="http://schemas.microsoft.com/office/drawing/2014/main" id="{6EA11D07-CA2A-4E53-87B8-04F77923604E}"/>
                  </a:ext>
                </a:extLst>
              </p:cNvPr>
              <p:cNvSpPr>
                <a:spLocks noEditPoints="1"/>
              </p:cNvSpPr>
              <p:nvPr/>
            </p:nvSpPr>
            <p:spPr bwMode="auto">
              <a:xfrm>
                <a:off x="1071563"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85">
                <a:extLst>
                  <a:ext uri="{FF2B5EF4-FFF2-40B4-BE49-F238E27FC236}">
                    <a16:creationId xmlns:a16="http://schemas.microsoft.com/office/drawing/2014/main" id="{F1105DCA-AAAD-4EB9-8111-BC1B7A873D3A}"/>
                  </a:ext>
                </a:extLst>
              </p:cNvPr>
              <p:cNvSpPr>
                <a:spLocks noEditPoints="1"/>
              </p:cNvSpPr>
              <p:nvPr/>
            </p:nvSpPr>
            <p:spPr bwMode="auto">
              <a:xfrm>
                <a:off x="1316038" y="3119438"/>
                <a:ext cx="133350" cy="1301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86">
                <a:extLst>
                  <a:ext uri="{FF2B5EF4-FFF2-40B4-BE49-F238E27FC236}">
                    <a16:creationId xmlns:a16="http://schemas.microsoft.com/office/drawing/2014/main" id="{6D437130-9BC2-4CAF-8EBC-711A8D4903F0}"/>
                  </a:ext>
                </a:extLst>
              </p:cNvPr>
              <p:cNvSpPr>
                <a:spLocks noEditPoints="1"/>
              </p:cNvSpPr>
              <p:nvPr/>
            </p:nvSpPr>
            <p:spPr bwMode="auto">
              <a:xfrm>
                <a:off x="1316038"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87">
                <a:extLst>
                  <a:ext uri="{FF2B5EF4-FFF2-40B4-BE49-F238E27FC236}">
                    <a16:creationId xmlns:a16="http://schemas.microsoft.com/office/drawing/2014/main" id="{FCE3A9C4-E24B-4269-A4D0-0456BC3F2853}"/>
                  </a:ext>
                </a:extLst>
              </p:cNvPr>
              <p:cNvSpPr>
                <a:spLocks noEditPoints="1"/>
              </p:cNvSpPr>
              <p:nvPr/>
            </p:nvSpPr>
            <p:spPr bwMode="auto">
              <a:xfrm>
                <a:off x="1822451" y="2862263"/>
                <a:ext cx="131763"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188">
                <a:extLst>
                  <a:ext uri="{FF2B5EF4-FFF2-40B4-BE49-F238E27FC236}">
                    <a16:creationId xmlns:a16="http://schemas.microsoft.com/office/drawing/2014/main" id="{971AFF88-4816-4D87-9C83-8AFD73BA8B53}"/>
                  </a:ext>
                </a:extLst>
              </p:cNvPr>
              <p:cNvSpPr>
                <a:spLocks noEditPoints="1"/>
              </p:cNvSpPr>
              <p:nvPr/>
            </p:nvSpPr>
            <p:spPr bwMode="auto">
              <a:xfrm>
                <a:off x="1071563" y="3870325"/>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5" name="Freeform: Shape 54">
              <a:extLst>
                <a:ext uri="{FF2B5EF4-FFF2-40B4-BE49-F238E27FC236}">
                  <a16:creationId xmlns:a16="http://schemas.microsoft.com/office/drawing/2014/main" id="{69CD58B4-F0B4-4087-8E72-DFC9872CA2C2}"/>
                </a:ext>
              </a:extLst>
            </p:cNvPr>
            <p:cNvSpPr>
              <a:spLocks/>
            </p:cNvSpPr>
            <p:nvPr/>
          </p:nvSpPr>
          <p:spPr bwMode="auto">
            <a:xfrm>
              <a:off x="4435926" y="1783487"/>
              <a:ext cx="1647357" cy="1671336"/>
            </a:xfrm>
            <a:custGeom>
              <a:avLst/>
              <a:gdLst>
                <a:gd name="connsiteX0" fmla="*/ 578303 w 652975"/>
                <a:gd name="connsiteY0" fmla="*/ 527099 h 662481"/>
                <a:gd name="connsiteX1" fmla="*/ 584703 w 652975"/>
                <a:gd name="connsiteY1" fmla="*/ 527099 h 662481"/>
                <a:gd name="connsiteX2" fmla="*/ 584703 w 652975"/>
                <a:gd name="connsiteY2" fmla="*/ 533647 h 662481"/>
                <a:gd name="connsiteX3" fmla="*/ 527106 w 652975"/>
                <a:gd name="connsiteY3" fmla="*/ 592583 h 662481"/>
                <a:gd name="connsiteX4" fmla="*/ 520706 w 652975"/>
                <a:gd name="connsiteY4" fmla="*/ 592583 h 662481"/>
                <a:gd name="connsiteX5" fmla="*/ 520706 w 652975"/>
                <a:gd name="connsiteY5" fmla="*/ 586035 h 662481"/>
                <a:gd name="connsiteX6" fmla="*/ 578303 w 652975"/>
                <a:gd name="connsiteY6" fmla="*/ 527099 h 662481"/>
                <a:gd name="connsiteX7" fmla="*/ 627495 w 652975"/>
                <a:gd name="connsiteY7" fmla="*/ 433440 h 662481"/>
                <a:gd name="connsiteX8" fmla="*/ 633910 w 652975"/>
                <a:gd name="connsiteY8" fmla="*/ 433440 h 662481"/>
                <a:gd name="connsiteX9" fmla="*/ 633910 w 652975"/>
                <a:gd name="connsiteY9" fmla="*/ 440001 h 662481"/>
                <a:gd name="connsiteX10" fmla="*/ 435051 w 652975"/>
                <a:gd name="connsiteY10" fmla="*/ 643379 h 662481"/>
                <a:gd name="connsiteX11" fmla="*/ 428637 w 652975"/>
                <a:gd name="connsiteY11" fmla="*/ 643379 h 662481"/>
                <a:gd name="connsiteX12" fmla="*/ 428637 w 652975"/>
                <a:gd name="connsiteY12" fmla="*/ 636819 h 662481"/>
                <a:gd name="connsiteX13" fmla="*/ 627495 w 652975"/>
                <a:gd name="connsiteY13" fmla="*/ 433440 h 662481"/>
                <a:gd name="connsiteX14" fmla="*/ 641708 w 652975"/>
                <a:gd name="connsiteY14" fmla="*/ 374697 h 662481"/>
                <a:gd name="connsiteX15" fmla="*/ 648179 w 652975"/>
                <a:gd name="connsiteY15" fmla="*/ 374697 h 662481"/>
                <a:gd name="connsiteX16" fmla="*/ 648179 w 652975"/>
                <a:gd name="connsiteY16" fmla="*/ 383423 h 662481"/>
                <a:gd name="connsiteX17" fmla="*/ 378547 w 652975"/>
                <a:gd name="connsiteY17" fmla="*/ 656085 h 662481"/>
                <a:gd name="connsiteX18" fmla="*/ 369918 w 652975"/>
                <a:gd name="connsiteY18" fmla="*/ 656085 h 662481"/>
                <a:gd name="connsiteX19" fmla="*/ 369918 w 652975"/>
                <a:gd name="connsiteY19" fmla="*/ 649541 h 662481"/>
                <a:gd name="connsiteX20" fmla="*/ 641708 w 652975"/>
                <a:gd name="connsiteY20" fmla="*/ 374697 h 662481"/>
                <a:gd name="connsiteX21" fmla="*/ 644935 w 652975"/>
                <a:gd name="connsiteY21" fmla="*/ 328664 h 662481"/>
                <a:gd name="connsiteX22" fmla="*/ 651367 w 652975"/>
                <a:gd name="connsiteY22" fmla="*/ 328664 h 662481"/>
                <a:gd name="connsiteX23" fmla="*/ 651367 w 652975"/>
                <a:gd name="connsiteY23" fmla="*/ 335220 h 662481"/>
                <a:gd name="connsiteX24" fmla="*/ 331888 w 652975"/>
                <a:gd name="connsiteY24" fmla="*/ 660843 h 662481"/>
                <a:gd name="connsiteX25" fmla="*/ 325455 w 652975"/>
                <a:gd name="connsiteY25" fmla="*/ 660843 h 662481"/>
                <a:gd name="connsiteX26" fmla="*/ 325455 w 652975"/>
                <a:gd name="connsiteY26" fmla="*/ 654287 h 662481"/>
                <a:gd name="connsiteX27" fmla="*/ 644935 w 652975"/>
                <a:gd name="connsiteY27" fmla="*/ 328664 h 662481"/>
                <a:gd name="connsiteX28" fmla="*/ 643322 w 652975"/>
                <a:gd name="connsiteY28" fmla="*/ 287381 h 662481"/>
                <a:gd name="connsiteX29" fmla="*/ 649774 w 652975"/>
                <a:gd name="connsiteY29" fmla="*/ 287381 h 662481"/>
                <a:gd name="connsiteX30" fmla="*/ 649774 w 652975"/>
                <a:gd name="connsiteY30" fmla="*/ 293916 h 662481"/>
                <a:gd name="connsiteX31" fmla="*/ 290638 w 652975"/>
                <a:gd name="connsiteY31" fmla="*/ 657675 h 662481"/>
                <a:gd name="connsiteX32" fmla="*/ 284187 w 652975"/>
                <a:gd name="connsiteY32" fmla="*/ 657675 h 662481"/>
                <a:gd name="connsiteX33" fmla="*/ 284187 w 652975"/>
                <a:gd name="connsiteY33" fmla="*/ 651140 h 662481"/>
                <a:gd name="connsiteX34" fmla="*/ 643322 w 652975"/>
                <a:gd name="connsiteY34" fmla="*/ 287381 h 662481"/>
                <a:gd name="connsiteX35" fmla="*/ 636970 w 652975"/>
                <a:gd name="connsiteY35" fmla="*/ 250868 h 662481"/>
                <a:gd name="connsiteX36" fmla="*/ 643422 w 652975"/>
                <a:gd name="connsiteY36" fmla="*/ 250868 h 662481"/>
                <a:gd name="connsiteX37" fmla="*/ 643422 w 652975"/>
                <a:gd name="connsiteY37" fmla="*/ 257397 h 662481"/>
                <a:gd name="connsiteX38" fmla="*/ 254126 w 652975"/>
                <a:gd name="connsiteY38" fmla="*/ 651328 h 662481"/>
                <a:gd name="connsiteX39" fmla="*/ 247674 w 652975"/>
                <a:gd name="connsiteY39" fmla="*/ 651328 h 662481"/>
                <a:gd name="connsiteX40" fmla="*/ 247674 w 652975"/>
                <a:gd name="connsiteY40" fmla="*/ 644798 h 662481"/>
                <a:gd name="connsiteX41" fmla="*/ 636970 w 652975"/>
                <a:gd name="connsiteY41" fmla="*/ 250868 h 662481"/>
                <a:gd name="connsiteX42" fmla="*/ 625843 w 652975"/>
                <a:gd name="connsiteY42" fmla="*/ 217532 h 662481"/>
                <a:gd name="connsiteX43" fmla="*/ 632307 w 652975"/>
                <a:gd name="connsiteY43" fmla="*/ 217532 h 662481"/>
                <a:gd name="connsiteX44" fmla="*/ 632307 w 652975"/>
                <a:gd name="connsiteY44" fmla="*/ 224068 h 662481"/>
                <a:gd name="connsiteX45" fmla="*/ 220804 w 652975"/>
                <a:gd name="connsiteY45" fmla="*/ 640212 h 662481"/>
                <a:gd name="connsiteX46" fmla="*/ 214341 w 652975"/>
                <a:gd name="connsiteY46" fmla="*/ 640212 h 662481"/>
                <a:gd name="connsiteX47" fmla="*/ 214341 w 652975"/>
                <a:gd name="connsiteY47" fmla="*/ 633676 h 662481"/>
                <a:gd name="connsiteX48" fmla="*/ 625843 w 652975"/>
                <a:gd name="connsiteY48" fmla="*/ 217532 h 662481"/>
                <a:gd name="connsiteX49" fmla="*/ 613139 w 652975"/>
                <a:gd name="connsiteY49" fmla="*/ 187370 h 662481"/>
                <a:gd name="connsiteX50" fmla="*/ 619606 w 652975"/>
                <a:gd name="connsiteY50" fmla="*/ 187370 h 662481"/>
                <a:gd name="connsiteX51" fmla="*/ 619606 w 652975"/>
                <a:gd name="connsiteY51" fmla="*/ 193907 h 662481"/>
                <a:gd name="connsiteX52" fmla="*/ 190646 w 652975"/>
                <a:gd name="connsiteY52" fmla="*/ 627512 h 662481"/>
                <a:gd name="connsiteX53" fmla="*/ 184179 w 652975"/>
                <a:gd name="connsiteY53" fmla="*/ 627512 h 662481"/>
                <a:gd name="connsiteX54" fmla="*/ 184179 w 652975"/>
                <a:gd name="connsiteY54" fmla="*/ 620975 h 662481"/>
                <a:gd name="connsiteX55" fmla="*/ 613139 w 652975"/>
                <a:gd name="connsiteY55" fmla="*/ 187370 h 662481"/>
                <a:gd name="connsiteX56" fmla="*/ 598856 w 652975"/>
                <a:gd name="connsiteY56" fmla="*/ 158793 h 662481"/>
                <a:gd name="connsiteX57" fmla="*/ 605320 w 652975"/>
                <a:gd name="connsiteY57" fmla="*/ 158793 h 662481"/>
                <a:gd name="connsiteX58" fmla="*/ 605320 w 652975"/>
                <a:gd name="connsiteY58" fmla="*/ 165325 h 662481"/>
                <a:gd name="connsiteX59" fmla="*/ 163654 w 652975"/>
                <a:gd name="connsiteY59" fmla="*/ 611639 h 662481"/>
                <a:gd name="connsiteX60" fmla="*/ 157191 w 652975"/>
                <a:gd name="connsiteY60" fmla="*/ 611639 h 662481"/>
                <a:gd name="connsiteX61" fmla="*/ 157191 w 652975"/>
                <a:gd name="connsiteY61" fmla="*/ 605108 h 662481"/>
                <a:gd name="connsiteX62" fmla="*/ 598856 w 652975"/>
                <a:gd name="connsiteY62" fmla="*/ 158793 h 662481"/>
                <a:gd name="connsiteX63" fmla="*/ 581376 w 652975"/>
                <a:gd name="connsiteY63" fmla="*/ 133390 h 662481"/>
                <a:gd name="connsiteX64" fmla="*/ 587853 w 652975"/>
                <a:gd name="connsiteY64" fmla="*/ 133390 h 662481"/>
                <a:gd name="connsiteX65" fmla="*/ 587853 w 652975"/>
                <a:gd name="connsiteY65" fmla="*/ 139910 h 662481"/>
                <a:gd name="connsiteX66" fmla="*/ 136683 w 652975"/>
                <a:gd name="connsiteY66" fmla="*/ 594181 h 662481"/>
                <a:gd name="connsiteX67" fmla="*/ 130207 w 652975"/>
                <a:gd name="connsiteY67" fmla="*/ 594181 h 662481"/>
                <a:gd name="connsiteX68" fmla="*/ 130207 w 652975"/>
                <a:gd name="connsiteY68" fmla="*/ 587660 h 662481"/>
                <a:gd name="connsiteX69" fmla="*/ 581376 w 652975"/>
                <a:gd name="connsiteY69" fmla="*/ 133390 h 662481"/>
                <a:gd name="connsiteX70" fmla="*/ 560789 w 652975"/>
                <a:gd name="connsiteY70" fmla="*/ 109579 h 662481"/>
                <a:gd name="connsiteX71" fmla="*/ 567227 w 652975"/>
                <a:gd name="connsiteY71" fmla="*/ 109579 h 662481"/>
                <a:gd name="connsiteX72" fmla="*/ 567227 w 652975"/>
                <a:gd name="connsiteY72" fmla="*/ 116105 h 662481"/>
                <a:gd name="connsiteX73" fmla="*/ 114408 w 652975"/>
                <a:gd name="connsiteY73" fmla="*/ 575128 h 662481"/>
                <a:gd name="connsiteX74" fmla="*/ 107969 w 652975"/>
                <a:gd name="connsiteY74" fmla="*/ 575128 h 662481"/>
                <a:gd name="connsiteX75" fmla="*/ 107969 w 652975"/>
                <a:gd name="connsiteY75" fmla="*/ 568601 h 662481"/>
                <a:gd name="connsiteX76" fmla="*/ 560789 w 652975"/>
                <a:gd name="connsiteY76" fmla="*/ 109579 h 662481"/>
                <a:gd name="connsiteX77" fmla="*/ 540123 w 652975"/>
                <a:gd name="connsiteY77" fmla="*/ 87354 h 662481"/>
                <a:gd name="connsiteX78" fmla="*/ 546583 w 652975"/>
                <a:gd name="connsiteY78" fmla="*/ 87354 h 662481"/>
                <a:gd name="connsiteX79" fmla="*/ 546583 w 652975"/>
                <a:gd name="connsiteY79" fmla="*/ 93880 h 662481"/>
                <a:gd name="connsiteX80" fmla="*/ 92212 w 652975"/>
                <a:gd name="connsiteY80" fmla="*/ 552903 h 662481"/>
                <a:gd name="connsiteX81" fmla="*/ 85752 w 652975"/>
                <a:gd name="connsiteY81" fmla="*/ 552903 h 662481"/>
                <a:gd name="connsiteX82" fmla="*/ 85752 w 652975"/>
                <a:gd name="connsiteY82" fmla="*/ 546376 h 662481"/>
                <a:gd name="connsiteX83" fmla="*/ 540123 w 652975"/>
                <a:gd name="connsiteY83" fmla="*/ 87354 h 662481"/>
                <a:gd name="connsiteX84" fmla="*/ 127255 w 652975"/>
                <a:gd name="connsiteY84" fmla="*/ 69899 h 662481"/>
                <a:gd name="connsiteX85" fmla="*/ 133803 w 652975"/>
                <a:gd name="connsiteY85" fmla="*/ 69899 h 662481"/>
                <a:gd name="connsiteX86" fmla="*/ 133803 w 652975"/>
                <a:gd name="connsiteY86" fmla="*/ 76447 h 662481"/>
                <a:gd name="connsiteX87" fmla="*/ 74867 w 652975"/>
                <a:gd name="connsiteY87" fmla="*/ 135383 h 662481"/>
                <a:gd name="connsiteX88" fmla="*/ 68319 w 652975"/>
                <a:gd name="connsiteY88" fmla="*/ 135383 h 662481"/>
                <a:gd name="connsiteX89" fmla="*/ 68319 w 652975"/>
                <a:gd name="connsiteY89" fmla="*/ 128835 h 662481"/>
                <a:gd name="connsiteX90" fmla="*/ 127255 w 652975"/>
                <a:gd name="connsiteY90" fmla="*/ 69899 h 662481"/>
                <a:gd name="connsiteX91" fmla="*/ 516318 w 652975"/>
                <a:gd name="connsiteY91" fmla="*/ 68302 h 662481"/>
                <a:gd name="connsiteX92" fmla="*/ 522772 w 652975"/>
                <a:gd name="connsiteY92" fmla="*/ 68302 h 662481"/>
                <a:gd name="connsiteX93" fmla="*/ 522772 w 652975"/>
                <a:gd name="connsiteY93" fmla="*/ 74822 h 662481"/>
                <a:gd name="connsiteX94" fmla="*/ 73153 w 652975"/>
                <a:gd name="connsiteY94" fmla="*/ 529093 h 662481"/>
                <a:gd name="connsiteX95" fmla="*/ 66700 w 652975"/>
                <a:gd name="connsiteY95" fmla="*/ 529093 h 662481"/>
                <a:gd name="connsiteX96" fmla="*/ 66700 w 652975"/>
                <a:gd name="connsiteY96" fmla="*/ 522572 h 662481"/>
                <a:gd name="connsiteX97" fmla="*/ 516318 w 652975"/>
                <a:gd name="connsiteY97" fmla="*/ 68302 h 662481"/>
                <a:gd name="connsiteX98" fmla="*/ 490906 w 652975"/>
                <a:gd name="connsiteY98" fmla="*/ 50843 h 662481"/>
                <a:gd name="connsiteX99" fmla="*/ 497370 w 652975"/>
                <a:gd name="connsiteY99" fmla="*/ 50843 h 662481"/>
                <a:gd name="connsiteX100" fmla="*/ 497370 w 652975"/>
                <a:gd name="connsiteY100" fmla="*/ 57375 h 662481"/>
                <a:gd name="connsiteX101" fmla="*/ 55704 w 652975"/>
                <a:gd name="connsiteY101" fmla="*/ 503689 h 662481"/>
                <a:gd name="connsiteX102" fmla="*/ 49241 w 652975"/>
                <a:gd name="connsiteY102" fmla="*/ 503689 h 662481"/>
                <a:gd name="connsiteX103" fmla="*/ 49241 w 652975"/>
                <a:gd name="connsiteY103" fmla="*/ 497158 h 662481"/>
                <a:gd name="connsiteX104" fmla="*/ 490906 w 652975"/>
                <a:gd name="connsiteY104" fmla="*/ 50843 h 662481"/>
                <a:gd name="connsiteX105" fmla="*/ 462327 w 652975"/>
                <a:gd name="connsiteY105" fmla="*/ 34970 h 662481"/>
                <a:gd name="connsiteX106" fmla="*/ 468794 w 652975"/>
                <a:gd name="connsiteY106" fmla="*/ 34970 h 662481"/>
                <a:gd name="connsiteX107" fmla="*/ 468794 w 652975"/>
                <a:gd name="connsiteY107" fmla="*/ 41507 h 662481"/>
                <a:gd name="connsiteX108" fmla="*/ 39834 w 652975"/>
                <a:gd name="connsiteY108" fmla="*/ 475112 h 662481"/>
                <a:gd name="connsiteX109" fmla="*/ 33367 w 652975"/>
                <a:gd name="connsiteY109" fmla="*/ 475112 h 662481"/>
                <a:gd name="connsiteX110" fmla="*/ 33367 w 652975"/>
                <a:gd name="connsiteY110" fmla="*/ 468575 h 662481"/>
                <a:gd name="connsiteX111" fmla="*/ 462327 w 652975"/>
                <a:gd name="connsiteY111" fmla="*/ 34970 h 662481"/>
                <a:gd name="connsiteX112" fmla="*/ 432168 w 652975"/>
                <a:gd name="connsiteY112" fmla="*/ 22270 h 662481"/>
                <a:gd name="connsiteX113" fmla="*/ 438632 w 652975"/>
                <a:gd name="connsiteY113" fmla="*/ 22270 h 662481"/>
                <a:gd name="connsiteX114" fmla="*/ 438632 w 652975"/>
                <a:gd name="connsiteY114" fmla="*/ 28806 h 662481"/>
                <a:gd name="connsiteX115" fmla="*/ 27129 w 652975"/>
                <a:gd name="connsiteY115" fmla="*/ 444950 h 662481"/>
                <a:gd name="connsiteX116" fmla="*/ 20665 w 652975"/>
                <a:gd name="connsiteY116" fmla="*/ 444950 h 662481"/>
                <a:gd name="connsiteX117" fmla="*/ 20665 w 652975"/>
                <a:gd name="connsiteY117" fmla="*/ 438414 h 662481"/>
                <a:gd name="connsiteX118" fmla="*/ 432168 w 652975"/>
                <a:gd name="connsiteY118" fmla="*/ 22270 h 662481"/>
                <a:gd name="connsiteX119" fmla="*/ 219443 w 652975"/>
                <a:gd name="connsiteY119" fmla="*/ 19103 h 662481"/>
                <a:gd name="connsiteX120" fmla="*/ 225907 w 652975"/>
                <a:gd name="connsiteY120" fmla="*/ 19103 h 662481"/>
                <a:gd name="connsiteX121" fmla="*/ 225907 w 652975"/>
                <a:gd name="connsiteY121" fmla="*/ 25663 h 662481"/>
                <a:gd name="connsiteX122" fmla="*/ 25541 w 652975"/>
                <a:gd name="connsiteY122" fmla="*/ 229042 h 662481"/>
                <a:gd name="connsiteX123" fmla="*/ 19077 w 652975"/>
                <a:gd name="connsiteY123" fmla="*/ 229042 h 662481"/>
                <a:gd name="connsiteX124" fmla="*/ 19077 w 652975"/>
                <a:gd name="connsiteY124" fmla="*/ 222482 h 662481"/>
                <a:gd name="connsiteX125" fmla="*/ 219443 w 652975"/>
                <a:gd name="connsiteY125" fmla="*/ 19103 h 662481"/>
                <a:gd name="connsiteX126" fmla="*/ 400433 w 652975"/>
                <a:gd name="connsiteY126" fmla="*/ 11154 h 662481"/>
                <a:gd name="connsiteX127" fmla="*/ 406885 w 652975"/>
                <a:gd name="connsiteY127" fmla="*/ 11154 h 662481"/>
                <a:gd name="connsiteX128" fmla="*/ 406885 w 652975"/>
                <a:gd name="connsiteY128" fmla="*/ 17684 h 662481"/>
                <a:gd name="connsiteX129" fmla="*/ 17589 w 652975"/>
                <a:gd name="connsiteY129" fmla="*/ 411615 h 662481"/>
                <a:gd name="connsiteX130" fmla="*/ 11137 w 652975"/>
                <a:gd name="connsiteY130" fmla="*/ 411615 h 662481"/>
                <a:gd name="connsiteX131" fmla="*/ 11137 w 652975"/>
                <a:gd name="connsiteY131" fmla="*/ 405085 h 662481"/>
                <a:gd name="connsiteX132" fmla="*/ 400433 w 652975"/>
                <a:gd name="connsiteY132" fmla="*/ 11154 h 662481"/>
                <a:gd name="connsiteX133" fmla="*/ 274487 w 652975"/>
                <a:gd name="connsiteY133" fmla="*/ 6397 h 662481"/>
                <a:gd name="connsiteX134" fmla="*/ 283066 w 652975"/>
                <a:gd name="connsiteY134" fmla="*/ 6397 h 662481"/>
                <a:gd name="connsiteX135" fmla="*/ 283066 w 652975"/>
                <a:gd name="connsiteY135" fmla="*/ 12941 h 662481"/>
                <a:gd name="connsiteX136" fmla="*/ 12803 w 652975"/>
                <a:gd name="connsiteY136" fmla="*/ 287785 h 662481"/>
                <a:gd name="connsiteX137" fmla="*/ 6368 w 652975"/>
                <a:gd name="connsiteY137" fmla="*/ 287785 h 662481"/>
                <a:gd name="connsiteX138" fmla="*/ 6368 w 652975"/>
                <a:gd name="connsiteY138" fmla="*/ 279060 h 662481"/>
                <a:gd name="connsiteX139" fmla="*/ 274487 w 652975"/>
                <a:gd name="connsiteY139" fmla="*/ 6397 h 662481"/>
                <a:gd name="connsiteX140" fmla="*/ 363884 w 652975"/>
                <a:gd name="connsiteY140" fmla="*/ 4806 h 662481"/>
                <a:gd name="connsiteX141" fmla="*/ 370363 w 652975"/>
                <a:gd name="connsiteY141" fmla="*/ 4806 h 662481"/>
                <a:gd name="connsiteX142" fmla="*/ 370363 w 652975"/>
                <a:gd name="connsiteY142" fmla="*/ 11341 h 662481"/>
                <a:gd name="connsiteX143" fmla="*/ 9687 w 652975"/>
                <a:gd name="connsiteY143" fmla="*/ 375100 h 662481"/>
                <a:gd name="connsiteX144" fmla="*/ 3207 w 652975"/>
                <a:gd name="connsiteY144" fmla="*/ 375100 h 662481"/>
                <a:gd name="connsiteX145" fmla="*/ 3207 w 652975"/>
                <a:gd name="connsiteY145" fmla="*/ 368565 h 662481"/>
                <a:gd name="connsiteX146" fmla="*/ 363884 w 652975"/>
                <a:gd name="connsiteY146" fmla="*/ 4806 h 662481"/>
                <a:gd name="connsiteX147" fmla="*/ 322631 w 652975"/>
                <a:gd name="connsiteY147" fmla="*/ 1638 h 662481"/>
                <a:gd name="connsiteX148" fmla="*/ 329095 w 652975"/>
                <a:gd name="connsiteY148" fmla="*/ 1638 h 662481"/>
                <a:gd name="connsiteX149" fmla="*/ 329095 w 652975"/>
                <a:gd name="connsiteY149" fmla="*/ 8194 h 662481"/>
                <a:gd name="connsiteX150" fmla="*/ 8079 w 652975"/>
                <a:gd name="connsiteY150" fmla="*/ 333818 h 662481"/>
                <a:gd name="connsiteX151" fmla="*/ 1615 w 652975"/>
                <a:gd name="connsiteY151" fmla="*/ 333818 h 662481"/>
                <a:gd name="connsiteX152" fmla="*/ 1615 w 652975"/>
                <a:gd name="connsiteY152" fmla="*/ 327262 h 662481"/>
                <a:gd name="connsiteX153" fmla="*/ 322631 w 652975"/>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5"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95" y="433440"/>
                  </a:moveTo>
                  <a:cubicBezTo>
                    <a:pt x="629633" y="431253"/>
                    <a:pt x="631772" y="431253"/>
                    <a:pt x="633910" y="433440"/>
                  </a:cubicBezTo>
                  <a:cubicBezTo>
                    <a:pt x="636048" y="435627"/>
                    <a:pt x="636048" y="437814"/>
                    <a:pt x="633910" y="440001"/>
                  </a:cubicBezTo>
                  <a:cubicBezTo>
                    <a:pt x="633910" y="440001"/>
                    <a:pt x="633910" y="440001"/>
                    <a:pt x="435051" y="643379"/>
                  </a:cubicBezTo>
                  <a:cubicBezTo>
                    <a:pt x="432913" y="645566"/>
                    <a:pt x="430775" y="645566"/>
                    <a:pt x="428637" y="643379"/>
                  </a:cubicBezTo>
                  <a:cubicBezTo>
                    <a:pt x="426498" y="641192"/>
                    <a:pt x="426498" y="639006"/>
                    <a:pt x="428637" y="636819"/>
                  </a:cubicBezTo>
                  <a:cubicBezTo>
                    <a:pt x="428637" y="636819"/>
                    <a:pt x="428637" y="636819"/>
                    <a:pt x="627495" y="433440"/>
                  </a:cubicBezTo>
                  <a:close/>
                  <a:moveTo>
                    <a:pt x="641708" y="374697"/>
                  </a:moveTo>
                  <a:cubicBezTo>
                    <a:pt x="643865" y="372516"/>
                    <a:pt x="648179" y="372516"/>
                    <a:pt x="648179" y="374697"/>
                  </a:cubicBezTo>
                  <a:cubicBezTo>
                    <a:pt x="650336" y="376879"/>
                    <a:pt x="650336" y="381241"/>
                    <a:pt x="648179" y="383423"/>
                  </a:cubicBezTo>
                  <a:cubicBezTo>
                    <a:pt x="648179" y="383423"/>
                    <a:pt x="648179" y="383423"/>
                    <a:pt x="378547" y="656085"/>
                  </a:cubicBezTo>
                  <a:cubicBezTo>
                    <a:pt x="376389" y="658266"/>
                    <a:pt x="372075" y="658266"/>
                    <a:pt x="369918" y="656085"/>
                  </a:cubicBezTo>
                  <a:cubicBezTo>
                    <a:pt x="367761" y="656085"/>
                    <a:pt x="367761" y="651722"/>
                    <a:pt x="369918" y="649541"/>
                  </a:cubicBezTo>
                  <a:cubicBezTo>
                    <a:pt x="369918" y="649541"/>
                    <a:pt x="369918" y="649541"/>
                    <a:pt x="641708" y="374697"/>
                  </a:cubicBezTo>
                  <a:close/>
                  <a:moveTo>
                    <a:pt x="644935" y="328664"/>
                  </a:moveTo>
                  <a:cubicBezTo>
                    <a:pt x="647079" y="326478"/>
                    <a:pt x="649223" y="326478"/>
                    <a:pt x="651367" y="328664"/>
                  </a:cubicBezTo>
                  <a:cubicBezTo>
                    <a:pt x="653511" y="330849"/>
                    <a:pt x="653511" y="333034"/>
                    <a:pt x="651367" y="335220"/>
                  </a:cubicBezTo>
                  <a:cubicBezTo>
                    <a:pt x="651367" y="335220"/>
                    <a:pt x="651367" y="335220"/>
                    <a:pt x="331888" y="660843"/>
                  </a:cubicBezTo>
                  <a:cubicBezTo>
                    <a:pt x="329744" y="663028"/>
                    <a:pt x="327600" y="663028"/>
                    <a:pt x="325455" y="660843"/>
                  </a:cubicBezTo>
                  <a:cubicBezTo>
                    <a:pt x="323311" y="658657"/>
                    <a:pt x="323311" y="656472"/>
                    <a:pt x="325455" y="654287"/>
                  </a:cubicBezTo>
                  <a:cubicBezTo>
                    <a:pt x="325455" y="654287"/>
                    <a:pt x="325455" y="654287"/>
                    <a:pt x="644935" y="328664"/>
                  </a:cubicBezTo>
                  <a:close/>
                  <a:moveTo>
                    <a:pt x="643322" y="287381"/>
                  </a:moveTo>
                  <a:cubicBezTo>
                    <a:pt x="645473" y="285203"/>
                    <a:pt x="647623" y="285203"/>
                    <a:pt x="649774" y="287381"/>
                  </a:cubicBezTo>
                  <a:cubicBezTo>
                    <a:pt x="651924" y="289560"/>
                    <a:pt x="651924" y="291738"/>
                    <a:pt x="649774" y="293916"/>
                  </a:cubicBezTo>
                  <a:cubicBezTo>
                    <a:pt x="649774" y="293916"/>
                    <a:pt x="649774" y="293916"/>
                    <a:pt x="290638" y="657675"/>
                  </a:cubicBezTo>
                  <a:cubicBezTo>
                    <a:pt x="288488" y="659853"/>
                    <a:pt x="286337" y="659853"/>
                    <a:pt x="284187" y="657675"/>
                  </a:cubicBezTo>
                  <a:cubicBezTo>
                    <a:pt x="282036" y="655497"/>
                    <a:pt x="282036" y="653319"/>
                    <a:pt x="284187" y="651140"/>
                  </a:cubicBezTo>
                  <a:cubicBezTo>
                    <a:pt x="284187" y="651140"/>
                    <a:pt x="284187" y="651140"/>
                    <a:pt x="643322" y="287381"/>
                  </a:cubicBezTo>
                  <a:close/>
                  <a:moveTo>
                    <a:pt x="636970" y="250868"/>
                  </a:moveTo>
                  <a:cubicBezTo>
                    <a:pt x="639121" y="248691"/>
                    <a:pt x="641272" y="248691"/>
                    <a:pt x="643422" y="250868"/>
                  </a:cubicBezTo>
                  <a:cubicBezTo>
                    <a:pt x="645573" y="253044"/>
                    <a:pt x="645573" y="255220"/>
                    <a:pt x="643422" y="257397"/>
                  </a:cubicBezTo>
                  <a:cubicBezTo>
                    <a:pt x="643422" y="257397"/>
                    <a:pt x="643422" y="257397"/>
                    <a:pt x="254126" y="651328"/>
                  </a:cubicBezTo>
                  <a:cubicBezTo>
                    <a:pt x="251976" y="653504"/>
                    <a:pt x="249825" y="653504"/>
                    <a:pt x="247674" y="651328"/>
                  </a:cubicBezTo>
                  <a:cubicBezTo>
                    <a:pt x="245523" y="649151"/>
                    <a:pt x="245523" y="646975"/>
                    <a:pt x="247674" y="644798"/>
                  </a:cubicBezTo>
                  <a:cubicBezTo>
                    <a:pt x="247674" y="644798"/>
                    <a:pt x="247674" y="644798"/>
                    <a:pt x="636970"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8856" y="158793"/>
                  </a:moveTo>
                  <a:cubicBezTo>
                    <a:pt x="601011" y="156616"/>
                    <a:pt x="603165" y="156616"/>
                    <a:pt x="605320" y="158793"/>
                  </a:cubicBezTo>
                  <a:cubicBezTo>
                    <a:pt x="607474" y="160970"/>
                    <a:pt x="607474" y="163148"/>
                    <a:pt x="605320" y="165325"/>
                  </a:cubicBezTo>
                  <a:cubicBezTo>
                    <a:pt x="605320" y="165325"/>
                    <a:pt x="605320" y="165325"/>
                    <a:pt x="163654" y="611639"/>
                  </a:cubicBezTo>
                  <a:cubicBezTo>
                    <a:pt x="161500" y="613816"/>
                    <a:pt x="159345" y="613816"/>
                    <a:pt x="157191" y="611639"/>
                  </a:cubicBezTo>
                  <a:cubicBezTo>
                    <a:pt x="155036" y="609462"/>
                    <a:pt x="155036" y="607285"/>
                    <a:pt x="157191" y="605108"/>
                  </a:cubicBezTo>
                  <a:cubicBezTo>
                    <a:pt x="157191" y="605108"/>
                    <a:pt x="157191" y="605108"/>
                    <a:pt x="598856" y="158793"/>
                  </a:cubicBezTo>
                  <a:close/>
                  <a:moveTo>
                    <a:pt x="581376" y="133390"/>
                  </a:moveTo>
                  <a:cubicBezTo>
                    <a:pt x="583535" y="131216"/>
                    <a:pt x="585694" y="131216"/>
                    <a:pt x="587853" y="133390"/>
                  </a:cubicBezTo>
                  <a:cubicBezTo>
                    <a:pt x="590011" y="135563"/>
                    <a:pt x="590011" y="137737"/>
                    <a:pt x="587853" y="139910"/>
                  </a:cubicBezTo>
                  <a:cubicBezTo>
                    <a:pt x="587853" y="139910"/>
                    <a:pt x="587853" y="139910"/>
                    <a:pt x="136683" y="594181"/>
                  </a:cubicBezTo>
                  <a:cubicBezTo>
                    <a:pt x="134524" y="596354"/>
                    <a:pt x="132366" y="596354"/>
                    <a:pt x="130207" y="594181"/>
                  </a:cubicBezTo>
                  <a:cubicBezTo>
                    <a:pt x="128048" y="592007"/>
                    <a:pt x="128048" y="589834"/>
                    <a:pt x="130207" y="587660"/>
                  </a:cubicBezTo>
                  <a:cubicBezTo>
                    <a:pt x="130207" y="587660"/>
                    <a:pt x="130207" y="587660"/>
                    <a:pt x="581376" y="133390"/>
                  </a:cubicBezTo>
                  <a:close/>
                  <a:moveTo>
                    <a:pt x="560789" y="109579"/>
                  </a:moveTo>
                  <a:cubicBezTo>
                    <a:pt x="562935" y="107403"/>
                    <a:pt x="565081" y="107403"/>
                    <a:pt x="567227" y="109579"/>
                  </a:cubicBezTo>
                  <a:cubicBezTo>
                    <a:pt x="569373" y="111754"/>
                    <a:pt x="569373" y="113930"/>
                    <a:pt x="567227" y="116105"/>
                  </a:cubicBezTo>
                  <a:cubicBezTo>
                    <a:pt x="567227" y="116105"/>
                    <a:pt x="567227" y="116105"/>
                    <a:pt x="114408" y="575128"/>
                  </a:cubicBezTo>
                  <a:cubicBezTo>
                    <a:pt x="112261" y="577303"/>
                    <a:pt x="110115" y="577303"/>
                    <a:pt x="107969" y="575128"/>
                  </a:cubicBezTo>
                  <a:cubicBezTo>
                    <a:pt x="105823" y="572952"/>
                    <a:pt x="105823" y="570777"/>
                    <a:pt x="107969" y="568601"/>
                  </a:cubicBezTo>
                  <a:cubicBezTo>
                    <a:pt x="107969" y="568601"/>
                    <a:pt x="107969" y="568601"/>
                    <a:pt x="560789"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7255" y="69899"/>
                  </a:moveTo>
                  <a:cubicBezTo>
                    <a:pt x="129438" y="67716"/>
                    <a:pt x="131621" y="67716"/>
                    <a:pt x="133803" y="69899"/>
                  </a:cubicBezTo>
                  <a:cubicBezTo>
                    <a:pt x="135986" y="72082"/>
                    <a:pt x="135986" y="76447"/>
                    <a:pt x="133803" y="76447"/>
                  </a:cubicBezTo>
                  <a:cubicBezTo>
                    <a:pt x="133803" y="76447"/>
                    <a:pt x="133803" y="76447"/>
                    <a:pt x="74867" y="135383"/>
                  </a:cubicBezTo>
                  <a:cubicBezTo>
                    <a:pt x="74867" y="137566"/>
                    <a:pt x="70502" y="137566"/>
                    <a:pt x="68319" y="135383"/>
                  </a:cubicBezTo>
                  <a:cubicBezTo>
                    <a:pt x="66136" y="133201"/>
                    <a:pt x="66136" y="131018"/>
                    <a:pt x="68319" y="128835"/>
                  </a:cubicBezTo>
                  <a:cubicBezTo>
                    <a:pt x="68319" y="128835"/>
                    <a:pt x="68319" y="128835"/>
                    <a:pt x="127255" y="69899"/>
                  </a:cubicBezTo>
                  <a:close/>
                  <a:moveTo>
                    <a:pt x="516318" y="68302"/>
                  </a:moveTo>
                  <a:cubicBezTo>
                    <a:pt x="518469" y="66128"/>
                    <a:pt x="520621" y="66128"/>
                    <a:pt x="522772" y="68302"/>
                  </a:cubicBezTo>
                  <a:cubicBezTo>
                    <a:pt x="524923" y="70475"/>
                    <a:pt x="524923" y="72649"/>
                    <a:pt x="522772" y="74822"/>
                  </a:cubicBezTo>
                  <a:cubicBezTo>
                    <a:pt x="522772" y="74822"/>
                    <a:pt x="522772" y="74822"/>
                    <a:pt x="73153" y="529093"/>
                  </a:cubicBezTo>
                  <a:cubicBezTo>
                    <a:pt x="71002" y="531266"/>
                    <a:pt x="68851" y="531266"/>
                    <a:pt x="66700" y="529093"/>
                  </a:cubicBezTo>
                  <a:cubicBezTo>
                    <a:pt x="64548" y="526919"/>
                    <a:pt x="64548" y="524746"/>
                    <a:pt x="66700" y="522572"/>
                  </a:cubicBezTo>
                  <a:cubicBezTo>
                    <a:pt x="66700" y="522572"/>
                    <a:pt x="66700" y="522572"/>
                    <a:pt x="516318" y="68302"/>
                  </a:cubicBezTo>
                  <a:close/>
                  <a:moveTo>
                    <a:pt x="490906" y="50843"/>
                  </a:moveTo>
                  <a:cubicBezTo>
                    <a:pt x="493061" y="48666"/>
                    <a:pt x="495215" y="48666"/>
                    <a:pt x="497370" y="50843"/>
                  </a:cubicBezTo>
                  <a:cubicBezTo>
                    <a:pt x="499524" y="53020"/>
                    <a:pt x="499524" y="55198"/>
                    <a:pt x="497370" y="57375"/>
                  </a:cubicBezTo>
                  <a:cubicBezTo>
                    <a:pt x="497370" y="57375"/>
                    <a:pt x="497370" y="57375"/>
                    <a:pt x="55704" y="503689"/>
                  </a:cubicBezTo>
                  <a:cubicBezTo>
                    <a:pt x="53550" y="505866"/>
                    <a:pt x="51395" y="505866"/>
                    <a:pt x="49241" y="503689"/>
                  </a:cubicBezTo>
                  <a:cubicBezTo>
                    <a:pt x="47086" y="501512"/>
                    <a:pt x="47086" y="499335"/>
                    <a:pt x="49241" y="497158"/>
                  </a:cubicBezTo>
                  <a:cubicBezTo>
                    <a:pt x="49241" y="497158"/>
                    <a:pt x="49241" y="497158"/>
                    <a:pt x="490906"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4"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400433" y="11154"/>
                  </a:moveTo>
                  <a:cubicBezTo>
                    <a:pt x="402584" y="8978"/>
                    <a:pt x="404735" y="8978"/>
                    <a:pt x="406885" y="11154"/>
                  </a:cubicBezTo>
                  <a:cubicBezTo>
                    <a:pt x="409036" y="13331"/>
                    <a:pt x="409036" y="15507"/>
                    <a:pt x="406885" y="17684"/>
                  </a:cubicBezTo>
                  <a:cubicBezTo>
                    <a:pt x="406885" y="17684"/>
                    <a:pt x="406885" y="17684"/>
                    <a:pt x="17589" y="411615"/>
                  </a:cubicBezTo>
                  <a:cubicBezTo>
                    <a:pt x="15438" y="413791"/>
                    <a:pt x="13287" y="413791"/>
                    <a:pt x="11137" y="411615"/>
                  </a:cubicBezTo>
                  <a:cubicBezTo>
                    <a:pt x="8986" y="409438"/>
                    <a:pt x="8986" y="407262"/>
                    <a:pt x="11137" y="405085"/>
                  </a:cubicBezTo>
                  <a:cubicBezTo>
                    <a:pt x="11137" y="405085"/>
                    <a:pt x="11137" y="405085"/>
                    <a:pt x="400433"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3884" y="4806"/>
                  </a:moveTo>
                  <a:cubicBezTo>
                    <a:pt x="366044" y="2628"/>
                    <a:pt x="368204" y="2628"/>
                    <a:pt x="370363" y="4806"/>
                  </a:cubicBezTo>
                  <a:cubicBezTo>
                    <a:pt x="372523" y="6984"/>
                    <a:pt x="372523" y="9162"/>
                    <a:pt x="370363" y="11341"/>
                  </a:cubicBezTo>
                  <a:cubicBezTo>
                    <a:pt x="370363" y="11341"/>
                    <a:pt x="370363" y="11341"/>
                    <a:pt x="9687" y="375100"/>
                  </a:cubicBezTo>
                  <a:cubicBezTo>
                    <a:pt x="7527" y="377278"/>
                    <a:pt x="5367" y="377278"/>
                    <a:pt x="3207" y="375100"/>
                  </a:cubicBezTo>
                  <a:cubicBezTo>
                    <a:pt x="1048" y="372922"/>
                    <a:pt x="1048" y="370744"/>
                    <a:pt x="3207" y="368565"/>
                  </a:cubicBezTo>
                  <a:cubicBezTo>
                    <a:pt x="3207" y="368565"/>
                    <a:pt x="3207" y="368565"/>
                    <a:pt x="36388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pic>
          <p:nvPicPr>
            <p:cNvPr id="56" name="Picture 55" descr="A picture containing food&#10;&#10;Description automatically generated">
              <a:extLst>
                <a:ext uri="{FF2B5EF4-FFF2-40B4-BE49-F238E27FC236}">
                  <a16:creationId xmlns:a16="http://schemas.microsoft.com/office/drawing/2014/main" id="{4E4955FA-0A8C-4C14-8187-59A6D1CA4E61}"/>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0"/>
                      </a14:imgEffect>
                      <a14:imgEffect>
                        <a14:brightnessContrast bright="-6000"/>
                      </a14:imgEffect>
                    </a14:imgLayer>
                  </a14:imgProps>
                </a:ext>
                <a:ext uri="{28A0092B-C50C-407E-A947-70E740481C1C}">
                  <a14:useLocalDpi xmlns:a14="http://schemas.microsoft.com/office/drawing/2010/main"/>
                </a:ext>
              </a:extLst>
            </a:blip>
            <a:srcRect/>
            <a:stretch/>
          </p:blipFill>
          <p:spPr>
            <a:xfrm>
              <a:off x="4934163" y="911098"/>
              <a:ext cx="2633203" cy="2746282"/>
            </a:xfrm>
            <a:custGeom>
              <a:avLst/>
              <a:gdLst>
                <a:gd name="connsiteX0" fmla="*/ 1412522 w 2633203"/>
                <a:gd name="connsiteY0" fmla="*/ 0 h 2746282"/>
                <a:gd name="connsiteX1" fmla="*/ 1847991 w 2633203"/>
                <a:gd name="connsiteY1" fmla="*/ 0 h 2746282"/>
                <a:gd name="connsiteX2" fmla="*/ 1958810 w 2633203"/>
                <a:gd name="connsiteY2" fmla="*/ 16913 h 2746282"/>
                <a:gd name="connsiteX3" fmla="*/ 2541748 w 2633203"/>
                <a:gd name="connsiteY3" fmla="*/ 262214 h 2746282"/>
                <a:gd name="connsiteX4" fmla="*/ 2633203 w 2633203"/>
                <a:gd name="connsiteY4" fmla="*/ 330603 h 2746282"/>
                <a:gd name="connsiteX5" fmla="*/ 2633203 w 2633203"/>
                <a:gd name="connsiteY5" fmla="*/ 2746282 h 2746282"/>
                <a:gd name="connsiteX6" fmla="*/ 458831 w 2633203"/>
                <a:gd name="connsiteY6" fmla="*/ 2746282 h 2746282"/>
                <a:gd name="connsiteX7" fmla="*/ 372271 w 2633203"/>
                <a:gd name="connsiteY7" fmla="*/ 2651043 h 2746282"/>
                <a:gd name="connsiteX8" fmla="*/ 0 w 2633203"/>
                <a:gd name="connsiteY8" fmla="*/ 1614048 h 2746282"/>
                <a:gd name="connsiteX9" fmla="*/ 1301703 w 2633203"/>
                <a:gd name="connsiteY9" fmla="*/ 16913 h 2746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3203" h="2746282">
                  <a:moveTo>
                    <a:pt x="1412522" y="0"/>
                  </a:moveTo>
                  <a:lnTo>
                    <a:pt x="1847991" y="0"/>
                  </a:lnTo>
                  <a:lnTo>
                    <a:pt x="1958810" y="16913"/>
                  </a:lnTo>
                  <a:cubicBezTo>
                    <a:pt x="2171061" y="60346"/>
                    <a:pt x="2368288" y="145027"/>
                    <a:pt x="2541748" y="262214"/>
                  </a:cubicBezTo>
                  <a:lnTo>
                    <a:pt x="2633203" y="330603"/>
                  </a:lnTo>
                  <a:lnTo>
                    <a:pt x="2633203" y="2746282"/>
                  </a:lnTo>
                  <a:lnTo>
                    <a:pt x="458831" y="2746282"/>
                  </a:lnTo>
                  <a:lnTo>
                    <a:pt x="372271" y="2651043"/>
                  </a:lnTo>
                  <a:cubicBezTo>
                    <a:pt x="139706" y="2369238"/>
                    <a:pt x="0" y="2007958"/>
                    <a:pt x="0" y="1614048"/>
                  </a:cubicBezTo>
                  <a:cubicBezTo>
                    <a:pt x="0" y="826228"/>
                    <a:pt x="558822" y="168928"/>
                    <a:pt x="1301703" y="16913"/>
                  </a:cubicBezTo>
                  <a:close/>
                </a:path>
              </a:pathLst>
            </a:custGeom>
          </p:spPr>
        </p:pic>
        <p:sp>
          <p:nvSpPr>
            <p:cNvPr id="57" name="Arc 56">
              <a:extLst>
                <a:ext uri="{FF2B5EF4-FFF2-40B4-BE49-F238E27FC236}">
                  <a16:creationId xmlns:a16="http://schemas.microsoft.com/office/drawing/2014/main" id="{195C0A83-484C-404B-B5D4-CC40F09E1239}"/>
                </a:ext>
              </a:extLst>
            </p:cNvPr>
            <p:cNvSpPr/>
            <p:nvPr/>
          </p:nvSpPr>
          <p:spPr>
            <a:xfrm>
              <a:off x="4934163" y="901573"/>
              <a:ext cx="3260511" cy="3260511"/>
            </a:xfrm>
            <a:prstGeom prst="arc">
              <a:avLst>
                <a:gd name="adj1" fmla="val 64536"/>
                <a:gd name="adj2" fmla="val 15721895"/>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a:p>
          </p:txBody>
        </p:sp>
        <p:pic>
          <p:nvPicPr>
            <p:cNvPr id="58" name="Picture 57" descr="A picture containing food&#10;&#10;Description automatically generated">
              <a:extLst>
                <a:ext uri="{FF2B5EF4-FFF2-40B4-BE49-F238E27FC236}">
                  <a16:creationId xmlns:a16="http://schemas.microsoft.com/office/drawing/2014/main" id="{CB2B0321-74C7-4B4B-885D-3B276B876489}"/>
                </a:ext>
              </a:extLst>
            </p:cNvPr>
            <p:cNvPicPr>
              <a:picLocks noChangeAspect="1"/>
            </p:cNvPicPr>
            <p:nvPr/>
          </p:nvPicPr>
          <p:blipFill rotWithShape="1">
            <a:blip r:embed="rId5" cstate="screen">
              <a:duotone>
                <a:prstClr val="black"/>
                <a:schemeClr val="accent4">
                  <a:tint val="45000"/>
                  <a:satMod val="400000"/>
                </a:schemeClr>
              </a:duotone>
              <a:extLst>
                <a:ext uri="{BEBA8EAE-BF5A-486C-A8C5-ECC9F3942E4B}">
                  <a14:imgProps xmlns:a14="http://schemas.microsoft.com/office/drawing/2010/main">
                    <a14:imgLayer r:embed="rId6">
                      <a14:imgEffect>
                        <a14:brightnessContrast bright="-3000" contrast="10000"/>
                      </a14:imgEffect>
                    </a14:imgLayer>
                  </a14:imgProps>
                </a:ext>
                <a:ext uri="{28A0092B-C50C-407E-A947-70E740481C1C}">
                  <a14:useLocalDpi xmlns:a14="http://schemas.microsoft.com/office/drawing/2010/main"/>
                </a:ext>
              </a:extLst>
            </a:blip>
            <a:srcRect/>
            <a:stretch/>
          </p:blipFill>
          <p:spPr>
            <a:xfrm>
              <a:off x="6310965" y="1132556"/>
              <a:ext cx="1256401" cy="1328539"/>
            </a:xfrm>
            <a:custGeom>
              <a:avLst/>
              <a:gdLst>
                <a:gd name="connsiteX0" fmla="*/ 902154 w 1706336"/>
                <a:gd name="connsiteY0" fmla="*/ 0 h 1804308"/>
                <a:gd name="connsiteX1" fmla="*/ 1695423 w 1706336"/>
                <a:gd name="connsiteY1" fmla="*/ 472134 h 1804308"/>
                <a:gd name="connsiteX2" fmla="*/ 1706336 w 1706336"/>
                <a:gd name="connsiteY2" fmla="*/ 494788 h 1804308"/>
                <a:gd name="connsiteX3" fmla="*/ 1706336 w 1706336"/>
                <a:gd name="connsiteY3" fmla="*/ 1309520 h 1804308"/>
                <a:gd name="connsiteX4" fmla="*/ 1695423 w 1706336"/>
                <a:gd name="connsiteY4" fmla="*/ 1332174 h 1804308"/>
                <a:gd name="connsiteX5" fmla="*/ 902154 w 1706336"/>
                <a:gd name="connsiteY5" fmla="*/ 1804308 h 1804308"/>
                <a:gd name="connsiteX6" fmla="*/ 0 w 1706336"/>
                <a:gd name="connsiteY6" fmla="*/ 902154 h 1804308"/>
                <a:gd name="connsiteX7" fmla="*/ 902154 w 1706336"/>
                <a:gd name="connsiteY7" fmla="*/ 0 h 180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6336" h="1804308">
                  <a:moveTo>
                    <a:pt x="902154" y="0"/>
                  </a:moveTo>
                  <a:cubicBezTo>
                    <a:pt x="1244698" y="0"/>
                    <a:pt x="1542653" y="190910"/>
                    <a:pt x="1695423" y="472134"/>
                  </a:cubicBezTo>
                  <a:lnTo>
                    <a:pt x="1706336" y="494788"/>
                  </a:lnTo>
                  <a:lnTo>
                    <a:pt x="1706336" y="1309520"/>
                  </a:lnTo>
                  <a:lnTo>
                    <a:pt x="1695423" y="1332174"/>
                  </a:lnTo>
                  <a:cubicBezTo>
                    <a:pt x="1542653" y="1613399"/>
                    <a:pt x="1244698" y="1804308"/>
                    <a:pt x="902154" y="1804308"/>
                  </a:cubicBezTo>
                  <a:cubicBezTo>
                    <a:pt x="403908" y="1804308"/>
                    <a:pt x="0" y="1400400"/>
                    <a:pt x="0" y="902154"/>
                  </a:cubicBezTo>
                  <a:cubicBezTo>
                    <a:pt x="0" y="403908"/>
                    <a:pt x="403908" y="0"/>
                    <a:pt x="902154" y="0"/>
                  </a:cubicBezTo>
                  <a:close/>
                </a:path>
              </a:pathLst>
            </a:custGeom>
          </p:spPr>
        </p:pic>
        <p:grpSp>
          <p:nvGrpSpPr>
            <p:cNvPr id="59" name="Group 58">
              <a:extLst>
                <a:ext uri="{FF2B5EF4-FFF2-40B4-BE49-F238E27FC236}">
                  <a16:creationId xmlns:a16="http://schemas.microsoft.com/office/drawing/2014/main" id="{9D73FB6B-D121-4AEB-A94D-1D7A0929D95E}"/>
                </a:ext>
              </a:extLst>
            </p:cNvPr>
            <p:cNvGrpSpPr/>
            <p:nvPr/>
          </p:nvGrpSpPr>
          <p:grpSpPr>
            <a:xfrm>
              <a:off x="7569722" y="3336268"/>
              <a:ext cx="147488" cy="905660"/>
              <a:chOff x="7569722" y="3336268"/>
              <a:chExt cx="147488" cy="905660"/>
            </a:xfrm>
          </p:grpSpPr>
          <p:sp>
            <p:nvSpPr>
              <p:cNvPr id="79" name="Freeform: Shape 78">
                <a:extLst>
                  <a:ext uri="{FF2B5EF4-FFF2-40B4-BE49-F238E27FC236}">
                    <a16:creationId xmlns:a16="http://schemas.microsoft.com/office/drawing/2014/main" id="{8D0486F9-EB21-469B-B1FB-68FEA1ED4C4F}"/>
                  </a:ext>
                </a:extLst>
              </p:cNvPr>
              <p:cNvSpPr/>
              <p:nvPr/>
            </p:nvSpPr>
            <p:spPr>
              <a:xfrm rot="5400000">
                <a:off x="7568628" y="4093347"/>
                <a:ext cx="149675" cy="147488"/>
              </a:xfrm>
              <a:custGeom>
                <a:avLst/>
                <a:gdLst>
                  <a:gd name="connsiteX0" fmla="*/ 74838 w 149675"/>
                  <a:gd name="connsiteY0" fmla="*/ 0 h 147488"/>
                  <a:gd name="connsiteX1" fmla="*/ 149676 w 149675"/>
                  <a:gd name="connsiteY1" fmla="*/ 73744 h 147488"/>
                  <a:gd name="connsiteX2" fmla="*/ 74838 w 149675"/>
                  <a:gd name="connsiteY2" fmla="*/ 147489 h 147488"/>
                  <a:gd name="connsiteX3" fmla="*/ 0 w 149675"/>
                  <a:gd name="connsiteY3" fmla="*/ 73744 h 147488"/>
                  <a:gd name="connsiteX4" fmla="*/ 74838 w 149675"/>
                  <a:gd name="connsiteY4" fmla="*/ 0 h 147488"/>
                  <a:gd name="connsiteX5" fmla="*/ 74838 w 149675"/>
                  <a:gd name="connsiteY5" fmla="*/ 0 h 14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675" h="147488">
                    <a:moveTo>
                      <a:pt x="74838" y="0"/>
                    </a:moveTo>
                    <a:cubicBezTo>
                      <a:pt x="116156" y="0"/>
                      <a:pt x="149676" y="32997"/>
                      <a:pt x="149676" y="73744"/>
                    </a:cubicBezTo>
                    <a:cubicBezTo>
                      <a:pt x="149676" y="114492"/>
                      <a:pt x="116156" y="147489"/>
                      <a:pt x="74838" y="147489"/>
                    </a:cubicBezTo>
                    <a:cubicBezTo>
                      <a:pt x="33520" y="147489"/>
                      <a:pt x="0" y="114444"/>
                      <a:pt x="0" y="73744"/>
                    </a:cubicBezTo>
                    <a:cubicBezTo>
                      <a:pt x="0" y="33045"/>
                      <a:pt x="33520" y="0"/>
                      <a:pt x="74838" y="0"/>
                    </a:cubicBezTo>
                    <a:lnTo>
                      <a:pt x="74838" y="0"/>
                    </a:lnTo>
                    <a:close/>
                  </a:path>
                </a:pathLst>
              </a:custGeom>
              <a:solidFill>
                <a:srgbClr val="6ABF4A"/>
              </a:solidFill>
              <a:ln w="4749"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FACA0819-69C6-42CD-A84B-10D8290E8C3F}"/>
                  </a:ext>
                </a:extLst>
              </p:cNvPr>
              <p:cNvSpPr/>
              <p:nvPr/>
            </p:nvSpPr>
            <p:spPr>
              <a:xfrm rot="5400000">
                <a:off x="7210794" y="3728525"/>
                <a:ext cx="865342" cy="80828"/>
              </a:xfrm>
              <a:custGeom>
                <a:avLst/>
                <a:gdLst>
                  <a:gd name="connsiteX0" fmla="*/ 40414 w 865342"/>
                  <a:gd name="connsiteY0" fmla="*/ 0 h 80828"/>
                  <a:gd name="connsiteX1" fmla="*/ 824928 w 865342"/>
                  <a:gd name="connsiteY1" fmla="*/ 0 h 80828"/>
                  <a:gd name="connsiteX2" fmla="*/ 865343 w 865342"/>
                  <a:gd name="connsiteY2" fmla="*/ 40414 h 80828"/>
                  <a:gd name="connsiteX3" fmla="*/ 824928 w 865342"/>
                  <a:gd name="connsiteY3" fmla="*/ 80829 h 80828"/>
                  <a:gd name="connsiteX4" fmla="*/ 40414 w 865342"/>
                  <a:gd name="connsiteY4" fmla="*/ 80829 h 80828"/>
                  <a:gd name="connsiteX5" fmla="*/ 0 w 865342"/>
                  <a:gd name="connsiteY5" fmla="*/ 40414 h 80828"/>
                  <a:gd name="connsiteX6" fmla="*/ 40414 w 865342"/>
                  <a:gd name="connsiteY6" fmla="*/ 0 h 80828"/>
                  <a:gd name="connsiteX7" fmla="*/ 40414 w 865342"/>
                  <a:gd name="connsiteY7" fmla="*/ 0 h 8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5342" h="80828">
                    <a:moveTo>
                      <a:pt x="40414" y="0"/>
                    </a:moveTo>
                    <a:lnTo>
                      <a:pt x="824928" y="0"/>
                    </a:lnTo>
                    <a:cubicBezTo>
                      <a:pt x="847275" y="0"/>
                      <a:pt x="865343" y="18115"/>
                      <a:pt x="865343" y="40414"/>
                    </a:cubicBezTo>
                    <a:cubicBezTo>
                      <a:pt x="865343" y="62761"/>
                      <a:pt x="847275" y="80829"/>
                      <a:pt x="824928" y="80829"/>
                    </a:cubicBezTo>
                    <a:lnTo>
                      <a:pt x="40414" y="80829"/>
                    </a:lnTo>
                    <a:cubicBezTo>
                      <a:pt x="18068" y="80829"/>
                      <a:pt x="0" y="62714"/>
                      <a:pt x="0" y="40414"/>
                    </a:cubicBezTo>
                    <a:cubicBezTo>
                      <a:pt x="0" y="18115"/>
                      <a:pt x="18115" y="0"/>
                      <a:pt x="40414" y="0"/>
                    </a:cubicBezTo>
                    <a:lnTo>
                      <a:pt x="40414" y="0"/>
                    </a:lnTo>
                    <a:close/>
                  </a:path>
                </a:pathLst>
              </a:custGeom>
              <a:solidFill>
                <a:srgbClr val="0BBCEA"/>
              </a:solidFill>
              <a:ln w="4749"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7866ACE7-23C0-427B-BD02-8704401A59D9}"/>
                  </a:ext>
                </a:extLst>
              </p:cNvPr>
              <p:cNvSpPr/>
              <p:nvPr/>
            </p:nvSpPr>
            <p:spPr>
              <a:xfrm rot="5400000">
                <a:off x="7588787" y="4106519"/>
                <a:ext cx="109358" cy="80829"/>
              </a:xfrm>
              <a:custGeom>
                <a:avLst/>
                <a:gdLst>
                  <a:gd name="connsiteX0" fmla="*/ 0 w 109358"/>
                  <a:gd name="connsiteY0" fmla="*/ 40413 h 80829"/>
                  <a:gd name="connsiteX1" fmla="*/ 5883 w 109358"/>
                  <a:gd name="connsiteY1" fmla="*/ 11721 h 80829"/>
                  <a:gd name="connsiteX2" fmla="*/ 13904 w 109358"/>
                  <a:gd name="connsiteY2" fmla="*/ 0 h 80829"/>
                  <a:gd name="connsiteX3" fmla="*/ 68943 w 109358"/>
                  <a:gd name="connsiteY3" fmla="*/ 0 h 80829"/>
                  <a:gd name="connsiteX4" fmla="*/ 109358 w 109358"/>
                  <a:gd name="connsiteY4" fmla="*/ 40414 h 80829"/>
                  <a:gd name="connsiteX5" fmla="*/ 68943 w 109358"/>
                  <a:gd name="connsiteY5" fmla="*/ 80829 h 80829"/>
                  <a:gd name="connsiteX6" fmla="*/ 13905 w 109358"/>
                  <a:gd name="connsiteY6" fmla="*/ 80829 h 80829"/>
                  <a:gd name="connsiteX7" fmla="*/ 5883 w 109358"/>
                  <a:gd name="connsiteY7" fmla="*/ 69106 h 80829"/>
                  <a:gd name="connsiteX8" fmla="*/ 0 w 109358"/>
                  <a:gd name="connsiteY8" fmla="*/ 40413 h 80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358" h="80829">
                    <a:moveTo>
                      <a:pt x="0" y="40413"/>
                    </a:moveTo>
                    <a:cubicBezTo>
                      <a:pt x="0" y="30239"/>
                      <a:pt x="2095" y="20542"/>
                      <a:pt x="5883" y="11721"/>
                    </a:cubicBezTo>
                    <a:lnTo>
                      <a:pt x="13904" y="0"/>
                    </a:lnTo>
                    <a:lnTo>
                      <a:pt x="68943" y="0"/>
                    </a:lnTo>
                    <a:cubicBezTo>
                      <a:pt x="91290" y="0"/>
                      <a:pt x="109358" y="18115"/>
                      <a:pt x="109358" y="40414"/>
                    </a:cubicBezTo>
                    <a:cubicBezTo>
                      <a:pt x="109358" y="62761"/>
                      <a:pt x="91290" y="80829"/>
                      <a:pt x="68943" y="80829"/>
                    </a:cubicBezTo>
                    <a:lnTo>
                      <a:pt x="13905" y="80829"/>
                    </a:lnTo>
                    <a:lnTo>
                      <a:pt x="5883" y="69106"/>
                    </a:lnTo>
                    <a:cubicBezTo>
                      <a:pt x="2095" y="60285"/>
                      <a:pt x="0" y="50588"/>
                      <a:pt x="0" y="40413"/>
                    </a:cubicBezTo>
                    <a:close/>
                  </a:path>
                </a:pathLst>
              </a:custGeom>
              <a:solidFill>
                <a:schemeClr val="accent2">
                  <a:lumMod val="50000"/>
                </a:schemeClr>
              </a:solidFill>
              <a:ln w="4749" cap="flat">
                <a:noFill/>
                <a:prstDash val="solid"/>
                <a:miter/>
              </a:ln>
            </p:spPr>
            <p:txBody>
              <a:bodyPr wrap="square" rtlCol="0" anchor="ctr">
                <a:noAutofit/>
              </a:bodyPr>
              <a:lstStyle/>
              <a:p>
                <a:endParaRPr lang="en-IN"/>
              </a:p>
            </p:txBody>
          </p:sp>
        </p:grpSp>
        <p:sp>
          <p:nvSpPr>
            <p:cNvPr id="60" name="Oval 59">
              <a:extLst>
                <a:ext uri="{FF2B5EF4-FFF2-40B4-BE49-F238E27FC236}">
                  <a16:creationId xmlns:a16="http://schemas.microsoft.com/office/drawing/2014/main" id="{43D5DE75-CC20-4AC9-BCEB-1A3AA00F26CF}"/>
                </a:ext>
              </a:extLst>
            </p:cNvPr>
            <p:cNvSpPr/>
            <p:nvPr/>
          </p:nvSpPr>
          <p:spPr>
            <a:xfrm>
              <a:off x="6310965" y="1132556"/>
              <a:ext cx="1328538" cy="1328538"/>
            </a:xfrm>
            <a:prstGeom prst="ellipse">
              <a:avLst/>
            </a:prstGeom>
            <a:no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a:p>
          </p:txBody>
        </p:sp>
        <p:grpSp>
          <p:nvGrpSpPr>
            <p:cNvPr id="61" name="Group 60">
              <a:extLst>
                <a:ext uri="{FF2B5EF4-FFF2-40B4-BE49-F238E27FC236}">
                  <a16:creationId xmlns:a16="http://schemas.microsoft.com/office/drawing/2014/main" id="{A020BA40-AEE5-497E-8D6E-A82F9F4CD85E}"/>
                </a:ext>
              </a:extLst>
            </p:cNvPr>
            <p:cNvGrpSpPr/>
            <p:nvPr/>
          </p:nvGrpSpPr>
          <p:grpSpPr>
            <a:xfrm>
              <a:off x="6543551" y="1958195"/>
              <a:ext cx="257535" cy="82554"/>
              <a:chOff x="1943827" y="4419366"/>
              <a:chExt cx="257535" cy="82554"/>
            </a:xfrm>
          </p:grpSpPr>
          <p:sp>
            <p:nvSpPr>
              <p:cNvPr id="77" name="Freeform: Shape 76">
                <a:extLst>
                  <a:ext uri="{FF2B5EF4-FFF2-40B4-BE49-F238E27FC236}">
                    <a16:creationId xmlns:a16="http://schemas.microsoft.com/office/drawing/2014/main" id="{626C95C1-EE84-4E9C-B414-D8978C34BEAD}"/>
                  </a:ext>
                </a:extLst>
              </p:cNvPr>
              <p:cNvSpPr/>
              <p:nvPr/>
            </p:nvSpPr>
            <p:spPr>
              <a:xfrm>
                <a:off x="1949837" y="4419366"/>
                <a:ext cx="128767" cy="14307"/>
              </a:xfrm>
              <a:custGeom>
                <a:avLst/>
                <a:gdLst>
                  <a:gd name="connsiteX0" fmla="*/ 122508 w 128767"/>
                  <a:gd name="connsiteY0" fmla="*/ 8048 h 14307"/>
                  <a:gd name="connsiteX1" fmla="*/ 8048 w 128767"/>
                  <a:gd name="connsiteY1" fmla="*/ 8048 h 14307"/>
                </a:gdLst>
                <a:ahLst/>
                <a:cxnLst>
                  <a:cxn ang="0">
                    <a:pos x="connsiteX0" y="connsiteY0"/>
                  </a:cxn>
                  <a:cxn ang="0">
                    <a:pos x="connsiteX1" y="connsiteY1"/>
                  </a:cxn>
                </a:cxnLst>
                <a:rect l="l" t="t" r="r" b="b"/>
                <a:pathLst>
                  <a:path w="128767" h="14307">
                    <a:moveTo>
                      <a:pt x="122508" y="8048"/>
                    </a:moveTo>
                    <a:lnTo>
                      <a:pt x="8048" y="8048"/>
                    </a:lnTo>
                  </a:path>
                </a:pathLst>
              </a:custGeom>
              <a:ln w="7144" cap="flat">
                <a:solidFill>
                  <a:schemeClr val="accent4"/>
                </a:solid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EFE88CCE-FCB0-4CE5-ACAB-D912717908BE}"/>
                  </a:ext>
                </a:extLst>
              </p:cNvPr>
              <p:cNvSpPr/>
              <p:nvPr/>
            </p:nvSpPr>
            <p:spPr>
              <a:xfrm>
                <a:off x="1943827" y="4487613"/>
                <a:ext cx="257535" cy="14307"/>
              </a:xfrm>
              <a:custGeom>
                <a:avLst/>
                <a:gdLst>
                  <a:gd name="connsiteX0" fmla="*/ 256426 w 257534"/>
                  <a:gd name="connsiteY0" fmla="*/ 8048 h 14307"/>
                  <a:gd name="connsiteX1" fmla="*/ 8048 w 257534"/>
                  <a:gd name="connsiteY1" fmla="*/ 8048 h 14307"/>
                </a:gdLst>
                <a:ahLst/>
                <a:cxnLst>
                  <a:cxn ang="0">
                    <a:pos x="connsiteX0" y="connsiteY0"/>
                  </a:cxn>
                  <a:cxn ang="0">
                    <a:pos x="connsiteX1" y="connsiteY1"/>
                  </a:cxn>
                </a:cxnLst>
                <a:rect l="l" t="t" r="r" b="b"/>
                <a:pathLst>
                  <a:path w="257534" h="14307">
                    <a:moveTo>
                      <a:pt x="256426" y="8048"/>
                    </a:moveTo>
                    <a:lnTo>
                      <a:pt x="8048" y="8048"/>
                    </a:lnTo>
                  </a:path>
                </a:pathLst>
              </a:custGeom>
              <a:ln w="7144" cap="flat">
                <a:solidFill>
                  <a:schemeClr val="accent4"/>
                </a:solidFill>
                <a:prstDash val="solid"/>
                <a:miter/>
              </a:ln>
            </p:spPr>
            <p:txBody>
              <a:bodyPr rtlCol="0" anchor="ctr"/>
              <a:lstStyle/>
              <a:p>
                <a:endParaRPr lang="en-US"/>
              </a:p>
            </p:txBody>
          </p:sp>
        </p:grpSp>
        <p:grpSp>
          <p:nvGrpSpPr>
            <p:cNvPr id="62" name="Group 61">
              <a:extLst>
                <a:ext uri="{FF2B5EF4-FFF2-40B4-BE49-F238E27FC236}">
                  <a16:creationId xmlns:a16="http://schemas.microsoft.com/office/drawing/2014/main" id="{0370FA31-93D1-456D-8F63-67DE60343694}"/>
                </a:ext>
              </a:extLst>
            </p:cNvPr>
            <p:cNvGrpSpPr/>
            <p:nvPr/>
          </p:nvGrpSpPr>
          <p:grpSpPr>
            <a:xfrm>
              <a:off x="6276873" y="2211611"/>
              <a:ext cx="743594" cy="66675"/>
              <a:chOff x="5317328" y="3563267"/>
              <a:chExt cx="743594" cy="66675"/>
            </a:xfrm>
          </p:grpSpPr>
          <p:cxnSp>
            <p:nvCxnSpPr>
              <p:cNvPr id="74" name="Straight Connector 73">
                <a:extLst>
                  <a:ext uri="{FF2B5EF4-FFF2-40B4-BE49-F238E27FC236}">
                    <a16:creationId xmlns:a16="http://schemas.microsoft.com/office/drawing/2014/main" id="{BAB481EA-D7E3-4C72-9CF8-D84C255946F4}"/>
                  </a:ext>
                </a:extLst>
              </p:cNvPr>
              <p:cNvCxnSpPr/>
              <p:nvPr/>
            </p:nvCxnSpPr>
            <p:spPr>
              <a:xfrm>
                <a:off x="5372927" y="3563267"/>
                <a:ext cx="687995" cy="0"/>
              </a:xfrm>
              <a:prstGeom prst="line">
                <a:avLst/>
              </a:prstGeom>
              <a:noFill/>
              <a:ln w="9525" cap="flat" cmpd="sng" algn="ctr">
                <a:solidFill>
                  <a:schemeClr val="accent4"/>
                </a:solidFill>
                <a:prstDash val="solid"/>
              </a:ln>
              <a:effectLst/>
            </p:spPr>
          </p:cxnSp>
          <p:cxnSp>
            <p:nvCxnSpPr>
              <p:cNvPr id="75" name="Straight Connector 74">
                <a:extLst>
                  <a:ext uri="{FF2B5EF4-FFF2-40B4-BE49-F238E27FC236}">
                    <a16:creationId xmlns:a16="http://schemas.microsoft.com/office/drawing/2014/main" id="{8A460A39-B9AB-4785-9099-7F1F05F39AE9}"/>
                  </a:ext>
                </a:extLst>
              </p:cNvPr>
              <p:cNvCxnSpPr/>
              <p:nvPr/>
            </p:nvCxnSpPr>
            <p:spPr>
              <a:xfrm>
                <a:off x="5345127" y="3596604"/>
                <a:ext cx="687995" cy="0"/>
              </a:xfrm>
              <a:prstGeom prst="line">
                <a:avLst/>
              </a:prstGeom>
              <a:noFill/>
              <a:ln w="9525" cap="flat" cmpd="sng" algn="ctr">
                <a:solidFill>
                  <a:schemeClr val="accent4"/>
                </a:solidFill>
                <a:prstDash val="solid"/>
              </a:ln>
              <a:effectLst/>
            </p:spPr>
          </p:cxnSp>
          <p:cxnSp>
            <p:nvCxnSpPr>
              <p:cNvPr id="76" name="Straight Connector 75">
                <a:extLst>
                  <a:ext uri="{FF2B5EF4-FFF2-40B4-BE49-F238E27FC236}">
                    <a16:creationId xmlns:a16="http://schemas.microsoft.com/office/drawing/2014/main" id="{629BC534-9950-4B3C-A80C-91084A59DFF7}"/>
                  </a:ext>
                </a:extLst>
              </p:cNvPr>
              <p:cNvCxnSpPr/>
              <p:nvPr/>
            </p:nvCxnSpPr>
            <p:spPr>
              <a:xfrm>
                <a:off x="5317328" y="3629942"/>
                <a:ext cx="687995" cy="0"/>
              </a:xfrm>
              <a:prstGeom prst="line">
                <a:avLst/>
              </a:prstGeom>
              <a:noFill/>
              <a:ln w="9525" cap="flat" cmpd="sng" algn="ctr">
                <a:solidFill>
                  <a:schemeClr val="accent4"/>
                </a:solidFill>
                <a:prstDash val="solid"/>
              </a:ln>
              <a:effectLst/>
            </p:spPr>
          </p:cxnSp>
        </p:grpSp>
        <p:sp>
          <p:nvSpPr>
            <p:cNvPr id="65" name="Oval 64">
              <a:extLst>
                <a:ext uri="{FF2B5EF4-FFF2-40B4-BE49-F238E27FC236}">
                  <a16:creationId xmlns:a16="http://schemas.microsoft.com/office/drawing/2014/main" id="{CD3DD60F-1D74-42F1-8CCE-80C60E9B5530}"/>
                </a:ext>
              </a:extLst>
            </p:cNvPr>
            <p:cNvSpPr/>
            <p:nvPr/>
          </p:nvSpPr>
          <p:spPr>
            <a:xfrm>
              <a:off x="6283271" y="840529"/>
              <a:ext cx="122609" cy="122609"/>
            </a:xfrm>
            <a:prstGeom prst="ellipse">
              <a:avLst/>
            </a:prstGeom>
            <a:solidFill>
              <a:schemeClr val="accent1"/>
            </a:solidFill>
            <a:ln w="5266"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FFFFFF"/>
                </a:solidFill>
                <a:effectLst/>
                <a:uLnTx/>
                <a:uFillTx/>
                <a:latin typeface="CiscoSansTT ExtraLight"/>
                <a:ea typeface="+mn-ea"/>
                <a:cs typeface="+mn-cs"/>
              </a:endParaRPr>
            </a:p>
          </p:txBody>
        </p:sp>
      </p:grpSp>
    </p:spTree>
    <p:extLst>
      <p:ext uri="{BB962C8B-B14F-4D97-AF65-F5344CB8AC3E}">
        <p14:creationId xmlns:p14="http://schemas.microsoft.com/office/powerpoint/2010/main" val="3079491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Isosceles Triangle 49">
            <a:extLst>
              <a:ext uri="{FF2B5EF4-FFF2-40B4-BE49-F238E27FC236}">
                <a16:creationId xmlns:a16="http://schemas.microsoft.com/office/drawing/2014/main" id="{6B758D9E-4728-4683-B776-AB9B1414AD00}"/>
              </a:ext>
            </a:extLst>
          </p:cNvPr>
          <p:cNvSpPr/>
          <p:nvPr/>
        </p:nvSpPr>
        <p:spPr>
          <a:xfrm>
            <a:off x="5367996" y="2663966"/>
            <a:ext cx="179673" cy="179673"/>
          </a:xfrm>
          <a:prstGeom prst="ellipse">
            <a:avLst/>
          </a:prstGeom>
          <a:solidFill>
            <a:schemeClr val="accent2">
              <a:alpha val="40000"/>
            </a:schemeClr>
          </a:solidFill>
          <a:ln w="12700">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56" name="Rectangle: Rounded Corners 55">
            <a:extLst>
              <a:ext uri="{FF2B5EF4-FFF2-40B4-BE49-F238E27FC236}">
                <a16:creationId xmlns:a16="http://schemas.microsoft.com/office/drawing/2014/main" id="{65539A8B-AED5-478E-BBDA-F5049EC8E6AD}"/>
              </a:ext>
            </a:extLst>
          </p:cNvPr>
          <p:cNvSpPr/>
          <p:nvPr/>
        </p:nvSpPr>
        <p:spPr>
          <a:xfrm>
            <a:off x="437766" y="2559879"/>
            <a:ext cx="514660" cy="388554"/>
          </a:xfrm>
          <a:prstGeom prst="roundRect">
            <a:avLst>
              <a:gd name="adj" fmla="val 18318"/>
            </a:avLst>
          </a:prstGeom>
          <a:noFill/>
          <a:ln w="12700">
            <a:solidFill>
              <a:schemeClr val="bg2">
                <a:alpha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8">
            <a:extLst>
              <a:ext uri="{FF2B5EF4-FFF2-40B4-BE49-F238E27FC236}">
                <a16:creationId xmlns:a16="http://schemas.microsoft.com/office/drawing/2014/main" id="{757FB937-548E-494D-962F-BCA86CA6D747}"/>
              </a:ext>
            </a:extLst>
          </p:cNvPr>
          <p:cNvSpPr/>
          <p:nvPr/>
        </p:nvSpPr>
        <p:spPr>
          <a:xfrm>
            <a:off x="356411" y="2464151"/>
            <a:ext cx="514660" cy="399618"/>
          </a:xfrm>
          <a:prstGeom prst="roundRect">
            <a:avLst>
              <a:gd name="adj" fmla="val 17811"/>
            </a:avLst>
          </a:prstGeom>
          <a:solidFill>
            <a:schemeClr val="accent4">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54ABF69-E252-4549-92EC-20EA9E1AB536}"/>
              </a:ext>
            </a:extLst>
          </p:cNvPr>
          <p:cNvSpPr>
            <a:spLocks noGrp="1"/>
          </p:cNvSpPr>
          <p:nvPr>
            <p:ph type="title"/>
          </p:nvPr>
        </p:nvSpPr>
        <p:spPr/>
        <p:txBody>
          <a:bodyPr/>
          <a:lstStyle/>
          <a:p>
            <a:r>
              <a:rPr lang="en-US"/>
              <a:t>Streamline your security universe</a:t>
            </a:r>
          </a:p>
        </p:txBody>
      </p:sp>
      <p:sp>
        <p:nvSpPr>
          <p:cNvPr id="3" name="Rectangle 2">
            <a:extLst>
              <a:ext uri="{FF2B5EF4-FFF2-40B4-BE49-F238E27FC236}">
                <a16:creationId xmlns:a16="http://schemas.microsoft.com/office/drawing/2014/main" id="{57699B1B-7989-4BC5-8097-880F792AFB41}"/>
              </a:ext>
            </a:extLst>
          </p:cNvPr>
          <p:cNvSpPr/>
          <p:nvPr/>
        </p:nvSpPr>
        <p:spPr>
          <a:xfrm>
            <a:off x="2589228" y="1375763"/>
            <a:ext cx="2084873" cy="830997"/>
          </a:xfrm>
          <a:prstGeom prst="rect">
            <a:avLst/>
          </a:prstGeom>
        </p:spPr>
        <p:txBody>
          <a:bodyPr wrap="square">
            <a:spAutoFit/>
          </a:bodyPr>
          <a:lstStyle/>
          <a:p>
            <a:r>
              <a:rPr lang="en-US" sz="1600">
                <a:solidFill>
                  <a:schemeClr val="tx2"/>
                </a:solidFill>
                <a:latin typeface="CiscoSansTT" panose="020B0503020201020303" pitchFamily="34" charset="0"/>
              </a:rPr>
              <a:t>Confidently secure </a:t>
            </a:r>
            <a:r>
              <a:rPr lang="en-US" sz="1600">
                <a:solidFill>
                  <a:schemeClr val="bg2"/>
                </a:solidFill>
                <a:latin typeface="CiscoSansTT ExtraLight"/>
              </a:rPr>
              <a:t>every business endeavor</a:t>
            </a:r>
          </a:p>
        </p:txBody>
      </p:sp>
      <p:sp>
        <p:nvSpPr>
          <p:cNvPr id="5" name="Rectangle 4">
            <a:extLst>
              <a:ext uri="{FF2B5EF4-FFF2-40B4-BE49-F238E27FC236}">
                <a16:creationId xmlns:a16="http://schemas.microsoft.com/office/drawing/2014/main" id="{888922E2-CDE5-472B-8345-8A6089CEE1D6}"/>
              </a:ext>
            </a:extLst>
          </p:cNvPr>
          <p:cNvSpPr/>
          <p:nvPr/>
        </p:nvSpPr>
        <p:spPr>
          <a:xfrm>
            <a:off x="2594737" y="3203473"/>
            <a:ext cx="2259712" cy="830997"/>
          </a:xfrm>
          <a:prstGeom prst="rect">
            <a:avLst/>
          </a:prstGeom>
        </p:spPr>
        <p:txBody>
          <a:bodyPr wrap="square">
            <a:spAutoFit/>
          </a:bodyPr>
          <a:lstStyle/>
          <a:p>
            <a:r>
              <a:rPr lang="en-US" sz="1600">
                <a:solidFill>
                  <a:schemeClr val="tx2"/>
                </a:solidFill>
                <a:latin typeface="CiscoSansTT" panose="020B0503020201020303" pitchFamily="34" charset="0"/>
              </a:rPr>
              <a:t>Reduce complexity </a:t>
            </a:r>
            <a:r>
              <a:rPr lang="en-US" sz="1600">
                <a:solidFill>
                  <a:schemeClr val="bg2"/>
                </a:solidFill>
                <a:latin typeface="CiscoSansTT ExtraLight"/>
              </a:rPr>
              <a:t>and maximize </a:t>
            </a:r>
            <a:br>
              <a:rPr lang="en-US" sz="1600">
                <a:solidFill>
                  <a:schemeClr val="bg2"/>
                </a:solidFill>
                <a:latin typeface="CiscoSansTT ExtraLight"/>
              </a:rPr>
            </a:br>
            <a:r>
              <a:rPr lang="en-US" sz="1600">
                <a:solidFill>
                  <a:schemeClr val="bg2"/>
                </a:solidFill>
                <a:latin typeface="CiscoSansTT ExtraLight"/>
              </a:rPr>
              <a:t>portfolio benefits</a:t>
            </a:r>
          </a:p>
        </p:txBody>
      </p:sp>
      <p:sp>
        <p:nvSpPr>
          <p:cNvPr id="7" name="Rectangle 6">
            <a:extLst>
              <a:ext uri="{FF2B5EF4-FFF2-40B4-BE49-F238E27FC236}">
                <a16:creationId xmlns:a16="http://schemas.microsoft.com/office/drawing/2014/main" id="{35883E39-984D-4AD7-832A-7006450E0377}"/>
              </a:ext>
            </a:extLst>
          </p:cNvPr>
          <p:cNvSpPr/>
          <p:nvPr/>
        </p:nvSpPr>
        <p:spPr>
          <a:xfrm>
            <a:off x="4747260" y="1375763"/>
            <a:ext cx="3996439" cy="665223"/>
          </a:xfrm>
          <a:prstGeom prst="rect">
            <a:avLst/>
          </a:prstGeom>
          <a:noFill/>
          <a:ln>
            <a:noFill/>
          </a:ln>
        </p:spPr>
        <p:txBody>
          <a:bodyPr wrap="square">
            <a:noAutofit/>
          </a:bodyPr>
          <a:lstStyle/>
          <a:p>
            <a:r>
              <a:rPr lang="en-US" sz="1400">
                <a:solidFill>
                  <a:schemeClr val="bg2"/>
                </a:solidFill>
                <a:latin typeface="CiscoSansTT ExtraLight"/>
              </a:rPr>
              <a:t>Scale to meet the security needs of today and tomorrow without sacrificing efficacy</a:t>
            </a:r>
          </a:p>
        </p:txBody>
      </p:sp>
      <p:grpSp>
        <p:nvGrpSpPr>
          <p:cNvPr id="87" name="Group 86">
            <a:extLst>
              <a:ext uri="{FF2B5EF4-FFF2-40B4-BE49-F238E27FC236}">
                <a16:creationId xmlns:a16="http://schemas.microsoft.com/office/drawing/2014/main" id="{A31A54B2-2613-4EFF-BAAD-912D6AB080E4}"/>
              </a:ext>
            </a:extLst>
          </p:cNvPr>
          <p:cNvGrpSpPr/>
          <p:nvPr/>
        </p:nvGrpSpPr>
        <p:grpSpPr>
          <a:xfrm>
            <a:off x="648958" y="3094791"/>
            <a:ext cx="1555388" cy="1048360"/>
            <a:chOff x="5174228" y="1374406"/>
            <a:chExt cx="1555388" cy="1048360"/>
          </a:xfrm>
        </p:grpSpPr>
        <p:sp>
          <p:nvSpPr>
            <p:cNvPr id="48" name="Oval 47">
              <a:extLst>
                <a:ext uri="{FF2B5EF4-FFF2-40B4-BE49-F238E27FC236}">
                  <a16:creationId xmlns:a16="http://schemas.microsoft.com/office/drawing/2014/main" id="{CBD34A91-AB2C-4F3D-885A-8C79E930F975}"/>
                </a:ext>
              </a:extLst>
            </p:cNvPr>
            <p:cNvSpPr/>
            <p:nvPr/>
          </p:nvSpPr>
          <p:spPr>
            <a:xfrm>
              <a:off x="5475639" y="1374406"/>
              <a:ext cx="1030652" cy="1030652"/>
            </a:xfrm>
            <a:prstGeom prst="ellipse">
              <a:avLst/>
            </a:prstGeom>
            <a:solidFill>
              <a:schemeClr val="bg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49" name="Oval 48">
              <a:extLst>
                <a:ext uri="{FF2B5EF4-FFF2-40B4-BE49-F238E27FC236}">
                  <a16:creationId xmlns:a16="http://schemas.microsoft.com/office/drawing/2014/main" id="{7DB30F83-F18A-4F58-9BB7-9E33B56B3810}"/>
                </a:ext>
              </a:extLst>
            </p:cNvPr>
            <p:cNvSpPr/>
            <p:nvPr/>
          </p:nvSpPr>
          <p:spPr>
            <a:xfrm>
              <a:off x="5886508" y="2181380"/>
              <a:ext cx="60896" cy="6089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0" name="Oval 49">
              <a:extLst>
                <a:ext uri="{FF2B5EF4-FFF2-40B4-BE49-F238E27FC236}">
                  <a16:creationId xmlns:a16="http://schemas.microsoft.com/office/drawing/2014/main" id="{215AC859-0F2B-4698-8A4B-123E4DF0BC6F}"/>
                </a:ext>
              </a:extLst>
            </p:cNvPr>
            <p:cNvSpPr/>
            <p:nvPr/>
          </p:nvSpPr>
          <p:spPr>
            <a:xfrm>
              <a:off x="6354771" y="1517949"/>
              <a:ext cx="60896" cy="6089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1" name="Oval 50">
              <a:extLst>
                <a:ext uri="{FF2B5EF4-FFF2-40B4-BE49-F238E27FC236}">
                  <a16:creationId xmlns:a16="http://schemas.microsoft.com/office/drawing/2014/main" id="{47A44DCE-C08C-413B-9CA5-AC206F4B7B22}"/>
                </a:ext>
              </a:extLst>
            </p:cNvPr>
            <p:cNvSpPr/>
            <p:nvPr/>
          </p:nvSpPr>
          <p:spPr>
            <a:xfrm>
              <a:off x="6032001" y="2352832"/>
              <a:ext cx="60896" cy="6089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2" name="Oval 51">
              <a:extLst>
                <a:ext uri="{FF2B5EF4-FFF2-40B4-BE49-F238E27FC236}">
                  <a16:creationId xmlns:a16="http://schemas.microsoft.com/office/drawing/2014/main" id="{6DDBE060-8CA6-457F-9E32-5FCE7677C5A9}"/>
                </a:ext>
              </a:extLst>
            </p:cNvPr>
            <p:cNvSpPr/>
            <p:nvPr/>
          </p:nvSpPr>
          <p:spPr>
            <a:xfrm>
              <a:off x="5629309" y="1663352"/>
              <a:ext cx="60896" cy="60896"/>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3" name="Rectangle: Rounded Corners 52">
              <a:extLst>
                <a:ext uri="{FF2B5EF4-FFF2-40B4-BE49-F238E27FC236}">
                  <a16:creationId xmlns:a16="http://schemas.microsoft.com/office/drawing/2014/main" id="{033770F5-2C71-4DD8-B1AE-793ED8DC8F3F}"/>
                </a:ext>
              </a:extLst>
            </p:cNvPr>
            <p:cNvSpPr/>
            <p:nvPr/>
          </p:nvSpPr>
          <p:spPr>
            <a:xfrm>
              <a:off x="5847822" y="1551461"/>
              <a:ext cx="529351" cy="590892"/>
            </a:xfrm>
            <a:prstGeom prst="roundRect">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9" name="Oval 58">
              <a:extLst>
                <a:ext uri="{FF2B5EF4-FFF2-40B4-BE49-F238E27FC236}">
                  <a16:creationId xmlns:a16="http://schemas.microsoft.com/office/drawing/2014/main" id="{8B1D7A48-C1FE-4D80-BC44-75B633B7C11C}"/>
                </a:ext>
              </a:extLst>
            </p:cNvPr>
            <p:cNvSpPr/>
            <p:nvPr/>
          </p:nvSpPr>
          <p:spPr>
            <a:xfrm>
              <a:off x="6601564" y="2079769"/>
              <a:ext cx="60896" cy="60896"/>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0" name="Oval 59">
              <a:extLst>
                <a:ext uri="{FF2B5EF4-FFF2-40B4-BE49-F238E27FC236}">
                  <a16:creationId xmlns:a16="http://schemas.microsoft.com/office/drawing/2014/main" id="{DF99A180-FF75-4023-8402-57004B20405F}"/>
                </a:ext>
              </a:extLst>
            </p:cNvPr>
            <p:cNvSpPr/>
            <p:nvPr/>
          </p:nvSpPr>
          <p:spPr>
            <a:xfrm>
              <a:off x="6479909" y="2322383"/>
              <a:ext cx="60896" cy="6089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grpSp>
          <p:nvGrpSpPr>
            <p:cNvPr id="69" name="Group 68">
              <a:extLst>
                <a:ext uri="{FF2B5EF4-FFF2-40B4-BE49-F238E27FC236}">
                  <a16:creationId xmlns:a16="http://schemas.microsoft.com/office/drawing/2014/main" id="{0535FF99-2DA6-4000-9A67-CDDD30EA03E1}"/>
                </a:ext>
              </a:extLst>
            </p:cNvPr>
            <p:cNvGrpSpPr/>
            <p:nvPr/>
          </p:nvGrpSpPr>
          <p:grpSpPr>
            <a:xfrm>
              <a:off x="5795894" y="1469686"/>
              <a:ext cx="879121" cy="872954"/>
              <a:chOff x="8117408" y="1451003"/>
              <a:chExt cx="660022" cy="655392"/>
            </a:xfrm>
          </p:grpSpPr>
          <p:grpSp>
            <p:nvGrpSpPr>
              <p:cNvPr id="68" name="Group 67">
                <a:extLst>
                  <a:ext uri="{FF2B5EF4-FFF2-40B4-BE49-F238E27FC236}">
                    <a16:creationId xmlns:a16="http://schemas.microsoft.com/office/drawing/2014/main" id="{7CAC56A1-8DA2-4BEC-BB79-DA1E5E2C382B}"/>
                  </a:ext>
                </a:extLst>
              </p:cNvPr>
              <p:cNvGrpSpPr/>
              <p:nvPr/>
            </p:nvGrpSpPr>
            <p:grpSpPr>
              <a:xfrm>
                <a:off x="8118862" y="1453030"/>
                <a:ext cx="658568" cy="653365"/>
                <a:chOff x="8118862" y="1453030"/>
                <a:chExt cx="658568" cy="653365"/>
              </a:xfrm>
            </p:grpSpPr>
            <p:pic>
              <p:nvPicPr>
                <p:cNvPr id="64" name="Picture 63" descr="A picture containing dark&#10;&#10;Description automatically generated">
                  <a:extLst>
                    <a:ext uri="{FF2B5EF4-FFF2-40B4-BE49-F238E27FC236}">
                      <a16:creationId xmlns:a16="http://schemas.microsoft.com/office/drawing/2014/main" id="{1460E1C9-9C36-4A88-8513-F518691E95CA}"/>
                    </a:ext>
                  </a:extLst>
                </p:cNvPr>
                <p:cNvPicPr>
                  <a:picLocks noChangeAspect="1"/>
                </p:cNvPicPr>
                <p:nvPr/>
              </p:nvPicPr>
              <p:blipFill>
                <a:blip r:embed="rId3" cstate="screen">
                  <a:alphaModFix amt="60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rot="16200000">
                  <a:off x="8122383" y="1656337"/>
                  <a:ext cx="445446" cy="452487"/>
                </a:xfrm>
                <a:prstGeom prst="rect">
                  <a:avLst/>
                </a:prstGeom>
              </p:spPr>
            </p:pic>
            <p:pic>
              <p:nvPicPr>
                <p:cNvPr id="65" name="Picture 64" descr="A picture containing dark&#10;&#10;Description automatically generated">
                  <a:extLst>
                    <a:ext uri="{FF2B5EF4-FFF2-40B4-BE49-F238E27FC236}">
                      <a16:creationId xmlns:a16="http://schemas.microsoft.com/office/drawing/2014/main" id="{5CD38AF6-4B12-42AA-87FF-B2B3909EDFF3}"/>
                    </a:ext>
                  </a:extLst>
                </p:cNvPr>
                <p:cNvPicPr>
                  <a:picLocks noChangeAspect="1"/>
                </p:cNvPicPr>
                <p:nvPr/>
              </p:nvPicPr>
              <p:blipFill>
                <a:blip r:embed="rId3" cstate="screen">
                  <a:alphaModFix amt="60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rot="10800000">
                  <a:off x="8327274" y="1653908"/>
                  <a:ext cx="445446" cy="452487"/>
                </a:xfrm>
                <a:prstGeom prst="rect">
                  <a:avLst/>
                </a:prstGeom>
              </p:spPr>
            </p:pic>
            <p:pic>
              <p:nvPicPr>
                <p:cNvPr id="66" name="Picture 65" descr="A picture containing dark&#10;&#10;Description automatically generated">
                  <a:extLst>
                    <a:ext uri="{FF2B5EF4-FFF2-40B4-BE49-F238E27FC236}">
                      <a16:creationId xmlns:a16="http://schemas.microsoft.com/office/drawing/2014/main" id="{65277E67-85A1-41A5-9AA2-03E80D4198C4}"/>
                    </a:ext>
                  </a:extLst>
                </p:cNvPr>
                <p:cNvPicPr>
                  <a:picLocks noChangeAspect="1"/>
                </p:cNvPicPr>
                <p:nvPr/>
              </p:nvPicPr>
              <p:blipFill>
                <a:blip r:embed="rId3" cstate="screen">
                  <a:alphaModFix amt="60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rot="5400000">
                  <a:off x="8328464" y="1449509"/>
                  <a:ext cx="445446" cy="452487"/>
                </a:xfrm>
                <a:prstGeom prst="rect">
                  <a:avLst/>
                </a:prstGeom>
              </p:spPr>
            </p:pic>
          </p:grpSp>
          <p:pic>
            <p:nvPicPr>
              <p:cNvPr id="54" name="Picture 53" descr="A picture containing dark&#10;&#10;Description automatically generated">
                <a:extLst>
                  <a:ext uri="{FF2B5EF4-FFF2-40B4-BE49-F238E27FC236}">
                    <a16:creationId xmlns:a16="http://schemas.microsoft.com/office/drawing/2014/main" id="{0407AE3D-03D0-4E05-9820-E37ABAAEF4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6200000">
                <a:off x="8120929" y="1654310"/>
                <a:ext cx="445446" cy="452487"/>
              </a:xfrm>
              <a:prstGeom prst="rect">
                <a:avLst/>
              </a:prstGeom>
            </p:spPr>
          </p:pic>
          <p:pic>
            <p:nvPicPr>
              <p:cNvPr id="55" name="Picture 54" descr="A picture containing dark&#10;&#10;Description automatically generated">
                <a:extLst>
                  <a:ext uri="{FF2B5EF4-FFF2-40B4-BE49-F238E27FC236}">
                    <a16:creationId xmlns:a16="http://schemas.microsoft.com/office/drawing/2014/main" id="{EBF07947-7978-4CFF-8C9A-488F45FB281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0800000">
                <a:off x="8325820" y="1651881"/>
                <a:ext cx="445446" cy="452487"/>
              </a:xfrm>
              <a:prstGeom prst="rect">
                <a:avLst/>
              </a:prstGeom>
            </p:spPr>
          </p:pic>
          <p:pic>
            <p:nvPicPr>
              <p:cNvPr id="61" name="Picture 60" descr="A picture containing dark&#10;&#10;Description automatically generated">
                <a:extLst>
                  <a:ext uri="{FF2B5EF4-FFF2-40B4-BE49-F238E27FC236}">
                    <a16:creationId xmlns:a16="http://schemas.microsoft.com/office/drawing/2014/main" id="{C05B7D65-785E-4D71-9342-CBEDEFD924C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5400000">
                <a:off x="8327010" y="1447482"/>
                <a:ext cx="445446" cy="452487"/>
              </a:xfrm>
              <a:prstGeom prst="rect">
                <a:avLst/>
              </a:prstGeom>
            </p:spPr>
          </p:pic>
        </p:grpSp>
        <p:sp>
          <p:nvSpPr>
            <p:cNvPr id="70" name="Freeform: Shape 69">
              <a:extLst>
                <a:ext uri="{FF2B5EF4-FFF2-40B4-BE49-F238E27FC236}">
                  <a16:creationId xmlns:a16="http://schemas.microsoft.com/office/drawing/2014/main" id="{ACD3BAA1-5000-4678-ADBB-28452A5A80BA}"/>
                </a:ext>
              </a:extLst>
            </p:cNvPr>
            <p:cNvSpPr/>
            <p:nvPr/>
          </p:nvSpPr>
          <p:spPr>
            <a:xfrm>
              <a:off x="5746974" y="1548396"/>
              <a:ext cx="959758" cy="682046"/>
            </a:xfrm>
            <a:custGeom>
              <a:avLst/>
              <a:gdLst>
                <a:gd name="connsiteX0" fmla="*/ 0 w 428625"/>
                <a:gd name="connsiteY0" fmla="*/ 295275 h 295275"/>
                <a:gd name="connsiteX1" fmla="*/ 111918 w 428625"/>
                <a:gd name="connsiteY1" fmla="*/ 173831 h 295275"/>
                <a:gd name="connsiteX2" fmla="*/ 178593 w 428625"/>
                <a:gd name="connsiteY2" fmla="*/ 228600 h 295275"/>
                <a:gd name="connsiteX3" fmla="*/ 269081 w 428625"/>
                <a:gd name="connsiteY3" fmla="*/ 59531 h 295275"/>
                <a:gd name="connsiteX4" fmla="*/ 323850 w 428625"/>
                <a:gd name="connsiteY4" fmla="*/ 164306 h 295275"/>
                <a:gd name="connsiteX5" fmla="*/ 333375 w 428625"/>
                <a:gd name="connsiteY5" fmla="*/ 140493 h 295275"/>
                <a:gd name="connsiteX6" fmla="*/ 335756 w 428625"/>
                <a:gd name="connsiteY6" fmla="*/ 128587 h 295275"/>
                <a:gd name="connsiteX7" fmla="*/ 428625 w 428625"/>
                <a:gd name="connsiteY7" fmla="*/ 0 h 295275"/>
                <a:gd name="connsiteX0" fmla="*/ 0 w 428625"/>
                <a:gd name="connsiteY0" fmla="*/ 295275 h 295275"/>
                <a:gd name="connsiteX1" fmla="*/ 111918 w 428625"/>
                <a:gd name="connsiteY1" fmla="*/ 173831 h 295275"/>
                <a:gd name="connsiteX2" fmla="*/ 178593 w 428625"/>
                <a:gd name="connsiteY2" fmla="*/ 228600 h 295275"/>
                <a:gd name="connsiteX3" fmla="*/ 269081 w 428625"/>
                <a:gd name="connsiteY3" fmla="*/ 59531 h 295275"/>
                <a:gd name="connsiteX4" fmla="*/ 323850 w 428625"/>
                <a:gd name="connsiteY4" fmla="*/ 164306 h 295275"/>
                <a:gd name="connsiteX5" fmla="*/ 333375 w 428625"/>
                <a:gd name="connsiteY5" fmla="*/ 140493 h 295275"/>
                <a:gd name="connsiteX6" fmla="*/ 428625 w 428625"/>
                <a:gd name="connsiteY6" fmla="*/ 0 h 295275"/>
                <a:gd name="connsiteX0" fmla="*/ 0 w 428625"/>
                <a:gd name="connsiteY0" fmla="*/ 295275 h 295275"/>
                <a:gd name="connsiteX1" fmla="*/ 111918 w 428625"/>
                <a:gd name="connsiteY1" fmla="*/ 173831 h 295275"/>
                <a:gd name="connsiteX2" fmla="*/ 178593 w 428625"/>
                <a:gd name="connsiteY2" fmla="*/ 228600 h 295275"/>
                <a:gd name="connsiteX3" fmla="*/ 269081 w 428625"/>
                <a:gd name="connsiteY3" fmla="*/ 59531 h 295275"/>
                <a:gd name="connsiteX4" fmla="*/ 323850 w 428625"/>
                <a:gd name="connsiteY4" fmla="*/ 164306 h 295275"/>
                <a:gd name="connsiteX5" fmla="*/ 428625 w 428625"/>
                <a:gd name="connsiteY5" fmla="*/ 0 h 295275"/>
                <a:gd name="connsiteX0" fmla="*/ 0 w 428625"/>
                <a:gd name="connsiteY0" fmla="*/ 295275 h 295275"/>
                <a:gd name="connsiteX1" fmla="*/ 111918 w 428625"/>
                <a:gd name="connsiteY1" fmla="*/ 173831 h 295275"/>
                <a:gd name="connsiteX2" fmla="*/ 178593 w 428625"/>
                <a:gd name="connsiteY2" fmla="*/ 228600 h 295275"/>
                <a:gd name="connsiteX3" fmla="*/ 269081 w 428625"/>
                <a:gd name="connsiteY3" fmla="*/ 59531 h 295275"/>
                <a:gd name="connsiteX4" fmla="*/ 323850 w 428625"/>
                <a:gd name="connsiteY4" fmla="*/ 164306 h 295275"/>
                <a:gd name="connsiteX5" fmla="*/ 428625 w 428625"/>
                <a:gd name="connsiteY5" fmla="*/ 0 h 295275"/>
                <a:gd name="connsiteX0" fmla="*/ 0 w 428625"/>
                <a:gd name="connsiteY0" fmla="*/ 295275 h 295275"/>
                <a:gd name="connsiteX1" fmla="*/ 111918 w 428625"/>
                <a:gd name="connsiteY1" fmla="*/ 173831 h 295275"/>
                <a:gd name="connsiteX2" fmla="*/ 178593 w 428625"/>
                <a:gd name="connsiteY2" fmla="*/ 228600 h 295275"/>
                <a:gd name="connsiteX3" fmla="*/ 245269 w 428625"/>
                <a:gd name="connsiteY3" fmla="*/ 100013 h 295275"/>
                <a:gd name="connsiteX4" fmla="*/ 323850 w 428625"/>
                <a:gd name="connsiteY4" fmla="*/ 164306 h 295275"/>
                <a:gd name="connsiteX5" fmla="*/ 428625 w 428625"/>
                <a:gd name="connsiteY5" fmla="*/ 0 h 295275"/>
                <a:gd name="connsiteX0" fmla="*/ 0 w 428625"/>
                <a:gd name="connsiteY0" fmla="*/ 295275 h 295275"/>
                <a:gd name="connsiteX1" fmla="*/ 111918 w 428625"/>
                <a:gd name="connsiteY1" fmla="*/ 173831 h 295275"/>
                <a:gd name="connsiteX2" fmla="*/ 157161 w 428625"/>
                <a:gd name="connsiteY2" fmla="*/ 228600 h 295275"/>
                <a:gd name="connsiteX3" fmla="*/ 245269 w 428625"/>
                <a:gd name="connsiteY3" fmla="*/ 100013 h 295275"/>
                <a:gd name="connsiteX4" fmla="*/ 323850 w 428625"/>
                <a:gd name="connsiteY4" fmla="*/ 164306 h 295275"/>
                <a:gd name="connsiteX5" fmla="*/ 428625 w 428625"/>
                <a:gd name="connsiteY5" fmla="*/ 0 h 295275"/>
                <a:gd name="connsiteX0" fmla="*/ 0 w 442913"/>
                <a:gd name="connsiteY0" fmla="*/ 326231 h 326231"/>
                <a:gd name="connsiteX1" fmla="*/ 111918 w 442913"/>
                <a:gd name="connsiteY1" fmla="*/ 204787 h 326231"/>
                <a:gd name="connsiteX2" fmla="*/ 157161 w 442913"/>
                <a:gd name="connsiteY2" fmla="*/ 259556 h 326231"/>
                <a:gd name="connsiteX3" fmla="*/ 245269 w 442913"/>
                <a:gd name="connsiteY3" fmla="*/ 130969 h 326231"/>
                <a:gd name="connsiteX4" fmla="*/ 323850 w 442913"/>
                <a:gd name="connsiteY4" fmla="*/ 195262 h 326231"/>
                <a:gd name="connsiteX5" fmla="*/ 442913 w 442913"/>
                <a:gd name="connsiteY5" fmla="*/ 0 h 32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913" h="326231">
                  <a:moveTo>
                    <a:pt x="0" y="326231"/>
                  </a:moveTo>
                  <a:lnTo>
                    <a:pt x="111918" y="204787"/>
                  </a:lnTo>
                  <a:lnTo>
                    <a:pt x="157161" y="259556"/>
                  </a:lnTo>
                  <a:lnTo>
                    <a:pt x="245269" y="130969"/>
                  </a:lnTo>
                  <a:lnTo>
                    <a:pt x="323850" y="195262"/>
                  </a:lnTo>
                  <a:cubicBezTo>
                    <a:pt x="348060" y="163909"/>
                    <a:pt x="421085" y="34230"/>
                    <a:pt x="442913" y="0"/>
                  </a:cubicBezTo>
                </a:path>
              </a:pathLst>
            </a:custGeom>
            <a:noFill/>
            <a:ln w="19050">
              <a:solidFill>
                <a:schemeClr val="accent2">
                  <a:alpha val="80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Group 62">
              <a:extLst>
                <a:ext uri="{FF2B5EF4-FFF2-40B4-BE49-F238E27FC236}">
                  <a16:creationId xmlns:a16="http://schemas.microsoft.com/office/drawing/2014/main" id="{5CFB8D8A-A6BC-4D66-861C-E9008C242477}"/>
                </a:ext>
              </a:extLst>
            </p:cNvPr>
            <p:cNvGrpSpPr/>
            <p:nvPr/>
          </p:nvGrpSpPr>
          <p:grpSpPr>
            <a:xfrm>
              <a:off x="5174228" y="1470641"/>
              <a:ext cx="1555388" cy="952125"/>
              <a:chOff x="6955456" y="1803041"/>
              <a:chExt cx="1167746" cy="714832"/>
            </a:xfrm>
          </p:grpSpPr>
          <p:pic>
            <p:nvPicPr>
              <p:cNvPr id="62" name="Picture 61" descr="A picture containing looking, hand, light, dark&#10;&#10;Description automatically generated">
                <a:extLst>
                  <a:ext uri="{FF2B5EF4-FFF2-40B4-BE49-F238E27FC236}">
                    <a16:creationId xmlns:a16="http://schemas.microsoft.com/office/drawing/2014/main" id="{A1335D39-2643-40DB-ABC6-7C13E6B539B5}"/>
                  </a:ext>
                </a:extLst>
              </p:cNvPr>
              <p:cNvPicPr>
                <a:picLocks noChangeAspect="1"/>
              </p:cNvPicPr>
              <p:nvPr/>
            </p:nvPicPr>
            <p:blipFill>
              <a:blip r:embed="rId6" cstate="screen">
                <a:alphaModFix amt="60000"/>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a:xfrm rot="20646951" flipH="1">
                <a:off x="6958770" y="1807642"/>
                <a:ext cx="1164432" cy="710231"/>
              </a:xfrm>
              <a:custGeom>
                <a:avLst/>
                <a:gdLst>
                  <a:gd name="connsiteX0" fmla="*/ 0 w 1164432"/>
                  <a:gd name="connsiteY0" fmla="*/ 0 h 710231"/>
                  <a:gd name="connsiteX1" fmla="*/ 896501 w 1164432"/>
                  <a:gd name="connsiteY1" fmla="*/ 0 h 710231"/>
                  <a:gd name="connsiteX2" fmla="*/ 920109 w 1164432"/>
                  <a:gd name="connsiteY2" fmla="*/ 2380 h 710231"/>
                  <a:gd name="connsiteX3" fmla="*/ 1164432 w 1164432"/>
                  <a:gd name="connsiteY3" fmla="*/ 302154 h 710231"/>
                  <a:gd name="connsiteX4" fmla="*/ 920109 w 1164432"/>
                  <a:gd name="connsiteY4" fmla="*/ 601928 h 710231"/>
                  <a:gd name="connsiteX5" fmla="*/ 862012 w 1164432"/>
                  <a:gd name="connsiteY5" fmla="*/ 607785 h 710231"/>
                  <a:gd name="connsiteX6" fmla="*/ 862012 w 1164432"/>
                  <a:gd name="connsiteY6" fmla="*/ 710231 h 710231"/>
                  <a:gd name="connsiteX7" fmla="*/ 0 w 1164432"/>
                  <a:gd name="connsiteY7" fmla="*/ 710231 h 710231"/>
                  <a:gd name="connsiteX8" fmla="*/ 0 w 1164432"/>
                  <a:gd name="connsiteY8" fmla="*/ 708147 h 710231"/>
                  <a:gd name="connsiteX9" fmla="*/ 573881 w 1164432"/>
                  <a:gd name="connsiteY9" fmla="*/ 705776 h 710231"/>
                  <a:gd name="connsiteX10" fmla="*/ 564356 w 1164432"/>
                  <a:gd name="connsiteY10" fmla="*/ 443838 h 710231"/>
                  <a:gd name="connsiteX11" fmla="*/ 511969 w 1164432"/>
                  <a:gd name="connsiteY11" fmla="*/ 336682 h 710231"/>
                  <a:gd name="connsiteX12" fmla="*/ 481012 w 1164432"/>
                  <a:gd name="connsiteY12" fmla="*/ 291438 h 710231"/>
                  <a:gd name="connsiteX13" fmla="*/ 433387 w 1164432"/>
                  <a:gd name="connsiteY13" fmla="*/ 177138 h 710231"/>
                  <a:gd name="connsiteX14" fmla="*/ 278606 w 1164432"/>
                  <a:gd name="connsiteY14" fmla="*/ 84270 h 710231"/>
                  <a:gd name="connsiteX15" fmla="*/ 57150 w 1164432"/>
                  <a:gd name="connsiteY15" fmla="*/ 10451 h 710231"/>
                  <a:gd name="connsiteX16" fmla="*/ 0 w 1164432"/>
                  <a:gd name="connsiteY16" fmla="*/ 65560 h 710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64432" h="710231">
                    <a:moveTo>
                      <a:pt x="0" y="0"/>
                    </a:moveTo>
                    <a:lnTo>
                      <a:pt x="896501" y="0"/>
                    </a:lnTo>
                    <a:lnTo>
                      <a:pt x="920109" y="2380"/>
                    </a:lnTo>
                    <a:cubicBezTo>
                      <a:pt x="1059544" y="30912"/>
                      <a:pt x="1164432" y="154284"/>
                      <a:pt x="1164432" y="302154"/>
                    </a:cubicBezTo>
                    <a:cubicBezTo>
                      <a:pt x="1164432" y="450024"/>
                      <a:pt x="1059544" y="573396"/>
                      <a:pt x="920109" y="601928"/>
                    </a:cubicBezTo>
                    <a:lnTo>
                      <a:pt x="862012" y="607785"/>
                    </a:lnTo>
                    <a:lnTo>
                      <a:pt x="862012" y="710231"/>
                    </a:lnTo>
                    <a:lnTo>
                      <a:pt x="0" y="710231"/>
                    </a:lnTo>
                    <a:lnTo>
                      <a:pt x="0" y="708147"/>
                    </a:lnTo>
                    <a:lnTo>
                      <a:pt x="573881" y="705776"/>
                    </a:lnTo>
                    <a:lnTo>
                      <a:pt x="564356" y="443838"/>
                    </a:lnTo>
                    <a:lnTo>
                      <a:pt x="511969" y="336682"/>
                    </a:lnTo>
                    <a:lnTo>
                      <a:pt x="481012" y="291438"/>
                    </a:lnTo>
                    <a:lnTo>
                      <a:pt x="433387" y="177138"/>
                    </a:lnTo>
                    <a:lnTo>
                      <a:pt x="278606" y="84270"/>
                    </a:lnTo>
                    <a:lnTo>
                      <a:pt x="57150" y="10451"/>
                    </a:lnTo>
                    <a:lnTo>
                      <a:pt x="0" y="65560"/>
                    </a:lnTo>
                    <a:close/>
                  </a:path>
                </a:pathLst>
              </a:custGeom>
            </p:spPr>
          </p:pic>
          <p:pic>
            <p:nvPicPr>
              <p:cNvPr id="58" name="Picture 57" descr="A picture containing looking, hand, light, dark&#10;&#10;Description automatically generated">
                <a:extLst>
                  <a:ext uri="{FF2B5EF4-FFF2-40B4-BE49-F238E27FC236}">
                    <a16:creationId xmlns:a16="http://schemas.microsoft.com/office/drawing/2014/main" id="{853B2535-510E-4F4F-873C-DBCDBE02A573}"/>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rot="20646951" flipH="1">
                <a:off x="6955456" y="1803041"/>
                <a:ext cx="1164432" cy="710231"/>
              </a:xfrm>
              <a:custGeom>
                <a:avLst/>
                <a:gdLst>
                  <a:gd name="connsiteX0" fmla="*/ 0 w 1164432"/>
                  <a:gd name="connsiteY0" fmla="*/ 0 h 710231"/>
                  <a:gd name="connsiteX1" fmla="*/ 896501 w 1164432"/>
                  <a:gd name="connsiteY1" fmla="*/ 0 h 710231"/>
                  <a:gd name="connsiteX2" fmla="*/ 920109 w 1164432"/>
                  <a:gd name="connsiteY2" fmla="*/ 2380 h 710231"/>
                  <a:gd name="connsiteX3" fmla="*/ 1164432 w 1164432"/>
                  <a:gd name="connsiteY3" fmla="*/ 302154 h 710231"/>
                  <a:gd name="connsiteX4" fmla="*/ 920109 w 1164432"/>
                  <a:gd name="connsiteY4" fmla="*/ 601928 h 710231"/>
                  <a:gd name="connsiteX5" fmla="*/ 862012 w 1164432"/>
                  <a:gd name="connsiteY5" fmla="*/ 607785 h 710231"/>
                  <a:gd name="connsiteX6" fmla="*/ 862012 w 1164432"/>
                  <a:gd name="connsiteY6" fmla="*/ 710231 h 710231"/>
                  <a:gd name="connsiteX7" fmla="*/ 0 w 1164432"/>
                  <a:gd name="connsiteY7" fmla="*/ 710231 h 710231"/>
                  <a:gd name="connsiteX8" fmla="*/ 0 w 1164432"/>
                  <a:gd name="connsiteY8" fmla="*/ 708147 h 710231"/>
                  <a:gd name="connsiteX9" fmla="*/ 573881 w 1164432"/>
                  <a:gd name="connsiteY9" fmla="*/ 705776 h 710231"/>
                  <a:gd name="connsiteX10" fmla="*/ 564356 w 1164432"/>
                  <a:gd name="connsiteY10" fmla="*/ 443838 h 710231"/>
                  <a:gd name="connsiteX11" fmla="*/ 511969 w 1164432"/>
                  <a:gd name="connsiteY11" fmla="*/ 336682 h 710231"/>
                  <a:gd name="connsiteX12" fmla="*/ 481012 w 1164432"/>
                  <a:gd name="connsiteY12" fmla="*/ 291438 h 710231"/>
                  <a:gd name="connsiteX13" fmla="*/ 433387 w 1164432"/>
                  <a:gd name="connsiteY13" fmla="*/ 177138 h 710231"/>
                  <a:gd name="connsiteX14" fmla="*/ 278606 w 1164432"/>
                  <a:gd name="connsiteY14" fmla="*/ 84270 h 710231"/>
                  <a:gd name="connsiteX15" fmla="*/ 57150 w 1164432"/>
                  <a:gd name="connsiteY15" fmla="*/ 10451 h 710231"/>
                  <a:gd name="connsiteX16" fmla="*/ 0 w 1164432"/>
                  <a:gd name="connsiteY16" fmla="*/ 65560 h 710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64432" h="710231">
                    <a:moveTo>
                      <a:pt x="0" y="0"/>
                    </a:moveTo>
                    <a:lnTo>
                      <a:pt x="896501" y="0"/>
                    </a:lnTo>
                    <a:lnTo>
                      <a:pt x="920109" y="2380"/>
                    </a:lnTo>
                    <a:cubicBezTo>
                      <a:pt x="1059544" y="30912"/>
                      <a:pt x="1164432" y="154284"/>
                      <a:pt x="1164432" y="302154"/>
                    </a:cubicBezTo>
                    <a:cubicBezTo>
                      <a:pt x="1164432" y="450024"/>
                      <a:pt x="1059544" y="573396"/>
                      <a:pt x="920109" y="601928"/>
                    </a:cubicBezTo>
                    <a:lnTo>
                      <a:pt x="862012" y="607785"/>
                    </a:lnTo>
                    <a:lnTo>
                      <a:pt x="862012" y="710231"/>
                    </a:lnTo>
                    <a:lnTo>
                      <a:pt x="0" y="710231"/>
                    </a:lnTo>
                    <a:lnTo>
                      <a:pt x="0" y="708147"/>
                    </a:lnTo>
                    <a:lnTo>
                      <a:pt x="573881" y="705776"/>
                    </a:lnTo>
                    <a:lnTo>
                      <a:pt x="564356" y="443838"/>
                    </a:lnTo>
                    <a:lnTo>
                      <a:pt x="511969" y="336682"/>
                    </a:lnTo>
                    <a:lnTo>
                      <a:pt x="481012" y="291438"/>
                    </a:lnTo>
                    <a:lnTo>
                      <a:pt x="433387" y="177138"/>
                    </a:lnTo>
                    <a:lnTo>
                      <a:pt x="278606" y="84270"/>
                    </a:lnTo>
                    <a:lnTo>
                      <a:pt x="57150" y="10451"/>
                    </a:lnTo>
                    <a:lnTo>
                      <a:pt x="0" y="65560"/>
                    </a:lnTo>
                    <a:close/>
                  </a:path>
                </a:pathLst>
              </a:custGeom>
            </p:spPr>
          </p:pic>
        </p:grpSp>
      </p:grpSp>
      <p:grpSp>
        <p:nvGrpSpPr>
          <p:cNvPr id="85" name="Group 84">
            <a:extLst>
              <a:ext uri="{FF2B5EF4-FFF2-40B4-BE49-F238E27FC236}">
                <a16:creationId xmlns:a16="http://schemas.microsoft.com/office/drawing/2014/main" id="{7AC03075-3ADD-4C3F-A966-C24E1765118C}"/>
              </a:ext>
            </a:extLst>
          </p:cNvPr>
          <p:cNvGrpSpPr/>
          <p:nvPr/>
        </p:nvGrpSpPr>
        <p:grpSpPr>
          <a:xfrm>
            <a:off x="687520" y="1200487"/>
            <a:ext cx="1346688" cy="1428318"/>
            <a:chOff x="2117328" y="1326367"/>
            <a:chExt cx="1346688" cy="1428318"/>
          </a:xfrm>
        </p:grpSpPr>
        <p:grpSp>
          <p:nvGrpSpPr>
            <p:cNvPr id="81" name="Group 80">
              <a:extLst>
                <a:ext uri="{FF2B5EF4-FFF2-40B4-BE49-F238E27FC236}">
                  <a16:creationId xmlns:a16="http://schemas.microsoft.com/office/drawing/2014/main" id="{B8F0C5C0-36D8-4684-BEC8-84FC3CE2A7A2}"/>
                </a:ext>
              </a:extLst>
            </p:cNvPr>
            <p:cNvGrpSpPr/>
            <p:nvPr/>
          </p:nvGrpSpPr>
          <p:grpSpPr>
            <a:xfrm>
              <a:off x="2117328" y="1326367"/>
              <a:ext cx="1346688" cy="1428318"/>
              <a:chOff x="2230891" y="1283190"/>
              <a:chExt cx="1346688" cy="1428318"/>
            </a:xfrm>
          </p:grpSpPr>
          <p:sp>
            <p:nvSpPr>
              <p:cNvPr id="77" name="Oval 76">
                <a:extLst>
                  <a:ext uri="{FF2B5EF4-FFF2-40B4-BE49-F238E27FC236}">
                    <a16:creationId xmlns:a16="http://schemas.microsoft.com/office/drawing/2014/main" id="{802630B7-1AF5-41AD-89B7-D61940BC7A22}"/>
                  </a:ext>
                </a:extLst>
              </p:cNvPr>
              <p:cNvSpPr/>
              <p:nvPr/>
            </p:nvSpPr>
            <p:spPr>
              <a:xfrm>
                <a:off x="2812307" y="1283190"/>
                <a:ext cx="765272" cy="765272"/>
              </a:xfrm>
              <a:prstGeom prst="ellipse">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a:extLst>
                  <a:ext uri="{FF2B5EF4-FFF2-40B4-BE49-F238E27FC236}">
                    <a16:creationId xmlns:a16="http://schemas.microsoft.com/office/drawing/2014/main" id="{AC8B2801-76D8-435D-AD3F-9EE3C6394A8A}"/>
                  </a:ext>
                </a:extLst>
              </p:cNvPr>
              <p:cNvSpPr/>
              <p:nvPr/>
            </p:nvSpPr>
            <p:spPr>
              <a:xfrm>
                <a:off x="2556194" y="1418124"/>
                <a:ext cx="846245" cy="846245"/>
              </a:xfrm>
              <a:prstGeom prst="ellipse">
                <a:avLst/>
              </a:prstGeom>
              <a:no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3" name="Picture 72" descr="A close up of an animal&#10;&#10;Description automatically generated">
                <a:extLst>
                  <a:ext uri="{FF2B5EF4-FFF2-40B4-BE49-F238E27FC236}">
                    <a16:creationId xmlns:a16="http://schemas.microsoft.com/office/drawing/2014/main" id="{8DB4A3A4-2B45-40A8-BFE4-FDCE468DEE9E}"/>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t="-2582" b="-36066"/>
              <a:stretch/>
            </p:blipFill>
            <p:spPr>
              <a:xfrm>
                <a:off x="2230891" y="1400512"/>
                <a:ext cx="1314356" cy="1310996"/>
              </a:xfrm>
              <a:prstGeom prst="ellipse">
                <a:avLst/>
              </a:prstGeom>
              <a:ln>
                <a:noFill/>
              </a:ln>
            </p:spPr>
          </p:pic>
        </p:grpSp>
        <p:sp>
          <p:nvSpPr>
            <p:cNvPr id="82" name="Oval 81">
              <a:extLst>
                <a:ext uri="{FF2B5EF4-FFF2-40B4-BE49-F238E27FC236}">
                  <a16:creationId xmlns:a16="http://schemas.microsoft.com/office/drawing/2014/main" id="{8408998C-3E7B-44B3-B918-F11BF316DA36}"/>
                </a:ext>
              </a:extLst>
            </p:cNvPr>
            <p:cNvSpPr/>
            <p:nvPr/>
          </p:nvSpPr>
          <p:spPr>
            <a:xfrm>
              <a:off x="2159071" y="2046508"/>
              <a:ext cx="90263" cy="902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a:extLst>
                <a:ext uri="{FF2B5EF4-FFF2-40B4-BE49-F238E27FC236}">
                  <a16:creationId xmlns:a16="http://schemas.microsoft.com/office/drawing/2014/main" id="{8DAEB0AF-41AC-4855-A284-C1B200E60F5E}"/>
                </a:ext>
              </a:extLst>
            </p:cNvPr>
            <p:cNvSpPr/>
            <p:nvPr/>
          </p:nvSpPr>
          <p:spPr>
            <a:xfrm>
              <a:off x="2945597" y="2434208"/>
              <a:ext cx="90263" cy="9026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a:extLst>
                <a:ext uri="{FF2B5EF4-FFF2-40B4-BE49-F238E27FC236}">
                  <a16:creationId xmlns:a16="http://schemas.microsoft.com/office/drawing/2014/main" id="{32C88F1D-AAB8-4641-A85D-2936F64F240E}"/>
                </a:ext>
              </a:extLst>
            </p:cNvPr>
            <p:cNvSpPr/>
            <p:nvPr/>
          </p:nvSpPr>
          <p:spPr>
            <a:xfrm>
              <a:off x="3104347" y="2247170"/>
              <a:ext cx="90263" cy="9026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8" name="Rectangle 87">
            <a:extLst>
              <a:ext uri="{FF2B5EF4-FFF2-40B4-BE49-F238E27FC236}">
                <a16:creationId xmlns:a16="http://schemas.microsoft.com/office/drawing/2014/main" id="{FD335A38-82B6-4771-85FB-52F306260402}"/>
              </a:ext>
            </a:extLst>
          </p:cNvPr>
          <p:cNvSpPr>
            <a:spLocks/>
          </p:cNvSpPr>
          <p:nvPr/>
        </p:nvSpPr>
        <p:spPr>
          <a:xfrm>
            <a:off x="4747260" y="3203473"/>
            <a:ext cx="3996439" cy="665223"/>
          </a:xfrm>
          <a:prstGeom prst="rect">
            <a:avLst/>
          </a:prstGeom>
          <a:noFill/>
          <a:ln>
            <a:noFill/>
          </a:ln>
        </p:spPr>
        <p:txBody>
          <a:bodyPr wrap="square">
            <a:noAutofit/>
          </a:bodyPr>
          <a:lstStyle/>
          <a:p>
            <a:r>
              <a:rPr lang="en-US" sz="1400">
                <a:solidFill>
                  <a:schemeClr val="bg2"/>
                </a:solidFill>
                <a:latin typeface="CiscoSansTT ExtraLight"/>
              </a:rPr>
              <a:t>Connect your existing security infrastructure to our open, integrated platform with </a:t>
            </a:r>
            <a:br>
              <a:rPr lang="en-US" sz="1400">
                <a:solidFill>
                  <a:schemeClr val="bg2"/>
                </a:solidFill>
                <a:latin typeface="CiscoSansTT ExtraLight"/>
              </a:rPr>
            </a:br>
            <a:r>
              <a:rPr lang="en-US" sz="1400">
                <a:solidFill>
                  <a:schemeClr val="bg2"/>
                </a:solidFill>
                <a:latin typeface="CiscoSansTT ExtraLight"/>
              </a:rPr>
              <a:t>out-of-the-box interoperability</a:t>
            </a:r>
          </a:p>
        </p:txBody>
      </p:sp>
      <p:grpSp>
        <p:nvGrpSpPr>
          <p:cNvPr id="15" name="Group 14">
            <a:extLst>
              <a:ext uri="{FF2B5EF4-FFF2-40B4-BE49-F238E27FC236}">
                <a16:creationId xmlns:a16="http://schemas.microsoft.com/office/drawing/2014/main" id="{EC4AE4F8-A4AF-41BB-88B4-65B6D9F5349D}"/>
              </a:ext>
            </a:extLst>
          </p:cNvPr>
          <p:cNvGrpSpPr/>
          <p:nvPr/>
        </p:nvGrpSpPr>
        <p:grpSpPr>
          <a:xfrm>
            <a:off x="7001555" y="3182364"/>
            <a:ext cx="1872969" cy="1736227"/>
            <a:chOff x="7625696" y="2106653"/>
            <a:chExt cx="669024" cy="620179"/>
          </a:xfrm>
        </p:grpSpPr>
        <p:sp>
          <p:nvSpPr>
            <p:cNvPr id="90" name="Isosceles Triangle 49">
              <a:extLst>
                <a:ext uri="{FF2B5EF4-FFF2-40B4-BE49-F238E27FC236}">
                  <a16:creationId xmlns:a16="http://schemas.microsoft.com/office/drawing/2014/main" id="{D0039372-8961-45E4-8278-0E406764BA0D}"/>
                </a:ext>
              </a:extLst>
            </p:cNvPr>
            <p:cNvSpPr/>
            <p:nvPr/>
          </p:nvSpPr>
          <p:spPr>
            <a:xfrm>
              <a:off x="7674541" y="2106653"/>
              <a:ext cx="620179" cy="620179"/>
            </a:xfrm>
            <a:prstGeom prst="ellipse">
              <a:avLst/>
            </a:prstGeom>
            <a:solidFill>
              <a:schemeClr val="bg2">
                <a:alpha val="5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67" name="Isosceles Triangle 49">
              <a:extLst>
                <a:ext uri="{FF2B5EF4-FFF2-40B4-BE49-F238E27FC236}">
                  <a16:creationId xmlns:a16="http://schemas.microsoft.com/office/drawing/2014/main" id="{43D0507F-8102-4C6C-879A-3F68CC6962DB}"/>
                </a:ext>
              </a:extLst>
            </p:cNvPr>
            <p:cNvSpPr/>
            <p:nvPr/>
          </p:nvSpPr>
          <p:spPr>
            <a:xfrm>
              <a:off x="7625696" y="2436917"/>
              <a:ext cx="283429" cy="283429"/>
            </a:xfrm>
            <a:prstGeom prst="ellipse">
              <a:avLst/>
            </a:prstGeom>
            <a:noFill/>
            <a:ln w="12700">
              <a:solidFill>
                <a:schemeClr val="accent1">
                  <a:alpha val="40000"/>
                </a:schemeClr>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cxnSp>
        <p:nvCxnSpPr>
          <p:cNvPr id="10" name="Straight Connector 9">
            <a:extLst>
              <a:ext uri="{FF2B5EF4-FFF2-40B4-BE49-F238E27FC236}">
                <a16:creationId xmlns:a16="http://schemas.microsoft.com/office/drawing/2014/main" id="{8AE419A1-855A-4C27-BA70-E0DF36E00578}"/>
              </a:ext>
            </a:extLst>
          </p:cNvPr>
          <p:cNvCxnSpPr>
            <a:cxnSpLocks/>
          </p:cNvCxnSpPr>
          <p:nvPr/>
        </p:nvCxnSpPr>
        <p:spPr>
          <a:xfrm>
            <a:off x="754380" y="2718684"/>
            <a:ext cx="3399963"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521E3AD-E2FC-47D7-AB2E-92CF7DFA1684}"/>
              </a:ext>
            </a:extLst>
          </p:cNvPr>
          <p:cNvCxnSpPr>
            <a:cxnSpLocks/>
          </p:cNvCxnSpPr>
          <p:nvPr/>
        </p:nvCxnSpPr>
        <p:spPr>
          <a:xfrm>
            <a:off x="1172037" y="2791074"/>
            <a:ext cx="4421043"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94" name="Isosceles Triangle 49">
            <a:extLst>
              <a:ext uri="{FF2B5EF4-FFF2-40B4-BE49-F238E27FC236}">
                <a16:creationId xmlns:a16="http://schemas.microsoft.com/office/drawing/2014/main" id="{3E269C90-1653-4969-A598-C29F0A34985E}"/>
              </a:ext>
            </a:extLst>
          </p:cNvPr>
          <p:cNvSpPr/>
          <p:nvPr/>
        </p:nvSpPr>
        <p:spPr>
          <a:xfrm rot="10800000">
            <a:off x="3148201" y="2497063"/>
            <a:ext cx="619277" cy="540121"/>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1">
              <a:alpha val="2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95" name="Isosceles Triangle 49">
            <a:extLst>
              <a:ext uri="{FF2B5EF4-FFF2-40B4-BE49-F238E27FC236}">
                <a16:creationId xmlns:a16="http://schemas.microsoft.com/office/drawing/2014/main" id="{F4645DF2-6908-48B7-AE5E-A5CA262604CB}"/>
              </a:ext>
            </a:extLst>
          </p:cNvPr>
          <p:cNvSpPr/>
          <p:nvPr/>
        </p:nvSpPr>
        <p:spPr>
          <a:xfrm rot="10800000">
            <a:off x="3527953" y="2651268"/>
            <a:ext cx="366470" cy="319628"/>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2">
              <a:alpha val="2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98" name="Isosceles Triangle 49">
            <a:extLst>
              <a:ext uri="{FF2B5EF4-FFF2-40B4-BE49-F238E27FC236}">
                <a16:creationId xmlns:a16="http://schemas.microsoft.com/office/drawing/2014/main" id="{9661E739-25FB-4107-B921-E568777C1BF5}"/>
              </a:ext>
            </a:extLst>
          </p:cNvPr>
          <p:cNvSpPr/>
          <p:nvPr/>
        </p:nvSpPr>
        <p:spPr>
          <a:xfrm>
            <a:off x="6094753" y="2863703"/>
            <a:ext cx="100308" cy="100308"/>
          </a:xfrm>
          <a:prstGeom prst="ellipse">
            <a:avLst/>
          </a:prstGeom>
          <a:noFill/>
          <a:ln w="12700">
            <a:solidFill>
              <a:schemeClr val="tx2">
                <a:alpha val="40000"/>
              </a:schemeClr>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Tree>
    <p:extLst>
      <p:ext uri="{BB962C8B-B14F-4D97-AF65-F5344CB8AC3E}">
        <p14:creationId xmlns:p14="http://schemas.microsoft.com/office/powerpoint/2010/main" val="4767182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CFF2D-1F98-45A3-B2FE-60740F3AC08A}"/>
              </a:ext>
            </a:extLst>
          </p:cNvPr>
          <p:cNvSpPr>
            <a:spLocks noGrp="1"/>
          </p:cNvSpPr>
          <p:nvPr>
            <p:ph type="title"/>
          </p:nvPr>
        </p:nvSpPr>
        <p:spPr/>
        <p:txBody>
          <a:bodyPr/>
          <a:lstStyle/>
          <a:p>
            <a:r>
              <a:rPr lang="en-US"/>
              <a:t>And advance your security maturity </a:t>
            </a:r>
          </a:p>
        </p:txBody>
      </p:sp>
      <p:sp>
        <p:nvSpPr>
          <p:cNvPr id="3" name="Rectangle 2">
            <a:extLst>
              <a:ext uri="{FF2B5EF4-FFF2-40B4-BE49-F238E27FC236}">
                <a16:creationId xmlns:a16="http://schemas.microsoft.com/office/drawing/2014/main" id="{CC6386E1-A384-4B56-937F-77730CF70A61}"/>
              </a:ext>
            </a:extLst>
          </p:cNvPr>
          <p:cNvSpPr>
            <a:spLocks/>
          </p:cNvSpPr>
          <p:nvPr/>
        </p:nvSpPr>
        <p:spPr>
          <a:xfrm>
            <a:off x="3378777" y="2610860"/>
            <a:ext cx="2386448" cy="794278"/>
          </a:xfrm>
          <a:prstGeom prst="rect">
            <a:avLst/>
          </a:prstGeom>
        </p:spPr>
        <p:txBody>
          <a:bodyPr wrap="square" lIns="0" tIns="0" rIns="0" bIns="0">
            <a:noAutofit/>
          </a:bodyPr>
          <a:lstStyle/>
          <a:p>
            <a:pPr algn="ctr"/>
            <a:r>
              <a:rPr lang="en-US" sz="1600">
                <a:solidFill>
                  <a:schemeClr val="accent2"/>
                </a:solidFill>
                <a:latin typeface="CiscoSansTT" panose="020B0503020201020303" pitchFamily="34" charset="0"/>
              </a:rPr>
              <a:t>Automate </a:t>
            </a:r>
            <a:br>
              <a:rPr lang="en-US" sz="1600">
                <a:solidFill>
                  <a:schemeClr val="accent2"/>
                </a:solidFill>
                <a:latin typeface="CiscoSansTT" panose="020B0503020201020303" pitchFamily="34" charset="0"/>
              </a:rPr>
            </a:br>
            <a:r>
              <a:rPr lang="en-US" sz="1600">
                <a:solidFill>
                  <a:schemeClr val="bg2"/>
                </a:solidFill>
                <a:latin typeface="CiscoSansTT ExtraLight"/>
              </a:rPr>
              <a:t>critical security </a:t>
            </a:r>
            <a:br>
              <a:rPr lang="en-US" sz="1600">
                <a:solidFill>
                  <a:schemeClr val="bg2"/>
                </a:solidFill>
                <a:latin typeface="CiscoSansTT ExtraLight"/>
              </a:rPr>
            </a:br>
            <a:r>
              <a:rPr lang="en-US" sz="1600">
                <a:solidFill>
                  <a:schemeClr val="bg2"/>
                </a:solidFill>
                <a:latin typeface="CiscoSansTT ExtraLight"/>
              </a:rPr>
              <a:t>workflows</a:t>
            </a:r>
          </a:p>
        </p:txBody>
      </p:sp>
      <p:grpSp>
        <p:nvGrpSpPr>
          <p:cNvPr id="94" name="Group 93">
            <a:extLst>
              <a:ext uri="{FF2B5EF4-FFF2-40B4-BE49-F238E27FC236}">
                <a16:creationId xmlns:a16="http://schemas.microsoft.com/office/drawing/2014/main" id="{99E1171B-04AC-41E8-8201-0A73D063C8F7}"/>
              </a:ext>
            </a:extLst>
          </p:cNvPr>
          <p:cNvGrpSpPr/>
          <p:nvPr/>
        </p:nvGrpSpPr>
        <p:grpSpPr>
          <a:xfrm>
            <a:off x="3895654" y="1242981"/>
            <a:ext cx="1352693" cy="1146744"/>
            <a:chOff x="971850" y="1143109"/>
            <a:chExt cx="1735287" cy="1471087"/>
          </a:xfrm>
        </p:grpSpPr>
        <p:sp>
          <p:nvSpPr>
            <p:cNvPr id="92" name="Isosceles Triangle 49">
              <a:extLst>
                <a:ext uri="{FF2B5EF4-FFF2-40B4-BE49-F238E27FC236}">
                  <a16:creationId xmlns:a16="http://schemas.microsoft.com/office/drawing/2014/main" id="{F5E94888-0AE3-4D7A-8DAA-FA75289C144C}"/>
                </a:ext>
              </a:extLst>
            </p:cNvPr>
            <p:cNvSpPr/>
            <p:nvPr/>
          </p:nvSpPr>
          <p:spPr>
            <a:xfrm>
              <a:off x="1000887" y="1215722"/>
              <a:ext cx="1439130" cy="125517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1">
                <a:alpha val="4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30" name="Group 29">
              <a:extLst>
                <a:ext uri="{FF2B5EF4-FFF2-40B4-BE49-F238E27FC236}">
                  <a16:creationId xmlns:a16="http://schemas.microsoft.com/office/drawing/2014/main" id="{A65CF586-533B-474B-80C1-C7D0BBDEA8C6}"/>
                </a:ext>
              </a:extLst>
            </p:cNvPr>
            <p:cNvGrpSpPr/>
            <p:nvPr/>
          </p:nvGrpSpPr>
          <p:grpSpPr>
            <a:xfrm>
              <a:off x="1546291" y="1856264"/>
              <a:ext cx="737499" cy="683016"/>
              <a:chOff x="525968" y="738393"/>
              <a:chExt cx="2572513" cy="2382472"/>
            </a:xfrm>
          </p:grpSpPr>
          <p:sp>
            <p:nvSpPr>
              <p:cNvPr id="77" name="Freeform: Shape 76">
                <a:extLst>
                  <a:ext uri="{FF2B5EF4-FFF2-40B4-BE49-F238E27FC236}">
                    <a16:creationId xmlns:a16="http://schemas.microsoft.com/office/drawing/2014/main" id="{5C825267-0396-4E3C-830B-BF71928B3074}"/>
                  </a:ext>
                </a:extLst>
              </p:cNvPr>
              <p:cNvSpPr/>
              <p:nvPr/>
            </p:nvSpPr>
            <p:spPr>
              <a:xfrm>
                <a:off x="1982628" y="3076098"/>
                <a:ext cx="44767" cy="44767"/>
              </a:xfrm>
              <a:custGeom>
                <a:avLst/>
                <a:gdLst>
                  <a:gd name="connsiteX0" fmla="*/ 44768 w 44767"/>
                  <a:gd name="connsiteY0" fmla="*/ 22384 h 44767"/>
                  <a:gd name="connsiteX1" fmla="*/ 22384 w 44767"/>
                  <a:gd name="connsiteY1" fmla="*/ 44767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7"/>
                      <a:pt x="22384" y="44767"/>
                    </a:cubicBezTo>
                    <a:cubicBezTo>
                      <a:pt x="10022" y="44767"/>
                      <a:pt x="0" y="34746"/>
                      <a:pt x="0" y="22384"/>
                    </a:cubicBezTo>
                    <a:cubicBezTo>
                      <a:pt x="0" y="10021"/>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8" name="Freeform: Shape 77">
                <a:extLst>
                  <a:ext uri="{FF2B5EF4-FFF2-40B4-BE49-F238E27FC236}">
                    <a16:creationId xmlns:a16="http://schemas.microsoft.com/office/drawing/2014/main" id="{8E46FDF2-045C-4196-8F39-59F1E57C1FFA}"/>
                  </a:ext>
                </a:extLst>
              </p:cNvPr>
              <p:cNvSpPr/>
              <p:nvPr/>
            </p:nvSpPr>
            <p:spPr>
              <a:xfrm>
                <a:off x="1624965" y="2737485"/>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1"/>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9" name="Freeform: Shape 78">
                <a:extLst>
                  <a:ext uri="{FF2B5EF4-FFF2-40B4-BE49-F238E27FC236}">
                    <a16:creationId xmlns:a16="http://schemas.microsoft.com/office/drawing/2014/main" id="{A1D2A07A-E02E-49A9-85FD-2D714DFBA601}"/>
                  </a:ext>
                </a:extLst>
              </p:cNvPr>
              <p:cNvSpPr/>
              <p:nvPr/>
            </p:nvSpPr>
            <p:spPr>
              <a:xfrm>
                <a:off x="1624965" y="2393632"/>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2"/>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0" name="Freeform: Shape 79">
                <a:extLst>
                  <a:ext uri="{FF2B5EF4-FFF2-40B4-BE49-F238E27FC236}">
                    <a16:creationId xmlns:a16="http://schemas.microsoft.com/office/drawing/2014/main" id="{968AE18C-A86C-4790-BCB1-3D49F21241B3}"/>
                  </a:ext>
                </a:extLst>
              </p:cNvPr>
              <p:cNvSpPr/>
              <p:nvPr/>
            </p:nvSpPr>
            <p:spPr>
              <a:xfrm>
                <a:off x="2338863" y="1705451"/>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2"/>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1" name="Freeform: Shape 80">
                <a:extLst>
                  <a:ext uri="{FF2B5EF4-FFF2-40B4-BE49-F238E27FC236}">
                    <a16:creationId xmlns:a16="http://schemas.microsoft.com/office/drawing/2014/main" id="{E12444AE-06FF-49D6-AC37-38B9BD960912}"/>
                  </a:ext>
                </a:extLst>
              </p:cNvPr>
              <p:cNvSpPr/>
              <p:nvPr/>
            </p:nvSpPr>
            <p:spPr>
              <a:xfrm>
                <a:off x="2697480" y="1705451"/>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2" name="Freeform: Shape 81">
                <a:extLst>
                  <a:ext uri="{FF2B5EF4-FFF2-40B4-BE49-F238E27FC236}">
                    <a16:creationId xmlns:a16="http://schemas.microsoft.com/office/drawing/2014/main" id="{6F0B0CC2-05D2-44F5-A8FD-0BC8E95C37A3}"/>
                  </a:ext>
                </a:extLst>
              </p:cNvPr>
              <p:cNvSpPr/>
              <p:nvPr/>
            </p:nvSpPr>
            <p:spPr>
              <a:xfrm>
                <a:off x="2697480" y="2393632"/>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3" name="Freeform: Shape 82">
                <a:extLst>
                  <a:ext uri="{FF2B5EF4-FFF2-40B4-BE49-F238E27FC236}">
                    <a16:creationId xmlns:a16="http://schemas.microsoft.com/office/drawing/2014/main" id="{94D5CD6F-85BC-4C79-A462-7FDB7B26D90E}"/>
                  </a:ext>
                </a:extLst>
              </p:cNvPr>
              <p:cNvSpPr/>
              <p:nvPr/>
            </p:nvSpPr>
            <p:spPr>
              <a:xfrm>
                <a:off x="3053714" y="1364456"/>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4" name="Freeform: Shape 83">
                <a:extLst>
                  <a:ext uri="{FF2B5EF4-FFF2-40B4-BE49-F238E27FC236}">
                    <a16:creationId xmlns:a16="http://schemas.microsoft.com/office/drawing/2014/main" id="{C3005481-41B8-4424-A7FE-450B93B00555}"/>
                  </a:ext>
                </a:extLst>
              </p:cNvPr>
              <p:cNvSpPr/>
              <p:nvPr/>
            </p:nvSpPr>
            <p:spPr>
              <a:xfrm>
                <a:off x="2273504" y="2726135"/>
                <a:ext cx="156210" cy="156210"/>
              </a:xfrm>
              <a:custGeom>
                <a:avLst/>
                <a:gdLst>
                  <a:gd name="connsiteX0" fmla="*/ 78105 w 156209"/>
                  <a:gd name="connsiteY0" fmla="*/ 0 h 156209"/>
                  <a:gd name="connsiteX1" fmla="*/ 156210 w 156209"/>
                  <a:gd name="connsiteY1" fmla="*/ 78105 h 156209"/>
                  <a:gd name="connsiteX2" fmla="*/ 78105 w 156209"/>
                  <a:gd name="connsiteY2" fmla="*/ 156210 h 156209"/>
                  <a:gd name="connsiteX3" fmla="*/ 0 w 156209"/>
                  <a:gd name="connsiteY3" fmla="*/ 78105 h 156209"/>
                  <a:gd name="connsiteX4" fmla="*/ 78105 w 156209"/>
                  <a:gd name="connsiteY4" fmla="*/ 0 h 156209"/>
                  <a:gd name="connsiteX5" fmla="*/ 78105 w 156209"/>
                  <a:gd name="connsiteY5" fmla="*/ 141922 h 156209"/>
                  <a:gd name="connsiteX6" fmla="*/ 141922 w 156209"/>
                  <a:gd name="connsiteY6" fmla="*/ 78105 h 156209"/>
                  <a:gd name="connsiteX7" fmla="*/ 78105 w 156209"/>
                  <a:gd name="connsiteY7" fmla="*/ 14288 h 156209"/>
                  <a:gd name="connsiteX8" fmla="*/ 14288 w 156209"/>
                  <a:gd name="connsiteY8" fmla="*/ 78105 h 156209"/>
                  <a:gd name="connsiteX9" fmla="*/ 78105 w 156209"/>
                  <a:gd name="connsiteY9" fmla="*/ 141922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09">
                    <a:moveTo>
                      <a:pt x="78105" y="0"/>
                    </a:moveTo>
                    <a:cubicBezTo>
                      <a:pt x="120967" y="0"/>
                      <a:pt x="156210" y="35243"/>
                      <a:pt x="156210" y="78105"/>
                    </a:cubicBezTo>
                    <a:cubicBezTo>
                      <a:pt x="156210" y="120968"/>
                      <a:pt x="120967" y="156210"/>
                      <a:pt x="78105" y="156210"/>
                    </a:cubicBezTo>
                    <a:cubicBezTo>
                      <a:pt x="35242" y="156210"/>
                      <a:pt x="0" y="120968"/>
                      <a:pt x="0" y="78105"/>
                    </a:cubicBezTo>
                    <a:cubicBezTo>
                      <a:pt x="0" y="35243"/>
                      <a:pt x="35242" y="0"/>
                      <a:pt x="78105" y="0"/>
                    </a:cubicBezTo>
                    <a:close/>
                    <a:moveTo>
                      <a:pt x="78105" y="141922"/>
                    </a:moveTo>
                    <a:cubicBezTo>
                      <a:pt x="113347" y="141922"/>
                      <a:pt x="141922" y="113347"/>
                      <a:pt x="141922" y="78105"/>
                    </a:cubicBezTo>
                    <a:cubicBezTo>
                      <a:pt x="141922" y="42863"/>
                      <a:pt x="113347" y="14288"/>
                      <a:pt x="78105" y="14288"/>
                    </a:cubicBezTo>
                    <a:cubicBezTo>
                      <a:pt x="42863" y="14288"/>
                      <a:pt x="14288" y="42863"/>
                      <a:pt x="14288" y="78105"/>
                    </a:cubicBezTo>
                    <a:cubicBezTo>
                      <a:pt x="14288" y="113347"/>
                      <a:pt x="42863" y="141922"/>
                      <a:pt x="78105" y="141922"/>
                    </a:cubicBezTo>
                    <a:close/>
                  </a:path>
                </a:pathLst>
              </a:custGeom>
              <a:solidFill>
                <a:srgbClr val="00BCEB"/>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5" name="Freeform: Shape 84">
                <a:extLst>
                  <a:ext uri="{FF2B5EF4-FFF2-40B4-BE49-F238E27FC236}">
                    <a16:creationId xmlns:a16="http://schemas.microsoft.com/office/drawing/2014/main" id="{2CFB27B6-CD42-4D82-AC11-A3AF3E7667BC}"/>
                  </a:ext>
                </a:extLst>
              </p:cNvPr>
              <p:cNvSpPr/>
              <p:nvPr/>
            </p:nvSpPr>
            <p:spPr>
              <a:xfrm>
                <a:off x="2615088" y="1353026"/>
                <a:ext cx="156210" cy="156209"/>
              </a:xfrm>
              <a:custGeom>
                <a:avLst/>
                <a:gdLst>
                  <a:gd name="connsiteX0" fmla="*/ 78105 w 156210"/>
                  <a:gd name="connsiteY0" fmla="*/ 0 h 156209"/>
                  <a:gd name="connsiteX1" fmla="*/ 156210 w 156210"/>
                  <a:gd name="connsiteY1" fmla="*/ 78105 h 156209"/>
                  <a:gd name="connsiteX2" fmla="*/ 78105 w 156210"/>
                  <a:gd name="connsiteY2" fmla="*/ 156210 h 156209"/>
                  <a:gd name="connsiteX3" fmla="*/ 0 w 156210"/>
                  <a:gd name="connsiteY3" fmla="*/ 78105 h 156209"/>
                  <a:gd name="connsiteX4" fmla="*/ 78105 w 156210"/>
                  <a:gd name="connsiteY4" fmla="*/ 0 h 156209"/>
                  <a:gd name="connsiteX5" fmla="*/ 78105 w 156210"/>
                  <a:gd name="connsiteY5" fmla="*/ 141922 h 156209"/>
                  <a:gd name="connsiteX6" fmla="*/ 141923 w 156210"/>
                  <a:gd name="connsiteY6" fmla="*/ 78105 h 156209"/>
                  <a:gd name="connsiteX7" fmla="*/ 78105 w 156210"/>
                  <a:gd name="connsiteY7" fmla="*/ 14288 h 156209"/>
                  <a:gd name="connsiteX8" fmla="*/ 14288 w 156210"/>
                  <a:gd name="connsiteY8" fmla="*/ 78105 h 156209"/>
                  <a:gd name="connsiteX9" fmla="*/ 78105 w 156210"/>
                  <a:gd name="connsiteY9" fmla="*/ 141922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10" h="156209">
                    <a:moveTo>
                      <a:pt x="78105" y="0"/>
                    </a:moveTo>
                    <a:cubicBezTo>
                      <a:pt x="120968" y="0"/>
                      <a:pt x="156210" y="35242"/>
                      <a:pt x="156210" y="78105"/>
                    </a:cubicBezTo>
                    <a:cubicBezTo>
                      <a:pt x="156210" y="120967"/>
                      <a:pt x="120968" y="156210"/>
                      <a:pt x="78105" y="156210"/>
                    </a:cubicBezTo>
                    <a:cubicBezTo>
                      <a:pt x="35243" y="156210"/>
                      <a:pt x="0" y="120967"/>
                      <a:pt x="0" y="78105"/>
                    </a:cubicBezTo>
                    <a:cubicBezTo>
                      <a:pt x="0" y="35242"/>
                      <a:pt x="34766" y="0"/>
                      <a:pt x="78105" y="0"/>
                    </a:cubicBezTo>
                    <a:close/>
                    <a:moveTo>
                      <a:pt x="78105" y="141922"/>
                    </a:moveTo>
                    <a:cubicBezTo>
                      <a:pt x="113348" y="141922"/>
                      <a:pt x="141923" y="113347"/>
                      <a:pt x="141923" y="78105"/>
                    </a:cubicBezTo>
                    <a:cubicBezTo>
                      <a:pt x="141923" y="42863"/>
                      <a:pt x="113348" y="14288"/>
                      <a:pt x="78105" y="14288"/>
                    </a:cubicBezTo>
                    <a:cubicBezTo>
                      <a:pt x="42863" y="14288"/>
                      <a:pt x="14288" y="42863"/>
                      <a:pt x="14288" y="78105"/>
                    </a:cubicBezTo>
                    <a:cubicBezTo>
                      <a:pt x="14288" y="113347"/>
                      <a:pt x="42863" y="141922"/>
                      <a:pt x="78105" y="141922"/>
                    </a:cubicBezTo>
                    <a:close/>
                  </a:path>
                </a:pathLst>
              </a:custGeom>
              <a:solidFill>
                <a:srgbClr val="00BCEB"/>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6" name="Freeform: Shape 85">
                <a:extLst>
                  <a:ext uri="{FF2B5EF4-FFF2-40B4-BE49-F238E27FC236}">
                    <a16:creationId xmlns:a16="http://schemas.microsoft.com/office/drawing/2014/main" id="{01BDBF11-ADC3-475D-9FD3-0F83196B6E18}"/>
                  </a:ext>
                </a:extLst>
              </p:cNvPr>
              <p:cNvSpPr/>
              <p:nvPr/>
            </p:nvSpPr>
            <p:spPr>
              <a:xfrm>
                <a:off x="525968" y="738393"/>
                <a:ext cx="156210" cy="156210"/>
              </a:xfrm>
              <a:custGeom>
                <a:avLst/>
                <a:gdLst>
                  <a:gd name="connsiteX0" fmla="*/ 78105 w 156210"/>
                  <a:gd name="connsiteY0" fmla="*/ 0 h 156210"/>
                  <a:gd name="connsiteX1" fmla="*/ 156210 w 156210"/>
                  <a:gd name="connsiteY1" fmla="*/ 78105 h 156210"/>
                  <a:gd name="connsiteX2" fmla="*/ 78105 w 156210"/>
                  <a:gd name="connsiteY2" fmla="*/ 156210 h 156210"/>
                  <a:gd name="connsiteX3" fmla="*/ 0 w 156210"/>
                  <a:gd name="connsiteY3" fmla="*/ 78105 h 156210"/>
                  <a:gd name="connsiteX4" fmla="*/ 78105 w 156210"/>
                  <a:gd name="connsiteY4" fmla="*/ 0 h 156210"/>
                  <a:gd name="connsiteX5" fmla="*/ 78105 w 156210"/>
                  <a:gd name="connsiteY5" fmla="*/ 141923 h 156210"/>
                  <a:gd name="connsiteX6" fmla="*/ 141923 w 156210"/>
                  <a:gd name="connsiteY6" fmla="*/ 78105 h 156210"/>
                  <a:gd name="connsiteX7" fmla="*/ 78105 w 156210"/>
                  <a:gd name="connsiteY7" fmla="*/ 14288 h 156210"/>
                  <a:gd name="connsiteX8" fmla="*/ 14288 w 156210"/>
                  <a:gd name="connsiteY8" fmla="*/ 78105 h 156210"/>
                  <a:gd name="connsiteX9" fmla="*/ 78105 w 156210"/>
                  <a:gd name="connsiteY9" fmla="*/ 141923 h 15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10" h="156210">
                    <a:moveTo>
                      <a:pt x="78105" y="0"/>
                    </a:moveTo>
                    <a:cubicBezTo>
                      <a:pt x="120967" y="0"/>
                      <a:pt x="156210" y="35243"/>
                      <a:pt x="156210" y="78105"/>
                    </a:cubicBezTo>
                    <a:cubicBezTo>
                      <a:pt x="156210" y="120968"/>
                      <a:pt x="120967" y="156210"/>
                      <a:pt x="78105" y="156210"/>
                    </a:cubicBezTo>
                    <a:cubicBezTo>
                      <a:pt x="35242" y="156210"/>
                      <a:pt x="0" y="120968"/>
                      <a:pt x="0" y="78105"/>
                    </a:cubicBezTo>
                    <a:cubicBezTo>
                      <a:pt x="0" y="35243"/>
                      <a:pt x="35242" y="0"/>
                      <a:pt x="78105" y="0"/>
                    </a:cubicBezTo>
                    <a:close/>
                    <a:moveTo>
                      <a:pt x="78105" y="141923"/>
                    </a:moveTo>
                    <a:cubicBezTo>
                      <a:pt x="113348" y="141923"/>
                      <a:pt x="141923" y="113348"/>
                      <a:pt x="141923" y="78105"/>
                    </a:cubicBezTo>
                    <a:cubicBezTo>
                      <a:pt x="141923" y="42862"/>
                      <a:pt x="113348" y="14288"/>
                      <a:pt x="78105" y="14288"/>
                    </a:cubicBezTo>
                    <a:cubicBezTo>
                      <a:pt x="42863" y="14288"/>
                      <a:pt x="14288" y="42862"/>
                      <a:pt x="14288" y="78105"/>
                    </a:cubicBezTo>
                    <a:cubicBezTo>
                      <a:pt x="14288" y="113348"/>
                      <a:pt x="42863" y="141923"/>
                      <a:pt x="78105" y="141923"/>
                    </a:cubicBezTo>
                    <a:close/>
                  </a:path>
                </a:pathLst>
              </a:custGeom>
              <a:solidFill>
                <a:schemeClr val="accent4"/>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grpSp>
        <p:grpSp>
          <p:nvGrpSpPr>
            <p:cNvPr id="31" name="Group 30">
              <a:extLst>
                <a:ext uri="{FF2B5EF4-FFF2-40B4-BE49-F238E27FC236}">
                  <a16:creationId xmlns:a16="http://schemas.microsoft.com/office/drawing/2014/main" id="{A89AB98A-C22E-4E8A-9214-25B57D79E5C9}"/>
                </a:ext>
              </a:extLst>
            </p:cNvPr>
            <p:cNvGrpSpPr/>
            <p:nvPr/>
          </p:nvGrpSpPr>
          <p:grpSpPr>
            <a:xfrm>
              <a:off x="1393508" y="1148392"/>
              <a:ext cx="422434" cy="506811"/>
              <a:chOff x="1624965" y="1353026"/>
              <a:chExt cx="1473516" cy="1767839"/>
            </a:xfrm>
          </p:grpSpPr>
          <p:sp>
            <p:nvSpPr>
              <p:cNvPr id="68" name="Freeform: Shape 67">
                <a:extLst>
                  <a:ext uri="{FF2B5EF4-FFF2-40B4-BE49-F238E27FC236}">
                    <a16:creationId xmlns:a16="http://schemas.microsoft.com/office/drawing/2014/main" id="{FEC75BBB-00C1-452A-915E-49C6527C82DA}"/>
                  </a:ext>
                </a:extLst>
              </p:cNvPr>
              <p:cNvSpPr/>
              <p:nvPr/>
            </p:nvSpPr>
            <p:spPr>
              <a:xfrm>
                <a:off x="1982628" y="3076098"/>
                <a:ext cx="44767" cy="44767"/>
              </a:xfrm>
              <a:custGeom>
                <a:avLst/>
                <a:gdLst>
                  <a:gd name="connsiteX0" fmla="*/ 44768 w 44767"/>
                  <a:gd name="connsiteY0" fmla="*/ 22384 h 44767"/>
                  <a:gd name="connsiteX1" fmla="*/ 22384 w 44767"/>
                  <a:gd name="connsiteY1" fmla="*/ 44767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7"/>
                      <a:pt x="22384" y="44767"/>
                    </a:cubicBezTo>
                    <a:cubicBezTo>
                      <a:pt x="10022" y="44767"/>
                      <a:pt x="0" y="34746"/>
                      <a:pt x="0" y="22384"/>
                    </a:cubicBezTo>
                    <a:cubicBezTo>
                      <a:pt x="0" y="10021"/>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9" name="Freeform: Shape 68">
                <a:extLst>
                  <a:ext uri="{FF2B5EF4-FFF2-40B4-BE49-F238E27FC236}">
                    <a16:creationId xmlns:a16="http://schemas.microsoft.com/office/drawing/2014/main" id="{25557596-B76E-476D-9ECD-9DF55F8B7E02}"/>
                  </a:ext>
                </a:extLst>
              </p:cNvPr>
              <p:cNvSpPr/>
              <p:nvPr/>
            </p:nvSpPr>
            <p:spPr>
              <a:xfrm>
                <a:off x="1624965" y="2737485"/>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1"/>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0" name="Freeform: Shape 69">
                <a:extLst>
                  <a:ext uri="{FF2B5EF4-FFF2-40B4-BE49-F238E27FC236}">
                    <a16:creationId xmlns:a16="http://schemas.microsoft.com/office/drawing/2014/main" id="{CE33A123-0E1D-40F8-A828-58D8F628B972}"/>
                  </a:ext>
                </a:extLst>
              </p:cNvPr>
              <p:cNvSpPr/>
              <p:nvPr/>
            </p:nvSpPr>
            <p:spPr>
              <a:xfrm>
                <a:off x="1624965" y="2393632"/>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2"/>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 name="Freeform: Shape 70">
                <a:extLst>
                  <a:ext uri="{FF2B5EF4-FFF2-40B4-BE49-F238E27FC236}">
                    <a16:creationId xmlns:a16="http://schemas.microsoft.com/office/drawing/2014/main" id="{A9DBBD98-F2E2-4EFF-8EAC-6A8FAB67BB3F}"/>
                  </a:ext>
                </a:extLst>
              </p:cNvPr>
              <p:cNvSpPr/>
              <p:nvPr/>
            </p:nvSpPr>
            <p:spPr>
              <a:xfrm>
                <a:off x="2338863" y="1705451"/>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2"/>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2" name="Freeform: Shape 71">
                <a:extLst>
                  <a:ext uri="{FF2B5EF4-FFF2-40B4-BE49-F238E27FC236}">
                    <a16:creationId xmlns:a16="http://schemas.microsoft.com/office/drawing/2014/main" id="{5DF00C59-C30D-4ABC-8397-5C79703F7011}"/>
                  </a:ext>
                </a:extLst>
              </p:cNvPr>
              <p:cNvSpPr/>
              <p:nvPr/>
            </p:nvSpPr>
            <p:spPr>
              <a:xfrm>
                <a:off x="2697480" y="1705451"/>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3" name="Freeform: Shape 72">
                <a:extLst>
                  <a:ext uri="{FF2B5EF4-FFF2-40B4-BE49-F238E27FC236}">
                    <a16:creationId xmlns:a16="http://schemas.microsoft.com/office/drawing/2014/main" id="{2CAF9486-F31D-478A-B6D6-810AC4855A12}"/>
                  </a:ext>
                </a:extLst>
              </p:cNvPr>
              <p:cNvSpPr/>
              <p:nvPr/>
            </p:nvSpPr>
            <p:spPr>
              <a:xfrm>
                <a:off x="2697480" y="2393632"/>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 name="Freeform: Shape 73">
                <a:extLst>
                  <a:ext uri="{FF2B5EF4-FFF2-40B4-BE49-F238E27FC236}">
                    <a16:creationId xmlns:a16="http://schemas.microsoft.com/office/drawing/2014/main" id="{B835793D-2E82-4CB9-BF32-B544D06BED49}"/>
                  </a:ext>
                </a:extLst>
              </p:cNvPr>
              <p:cNvSpPr/>
              <p:nvPr/>
            </p:nvSpPr>
            <p:spPr>
              <a:xfrm>
                <a:off x="3053714" y="1364456"/>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5" name="Freeform: Shape 74">
                <a:extLst>
                  <a:ext uri="{FF2B5EF4-FFF2-40B4-BE49-F238E27FC236}">
                    <a16:creationId xmlns:a16="http://schemas.microsoft.com/office/drawing/2014/main" id="{795B6B39-5F40-45A7-9577-3834665737BA}"/>
                  </a:ext>
                </a:extLst>
              </p:cNvPr>
              <p:cNvSpPr/>
              <p:nvPr/>
            </p:nvSpPr>
            <p:spPr>
              <a:xfrm>
                <a:off x="2269807" y="2604134"/>
                <a:ext cx="156209" cy="156209"/>
              </a:xfrm>
              <a:custGeom>
                <a:avLst/>
                <a:gdLst>
                  <a:gd name="connsiteX0" fmla="*/ 78105 w 156209"/>
                  <a:gd name="connsiteY0" fmla="*/ 0 h 156209"/>
                  <a:gd name="connsiteX1" fmla="*/ 156210 w 156209"/>
                  <a:gd name="connsiteY1" fmla="*/ 78105 h 156209"/>
                  <a:gd name="connsiteX2" fmla="*/ 78105 w 156209"/>
                  <a:gd name="connsiteY2" fmla="*/ 156210 h 156209"/>
                  <a:gd name="connsiteX3" fmla="*/ 0 w 156209"/>
                  <a:gd name="connsiteY3" fmla="*/ 78105 h 156209"/>
                  <a:gd name="connsiteX4" fmla="*/ 78105 w 156209"/>
                  <a:gd name="connsiteY4" fmla="*/ 0 h 156209"/>
                  <a:gd name="connsiteX5" fmla="*/ 78105 w 156209"/>
                  <a:gd name="connsiteY5" fmla="*/ 141922 h 156209"/>
                  <a:gd name="connsiteX6" fmla="*/ 141922 w 156209"/>
                  <a:gd name="connsiteY6" fmla="*/ 78105 h 156209"/>
                  <a:gd name="connsiteX7" fmla="*/ 78105 w 156209"/>
                  <a:gd name="connsiteY7" fmla="*/ 14288 h 156209"/>
                  <a:gd name="connsiteX8" fmla="*/ 14288 w 156209"/>
                  <a:gd name="connsiteY8" fmla="*/ 78105 h 156209"/>
                  <a:gd name="connsiteX9" fmla="*/ 78105 w 156209"/>
                  <a:gd name="connsiteY9" fmla="*/ 141922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09">
                    <a:moveTo>
                      <a:pt x="78105" y="0"/>
                    </a:moveTo>
                    <a:cubicBezTo>
                      <a:pt x="120967" y="0"/>
                      <a:pt x="156210" y="35243"/>
                      <a:pt x="156210" y="78105"/>
                    </a:cubicBezTo>
                    <a:cubicBezTo>
                      <a:pt x="156210" y="120968"/>
                      <a:pt x="120967" y="156210"/>
                      <a:pt x="78105" y="156210"/>
                    </a:cubicBezTo>
                    <a:cubicBezTo>
                      <a:pt x="35242" y="156210"/>
                      <a:pt x="0" y="120968"/>
                      <a:pt x="0" y="78105"/>
                    </a:cubicBezTo>
                    <a:cubicBezTo>
                      <a:pt x="0" y="35243"/>
                      <a:pt x="35242" y="0"/>
                      <a:pt x="78105" y="0"/>
                    </a:cubicBezTo>
                    <a:close/>
                    <a:moveTo>
                      <a:pt x="78105" y="141922"/>
                    </a:moveTo>
                    <a:cubicBezTo>
                      <a:pt x="113347" y="141922"/>
                      <a:pt x="141922" y="113347"/>
                      <a:pt x="141922" y="78105"/>
                    </a:cubicBezTo>
                    <a:cubicBezTo>
                      <a:pt x="141922" y="42863"/>
                      <a:pt x="113347" y="14288"/>
                      <a:pt x="78105" y="14288"/>
                    </a:cubicBezTo>
                    <a:cubicBezTo>
                      <a:pt x="42863" y="14288"/>
                      <a:pt x="14288" y="42863"/>
                      <a:pt x="14288" y="78105"/>
                    </a:cubicBezTo>
                    <a:cubicBezTo>
                      <a:pt x="14288" y="113347"/>
                      <a:pt x="42863" y="141922"/>
                      <a:pt x="78105" y="141922"/>
                    </a:cubicBezTo>
                    <a:close/>
                  </a:path>
                </a:pathLst>
              </a:custGeom>
              <a:solidFill>
                <a:srgbClr val="00BCEB"/>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6" name="Freeform: Shape 75">
                <a:extLst>
                  <a:ext uri="{FF2B5EF4-FFF2-40B4-BE49-F238E27FC236}">
                    <a16:creationId xmlns:a16="http://schemas.microsoft.com/office/drawing/2014/main" id="{0A6ED1BB-6ACE-4FD6-A222-E6247E93321B}"/>
                  </a:ext>
                </a:extLst>
              </p:cNvPr>
              <p:cNvSpPr/>
              <p:nvPr/>
            </p:nvSpPr>
            <p:spPr>
              <a:xfrm>
                <a:off x="2615088" y="1353026"/>
                <a:ext cx="156210" cy="156209"/>
              </a:xfrm>
              <a:custGeom>
                <a:avLst/>
                <a:gdLst>
                  <a:gd name="connsiteX0" fmla="*/ 78105 w 156210"/>
                  <a:gd name="connsiteY0" fmla="*/ 0 h 156209"/>
                  <a:gd name="connsiteX1" fmla="*/ 156210 w 156210"/>
                  <a:gd name="connsiteY1" fmla="*/ 78105 h 156209"/>
                  <a:gd name="connsiteX2" fmla="*/ 78105 w 156210"/>
                  <a:gd name="connsiteY2" fmla="*/ 156210 h 156209"/>
                  <a:gd name="connsiteX3" fmla="*/ 0 w 156210"/>
                  <a:gd name="connsiteY3" fmla="*/ 78105 h 156209"/>
                  <a:gd name="connsiteX4" fmla="*/ 78105 w 156210"/>
                  <a:gd name="connsiteY4" fmla="*/ 0 h 156209"/>
                  <a:gd name="connsiteX5" fmla="*/ 78105 w 156210"/>
                  <a:gd name="connsiteY5" fmla="*/ 141922 h 156209"/>
                  <a:gd name="connsiteX6" fmla="*/ 141923 w 156210"/>
                  <a:gd name="connsiteY6" fmla="*/ 78105 h 156209"/>
                  <a:gd name="connsiteX7" fmla="*/ 78105 w 156210"/>
                  <a:gd name="connsiteY7" fmla="*/ 14288 h 156209"/>
                  <a:gd name="connsiteX8" fmla="*/ 14288 w 156210"/>
                  <a:gd name="connsiteY8" fmla="*/ 78105 h 156209"/>
                  <a:gd name="connsiteX9" fmla="*/ 78105 w 156210"/>
                  <a:gd name="connsiteY9" fmla="*/ 141922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10" h="156209">
                    <a:moveTo>
                      <a:pt x="78105" y="0"/>
                    </a:moveTo>
                    <a:cubicBezTo>
                      <a:pt x="120968" y="0"/>
                      <a:pt x="156210" y="35242"/>
                      <a:pt x="156210" y="78105"/>
                    </a:cubicBezTo>
                    <a:cubicBezTo>
                      <a:pt x="156210" y="120967"/>
                      <a:pt x="120968" y="156210"/>
                      <a:pt x="78105" y="156210"/>
                    </a:cubicBezTo>
                    <a:cubicBezTo>
                      <a:pt x="35243" y="156210"/>
                      <a:pt x="0" y="120967"/>
                      <a:pt x="0" y="78105"/>
                    </a:cubicBezTo>
                    <a:cubicBezTo>
                      <a:pt x="0" y="35242"/>
                      <a:pt x="34766" y="0"/>
                      <a:pt x="78105" y="0"/>
                    </a:cubicBezTo>
                    <a:close/>
                    <a:moveTo>
                      <a:pt x="78105" y="141922"/>
                    </a:moveTo>
                    <a:cubicBezTo>
                      <a:pt x="113348" y="141922"/>
                      <a:pt x="141923" y="113347"/>
                      <a:pt x="141923" y="78105"/>
                    </a:cubicBezTo>
                    <a:cubicBezTo>
                      <a:pt x="141923" y="42863"/>
                      <a:pt x="113348" y="14288"/>
                      <a:pt x="78105" y="14288"/>
                    </a:cubicBezTo>
                    <a:cubicBezTo>
                      <a:pt x="42863" y="14288"/>
                      <a:pt x="14288" y="42863"/>
                      <a:pt x="14288" y="78105"/>
                    </a:cubicBezTo>
                    <a:cubicBezTo>
                      <a:pt x="14288" y="113347"/>
                      <a:pt x="42863" y="141922"/>
                      <a:pt x="78105" y="141922"/>
                    </a:cubicBezTo>
                    <a:close/>
                  </a:path>
                </a:pathLst>
              </a:custGeom>
              <a:solidFill>
                <a:srgbClr val="00BCEB"/>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grpSp>
        <p:pic>
          <p:nvPicPr>
            <p:cNvPr id="34" name="Picture 33" descr="A picture containing person, table, man, holding&#10;&#10;Description automatically generated">
              <a:extLst>
                <a:ext uri="{FF2B5EF4-FFF2-40B4-BE49-F238E27FC236}">
                  <a16:creationId xmlns:a16="http://schemas.microsoft.com/office/drawing/2014/main" id="{FF954335-7E09-47AB-AA12-31650B89959F}"/>
                </a:ext>
              </a:extLst>
            </p:cNvPr>
            <p:cNvPicPr>
              <a:picLocks noChangeAspect="1"/>
            </p:cNvPicPr>
            <p:nvPr/>
          </p:nvPicPr>
          <p:blipFill>
            <a:blip r:embed="rId3" cstate="screen">
              <a:grayscl/>
              <a:extLst>
                <a:ext uri="{28A0092B-C50C-407E-A947-70E740481C1C}">
                  <a14:useLocalDpi xmlns:a14="http://schemas.microsoft.com/office/drawing/2010/main"/>
                </a:ext>
              </a:extLst>
            </a:blip>
            <a:srcRect/>
            <a:stretch>
              <a:fillRect/>
            </a:stretch>
          </p:blipFill>
          <p:spPr>
            <a:xfrm>
              <a:off x="1224605" y="1143109"/>
              <a:ext cx="1482532" cy="1471087"/>
            </a:xfrm>
            <a:custGeom>
              <a:avLst/>
              <a:gdLst>
                <a:gd name="connsiteX0" fmla="*/ 1333500 w 2664810"/>
                <a:gd name="connsiteY0" fmla="*/ 0 h 2644239"/>
                <a:gd name="connsiteX1" fmla="*/ 2660115 w 2664810"/>
                <a:gd name="connsiteY1" fmla="*/ 1197157 h 2644239"/>
                <a:gd name="connsiteX2" fmla="*/ 2664810 w 2664810"/>
                <a:gd name="connsiteY2" fmla="*/ 1290132 h 2644239"/>
                <a:gd name="connsiteX3" fmla="*/ 2664810 w 2664810"/>
                <a:gd name="connsiteY3" fmla="*/ 1376869 h 2644239"/>
                <a:gd name="connsiteX4" fmla="*/ 2660115 w 2664810"/>
                <a:gd name="connsiteY4" fmla="*/ 1469843 h 2644239"/>
                <a:gd name="connsiteX5" fmla="*/ 1602247 w 2664810"/>
                <a:gd name="connsiteY5" fmla="*/ 2639908 h 2644239"/>
                <a:gd name="connsiteX6" fmla="*/ 1573869 w 2664810"/>
                <a:gd name="connsiteY6" fmla="*/ 2644239 h 2644239"/>
                <a:gd name="connsiteX7" fmla="*/ 1093132 w 2664810"/>
                <a:gd name="connsiteY7" fmla="*/ 2644239 h 2644239"/>
                <a:gd name="connsiteX8" fmla="*/ 1064753 w 2664810"/>
                <a:gd name="connsiteY8" fmla="*/ 2639908 h 2644239"/>
                <a:gd name="connsiteX9" fmla="*/ 0 w 2664810"/>
                <a:gd name="connsiteY9" fmla="*/ 1333500 h 2644239"/>
                <a:gd name="connsiteX10" fmla="*/ 1333500 w 2664810"/>
                <a:gd name="connsiteY10" fmla="*/ 0 h 2644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810" h="2644239">
                  <a:moveTo>
                    <a:pt x="1333500" y="0"/>
                  </a:moveTo>
                  <a:cubicBezTo>
                    <a:pt x="2023943" y="0"/>
                    <a:pt x="2591827" y="524732"/>
                    <a:pt x="2660115" y="1197157"/>
                  </a:cubicBezTo>
                  <a:lnTo>
                    <a:pt x="2664810" y="1290132"/>
                  </a:lnTo>
                  <a:lnTo>
                    <a:pt x="2664810" y="1376869"/>
                  </a:lnTo>
                  <a:lnTo>
                    <a:pt x="2660115" y="1469843"/>
                  </a:lnTo>
                  <a:cubicBezTo>
                    <a:pt x="2600932" y="2052612"/>
                    <a:pt x="2166497" y="2524446"/>
                    <a:pt x="1602247" y="2639908"/>
                  </a:cubicBezTo>
                  <a:lnTo>
                    <a:pt x="1573869" y="2644239"/>
                  </a:lnTo>
                  <a:lnTo>
                    <a:pt x="1093132" y="2644239"/>
                  </a:lnTo>
                  <a:lnTo>
                    <a:pt x="1064753" y="2639908"/>
                  </a:lnTo>
                  <a:cubicBezTo>
                    <a:pt x="457100" y="2515564"/>
                    <a:pt x="0" y="1977913"/>
                    <a:pt x="0" y="1333500"/>
                  </a:cubicBezTo>
                  <a:cubicBezTo>
                    <a:pt x="0" y="597028"/>
                    <a:pt x="597028" y="0"/>
                    <a:pt x="1333500" y="0"/>
                  </a:cubicBezTo>
                  <a:close/>
                </a:path>
              </a:pathLst>
            </a:custGeom>
          </p:spPr>
        </p:pic>
        <p:grpSp>
          <p:nvGrpSpPr>
            <p:cNvPr id="36" name="Group 35">
              <a:extLst>
                <a:ext uri="{FF2B5EF4-FFF2-40B4-BE49-F238E27FC236}">
                  <a16:creationId xmlns:a16="http://schemas.microsoft.com/office/drawing/2014/main" id="{6899B2E0-A199-49CD-9A4F-DAAB36D2FFCC}"/>
                </a:ext>
              </a:extLst>
            </p:cNvPr>
            <p:cNvGrpSpPr/>
            <p:nvPr/>
          </p:nvGrpSpPr>
          <p:grpSpPr>
            <a:xfrm>
              <a:off x="1721992" y="1893482"/>
              <a:ext cx="445031" cy="95230"/>
              <a:chOff x="2736154" y="1943610"/>
              <a:chExt cx="1022270" cy="218761"/>
            </a:xfrm>
          </p:grpSpPr>
          <p:sp>
            <p:nvSpPr>
              <p:cNvPr id="50" name="Freeform: Shape 49">
                <a:extLst>
                  <a:ext uri="{FF2B5EF4-FFF2-40B4-BE49-F238E27FC236}">
                    <a16:creationId xmlns:a16="http://schemas.microsoft.com/office/drawing/2014/main" id="{56D103D4-3AF3-4B8B-9600-4D818EEAE016}"/>
                  </a:ext>
                </a:extLst>
              </p:cNvPr>
              <p:cNvSpPr/>
              <p:nvPr/>
            </p:nvSpPr>
            <p:spPr>
              <a:xfrm>
                <a:off x="3114587" y="1943610"/>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 name="Freeform: Shape 50">
                <a:extLst>
                  <a:ext uri="{FF2B5EF4-FFF2-40B4-BE49-F238E27FC236}">
                    <a16:creationId xmlns:a16="http://schemas.microsoft.com/office/drawing/2014/main" id="{03F12206-B10D-487A-95DC-11176C3F22FA}"/>
                  </a:ext>
                </a:extLst>
              </p:cNvPr>
              <p:cNvSpPr/>
              <p:nvPr/>
            </p:nvSpPr>
            <p:spPr>
              <a:xfrm>
                <a:off x="2988395" y="2011857"/>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2" name="Freeform: Shape 51">
                <a:extLst>
                  <a:ext uri="{FF2B5EF4-FFF2-40B4-BE49-F238E27FC236}">
                    <a16:creationId xmlns:a16="http://schemas.microsoft.com/office/drawing/2014/main" id="{9BC536E6-EAE2-4F79-9C2D-CFAD0CF0D9FB}"/>
                  </a:ext>
                </a:extLst>
              </p:cNvPr>
              <p:cNvSpPr/>
              <p:nvPr/>
            </p:nvSpPr>
            <p:spPr>
              <a:xfrm>
                <a:off x="2862346" y="2079960"/>
                <a:ext cx="643837" cy="14307"/>
              </a:xfrm>
              <a:custGeom>
                <a:avLst/>
                <a:gdLst>
                  <a:gd name="connsiteX0" fmla="*/ 8048 w 643836"/>
                  <a:gd name="connsiteY0" fmla="*/ 8048 h 14307"/>
                  <a:gd name="connsiteX1" fmla="*/ 646019 w 643836"/>
                  <a:gd name="connsiteY1" fmla="*/ 8048 h 14307"/>
                </a:gdLst>
                <a:ahLst/>
                <a:cxnLst>
                  <a:cxn ang="0">
                    <a:pos x="connsiteX0" y="connsiteY0"/>
                  </a:cxn>
                  <a:cxn ang="0">
                    <a:pos x="connsiteX1" y="connsiteY1"/>
                  </a:cxn>
                </a:cxnLst>
                <a:rect l="l" t="t" r="r" b="b"/>
                <a:pathLst>
                  <a:path w="643836" h="14307">
                    <a:moveTo>
                      <a:pt x="8048" y="8048"/>
                    </a:moveTo>
                    <a:lnTo>
                      <a:pt x="646019" y="8048"/>
                    </a:lnTo>
                  </a:path>
                </a:pathLst>
              </a:custGeom>
              <a:ln w="714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3" name="Freeform: Shape 52">
                <a:extLst>
                  <a:ext uri="{FF2B5EF4-FFF2-40B4-BE49-F238E27FC236}">
                    <a16:creationId xmlns:a16="http://schemas.microsoft.com/office/drawing/2014/main" id="{80546F11-99E0-4E91-A3D0-87A9B0AEAB35}"/>
                  </a:ext>
                </a:extLst>
              </p:cNvPr>
              <p:cNvSpPr/>
              <p:nvPr/>
            </p:nvSpPr>
            <p:spPr>
              <a:xfrm>
                <a:off x="2736154" y="2148064"/>
                <a:ext cx="643837" cy="14307"/>
              </a:xfrm>
              <a:custGeom>
                <a:avLst/>
                <a:gdLst>
                  <a:gd name="connsiteX0" fmla="*/ 8048 w 643836"/>
                  <a:gd name="connsiteY0" fmla="*/ 8048 h 14307"/>
                  <a:gd name="connsiteX1" fmla="*/ 646162 w 643836"/>
                  <a:gd name="connsiteY1" fmla="*/ 8048 h 14307"/>
                </a:gdLst>
                <a:ahLst/>
                <a:cxnLst>
                  <a:cxn ang="0">
                    <a:pos x="connsiteX0" y="connsiteY0"/>
                  </a:cxn>
                  <a:cxn ang="0">
                    <a:pos x="connsiteX1" y="connsiteY1"/>
                  </a:cxn>
                </a:cxnLst>
                <a:rect l="l" t="t" r="r" b="b"/>
                <a:pathLst>
                  <a:path w="643836" h="14307">
                    <a:moveTo>
                      <a:pt x="8048" y="8048"/>
                    </a:moveTo>
                    <a:lnTo>
                      <a:pt x="646162" y="8048"/>
                    </a:lnTo>
                  </a:path>
                </a:pathLst>
              </a:custGeom>
              <a:ln w="7144"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grpSp>
        <p:grpSp>
          <p:nvGrpSpPr>
            <p:cNvPr id="38" name="Group 37">
              <a:extLst>
                <a:ext uri="{FF2B5EF4-FFF2-40B4-BE49-F238E27FC236}">
                  <a16:creationId xmlns:a16="http://schemas.microsoft.com/office/drawing/2014/main" id="{F86112B5-F2D6-43B6-9EDA-45210907B96F}"/>
                </a:ext>
              </a:extLst>
            </p:cNvPr>
            <p:cNvGrpSpPr/>
            <p:nvPr/>
          </p:nvGrpSpPr>
          <p:grpSpPr>
            <a:xfrm>
              <a:off x="1647903" y="2340055"/>
              <a:ext cx="190344" cy="190844"/>
              <a:chOff x="2197100" y="5507038"/>
              <a:chExt cx="1209675" cy="1212850"/>
            </a:xfrm>
            <a:solidFill>
              <a:schemeClr val="accent2"/>
            </a:solidFill>
          </p:grpSpPr>
          <p:sp>
            <p:nvSpPr>
              <p:cNvPr id="39" name="Freeform 272">
                <a:extLst>
                  <a:ext uri="{FF2B5EF4-FFF2-40B4-BE49-F238E27FC236}">
                    <a16:creationId xmlns:a16="http://schemas.microsoft.com/office/drawing/2014/main" id="{FF4B27A6-C8F6-48CF-BB19-BF443FB7D3D0}"/>
                  </a:ext>
                </a:extLst>
              </p:cNvPr>
              <p:cNvSpPr>
                <a:spLocks noEditPoints="1"/>
              </p:cNvSpPr>
              <p:nvPr/>
            </p:nvSpPr>
            <p:spPr bwMode="auto">
              <a:xfrm>
                <a:off x="2476500" y="5507038"/>
                <a:ext cx="930275" cy="933450"/>
              </a:xfrm>
              <a:custGeom>
                <a:avLst/>
                <a:gdLst>
                  <a:gd name="T0" fmla="*/ 1200 w 1502"/>
                  <a:gd name="T1" fmla="*/ 1446 h 1501"/>
                  <a:gd name="T2" fmla="*/ 972 w 1502"/>
                  <a:gd name="T3" fmla="*/ 1446 h 1501"/>
                  <a:gd name="T4" fmla="*/ 990 w 1502"/>
                  <a:gd name="T5" fmla="*/ 1501 h 1501"/>
                  <a:gd name="T6" fmla="*/ 1209 w 1502"/>
                  <a:gd name="T7" fmla="*/ 1501 h 1501"/>
                  <a:gd name="T8" fmla="*/ 1200 w 1502"/>
                  <a:gd name="T9" fmla="*/ 1446 h 1501"/>
                  <a:gd name="T10" fmla="*/ 0 w 1502"/>
                  <a:gd name="T11" fmla="*/ 570 h 1501"/>
                  <a:gd name="T12" fmla="*/ 0 w 1502"/>
                  <a:gd name="T13" fmla="*/ 1413 h 1501"/>
                  <a:gd name="T14" fmla="*/ 88 w 1502"/>
                  <a:gd name="T15" fmla="*/ 1501 h 1501"/>
                  <a:gd name="T16" fmla="*/ 932 w 1502"/>
                  <a:gd name="T17" fmla="*/ 1501 h 1501"/>
                  <a:gd name="T18" fmla="*/ 913 w 1502"/>
                  <a:gd name="T19" fmla="*/ 1446 h 1501"/>
                  <a:gd name="T20" fmla="*/ 88 w 1502"/>
                  <a:gd name="T21" fmla="*/ 1446 h 1501"/>
                  <a:gd name="T22" fmla="*/ 55 w 1502"/>
                  <a:gd name="T23" fmla="*/ 1413 h 1501"/>
                  <a:gd name="T24" fmla="*/ 55 w 1502"/>
                  <a:gd name="T25" fmla="*/ 588 h 1501"/>
                  <a:gd name="T26" fmla="*/ 0 w 1502"/>
                  <a:gd name="T27" fmla="*/ 570 h 1501"/>
                  <a:gd name="T28" fmla="*/ 0 w 1502"/>
                  <a:gd name="T29" fmla="*/ 293 h 1501"/>
                  <a:gd name="T30" fmla="*/ 0 w 1502"/>
                  <a:gd name="T31" fmla="*/ 512 h 1501"/>
                  <a:gd name="T32" fmla="*/ 55 w 1502"/>
                  <a:gd name="T33" fmla="*/ 529 h 1501"/>
                  <a:gd name="T34" fmla="*/ 55 w 1502"/>
                  <a:gd name="T35" fmla="*/ 301 h 1501"/>
                  <a:gd name="T36" fmla="*/ 0 w 1502"/>
                  <a:gd name="T37" fmla="*/ 293 h 1501"/>
                  <a:gd name="T38" fmla="*/ 89 w 1502"/>
                  <a:gd name="T39" fmla="*/ 0 h 1501"/>
                  <a:gd name="T40" fmla="*/ 27 w 1502"/>
                  <a:gd name="T41" fmla="*/ 24 h 1501"/>
                  <a:gd name="T42" fmla="*/ 0 w 1502"/>
                  <a:gd name="T43" fmla="*/ 88 h 1501"/>
                  <a:gd name="T44" fmla="*/ 0 w 1502"/>
                  <a:gd name="T45" fmla="*/ 237 h 1501"/>
                  <a:gd name="T46" fmla="*/ 55 w 1502"/>
                  <a:gd name="T47" fmla="*/ 246 h 1501"/>
                  <a:gd name="T48" fmla="*/ 55 w 1502"/>
                  <a:gd name="T49" fmla="*/ 88 h 1501"/>
                  <a:gd name="T50" fmla="*/ 65 w 1502"/>
                  <a:gd name="T51" fmla="*/ 64 h 1501"/>
                  <a:gd name="T52" fmla="*/ 89 w 1502"/>
                  <a:gd name="T53" fmla="*/ 54 h 1501"/>
                  <a:gd name="T54" fmla="*/ 90 w 1502"/>
                  <a:gd name="T55" fmla="*/ 54 h 1501"/>
                  <a:gd name="T56" fmla="*/ 1447 w 1502"/>
                  <a:gd name="T57" fmla="*/ 1411 h 1501"/>
                  <a:gd name="T58" fmla="*/ 1437 w 1502"/>
                  <a:gd name="T59" fmla="*/ 1436 h 1501"/>
                  <a:gd name="T60" fmla="*/ 1413 w 1502"/>
                  <a:gd name="T61" fmla="*/ 1446 h 1501"/>
                  <a:gd name="T62" fmla="*/ 1256 w 1502"/>
                  <a:gd name="T63" fmla="*/ 1446 h 1501"/>
                  <a:gd name="T64" fmla="*/ 1264 w 1502"/>
                  <a:gd name="T65" fmla="*/ 1501 h 1501"/>
                  <a:gd name="T66" fmla="*/ 1413 w 1502"/>
                  <a:gd name="T67" fmla="*/ 1501 h 1501"/>
                  <a:gd name="T68" fmla="*/ 1477 w 1502"/>
                  <a:gd name="T69" fmla="*/ 1474 h 1501"/>
                  <a:gd name="T70" fmla="*/ 1501 w 1502"/>
                  <a:gd name="T71" fmla="*/ 1409 h 1501"/>
                  <a:gd name="T72" fmla="*/ 1071 w 1502"/>
                  <a:gd name="T73" fmla="*/ 431 h 1501"/>
                  <a:gd name="T74" fmla="*/ 93 w 1502"/>
                  <a:gd name="T75" fmla="*/ 0 h 1501"/>
                  <a:gd name="T76" fmla="*/ 89 w 1502"/>
                  <a:gd name="T77" fmla="*/ 0 h 1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02" h="1501">
                    <a:moveTo>
                      <a:pt x="1200" y="1446"/>
                    </a:moveTo>
                    <a:cubicBezTo>
                      <a:pt x="972" y="1446"/>
                      <a:pt x="972" y="1446"/>
                      <a:pt x="972" y="1446"/>
                    </a:cubicBezTo>
                    <a:cubicBezTo>
                      <a:pt x="978" y="1465"/>
                      <a:pt x="984" y="1483"/>
                      <a:pt x="990" y="1501"/>
                    </a:cubicBezTo>
                    <a:cubicBezTo>
                      <a:pt x="1209" y="1501"/>
                      <a:pt x="1209" y="1501"/>
                      <a:pt x="1209" y="1501"/>
                    </a:cubicBezTo>
                    <a:cubicBezTo>
                      <a:pt x="1206" y="1483"/>
                      <a:pt x="1203" y="1465"/>
                      <a:pt x="1200" y="1446"/>
                    </a:cubicBezTo>
                    <a:moveTo>
                      <a:pt x="0" y="570"/>
                    </a:moveTo>
                    <a:cubicBezTo>
                      <a:pt x="0" y="1413"/>
                      <a:pt x="0" y="1413"/>
                      <a:pt x="0" y="1413"/>
                    </a:cubicBezTo>
                    <a:cubicBezTo>
                      <a:pt x="0" y="1461"/>
                      <a:pt x="40" y="1501"/>
                      <a:pt x="88" y="1501"/>
                    </a:cubicBezTo>
                    <a:cubicBezTo>
                      <a:pt x="932" y="1501"/>
                      <a:pt x="932" y="1501"/>
                      <a:pt x="932" y="1501"/>
                    </a:cubicBezTo>
                    <a:cubicBezTo>
                      <a:pt x="926" y="1483"/>
                      <a:pt x="920" y="1464"/>
                      <a:pt x="913" y="1446"/>
                    </a:cubicBezTo>
                    <a:cubicBezTo>
                      <a:pt x="88" y="1446"/>
                      <a:pt x="88" y="1446"/>
                      <a:pt x="88" y="1446"/>
                    </a:cubicBezTo>
                    <a:cubicBezTo>
                      <a:pt x="70" y="1446"/>
                      <a:pt x="55" y="1431"/>
                      <a:pt x="55" y="1413"/>
                    </a:cubicBezTo>
                    <a:cubicBezTo>
                      <a:pt x="55" y="588"/>
                      <a:pt x="55" y="588"/>
                      <a:pt x="55" y="588"/>
                    </a:cubicBezTo>
                    <a:cubicBezTo>
                      <a:pt x="37" y="581"/>
                      <a:pt x="19" y="575"/>
                      <a:pt x="0" y="570"/>
                    </a:cubicBezTo>
                    <a:moveTo>
                      <a:pt x="0" y="293"/>
                    </a:moveTo>
                    <a:cubicBezTo>
                      <a:pt x="0" y="512"/>
                      <a:pt x="0" y="512"/>
                      <a:pt x="0" y="512"/>
                    </a:cubicBezTo>
                    <a:cubicBezTo>
                      <a:pt x="19" y="517"/>
                      <a:pt x="37" y="523"/>
                      <a:pt x="55" y="529"/>
                    </a:cubicBezTo>
                    <a:cubicBezTo>
                      <a:pt x="55" y="301"/>
                      <a:pt x="55" y="301"/>
                      <a:pt x="55" y="301"/>
                    </a:cubicBezTo>
                    <a:cubicBezTo>
                      <a:pt x="37" y="298"/>
                      <a:pt x="19" y="295"/>
                      <a:pt x="0" y="293"/>
                    </a:cubicBezTo>
                    <a:moveTo>
                      <a:pt x="89" y="0"/>
                    </a:moveTo>
                    <a:cubicBezTo>
                      <a:pt x="66" y="0"/>
                      <a:pt x="44" y="9"/>
                      <a:pt x="27" y="24"/>
                    </a:cubicBezTo>
                    <a:cubicBezTo>
                      <a:pt x="10" y="41"/>
                      <a:pt x="0" y="64"/>
                      <a:pt x="0" y="88"/>
                    </a:cubicBezTo>
                    <a:cubicBezTo>
                      <a:pt x="0" y="237"/>
                      <a:pt x="0" y="237"/>
                      <a:pt x="0" y="237"/>
                    </a:cubicBezTo>
                    <a:cubicBezTo>
                      <a:pt x="19" y="240"/>
                      <a:pt x="37" y="243"/>
                      <a:pt x="55" y="246"/>
                    </a:cubicBezTo>
                    <a:cubicBezTo>
                      <a:pt x="55" y="88"/>
                      <a:pt x="55" y="88"/>
                      <a:pt x="55" y="88"/>
                    </a:cubicBezTo>
                    <a:cubicBezTo>
                      <a:pt x="55" y="79"/>
                      <a:pt x="58" y="70"/>
                      <a:pt x="65" y="64"/>
                    </a:cubicBezTo>
                    <a:cubicBezTo>
                      <a:pt x="72" y="58"/>
                      <a:pt x="80" y="54"/>
                      <a:pt x="89" y="54"/>
                    </a:cubicBezTo>
                    <a:cubicBezTo>
                      <a:pt x="89" y="54"/>
                      <a:pt x="90" y="54"/>
                      <a:pt x="90" y="54"/>
                    </a:cubicBezTo>
                    <a:cubicBezTo>
                      <a:pt x="819" y="86"/>
                      <a:pt x="1415" y="682"/>
                      <a:pt x="1447" y="1411"/>
                    </a:cubicBezTo>
                    <a:cubicBezTo>
                      <a:pt x="1447" y="1420"/>
                      <a:pt x="1444" y="1429"/>
                      <a:pt x="1437" y="1436"/>
                    </a:cubicBezTo>
                    <a:cubicBezTo>
                      <a:pt x="1431" y="1443"/>
                      <a:pt x="1422" y="1446"/>
                      <a:pt x="1413" y="1446"/>
                    </a:cubicBezTo>
                    <a:cubicBezTo>
                      <a:pt x="1256" y="1446"/>
                      <a:pt x="1256" y="1446"/>
                      <a:pt x="1256" y="1446"/>
                    </a:cubicBezTo>
                    <a:cubicBezTo>
                      <a:pt x="1259" y="1465"/>
                      <a:pt x="1261" y="1483"/>
                      <a:pt x="1264" y="1501"/>
                    </a:cubicBezTo>
                    <a:cubicBezTo>
                      <a:pt x="1413" y="1501"/>
                      <a:pt x="1413" y="1501"/>
                      <a:pt x="1413" y="1501"/>
                    </a:cubicBezTo>
                    <a:cubicBezTo>
                      <a:pt x="1437" y="1501"/>
                      <a:pt x="1460" y="1491"/>
                      <a:pt x="1477" y="1474"/>
                    </a:cubicBezTo>
                    <a:cubicBezTo>
                      <a:pt x="1494" y="1456"/>
                      <a:pt x="1502" y="1433"/>
                      <a:pt x="1501" y="1409"/>
                    </a:cubicBezTo>
                    <a:cubicBezTo>
                      <a:pt x="1485" y="1040"/>
                      <a:pt x="1332" y="692"/>
                      <a:pt x="1071" y="431"/>
                    </a:cubicBezTo>
                    <a:cubicBezTo>
                      <a:pt x="809" y="169"/>
                      <a:pt x="462" y="16"/>
                      <a:pt x="93" y="0"/>
                    </a:cubicBezTo>
                    <a:cubicBezTo>
                      <a:pt x="91" y="0"/>
                      <a:pt x="90" y="0"/>
                      <a:pt x="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0" name="Freeform 273">
                <a:extLst>
                  <a:ext uri="{FF2B5EF4-FFF2-40B4-BE49-F238E27FC236}">
                    <a16:creationId xmlns:a16="http://schemas.microsoft.com/office/drawing/2014/main" id="{0C619215-8AB3-4CF3-AC08-A7AF3C1E15EB}"/>
                  </a:ext>
                </a:extLst>
              </p:cNvPr>
              <p:cNvSpPr>
                <a:spLocks noEditPoints="1"/>
              </p:cNvSpPr>
              <p:nvPr/>
            </p:nvSpPr>
            <p:spPr bwMode="auto">
              <a:xfrm>
                <a:off x="2336800" y="5646738"/>
                <a:ext cx="931863" cy="933450"/>
              </a:xfrm>
              <a:custGeom>
                <a:avLst/>
                <a:gdLst>
                  <a:gd name="T0" fmla="*/ 1489 w 1502"/>
                  <a:gd name="T1" fmla="*/ 1276 h 1502"/>
                  <a:gd name="T2" fmla="*/ 1434 w 1502"/>
                  <a:gd name="T3" fmla="*/ 1276 h 1502"/>
                  <a:gd name="T4" fmla="*/ 1446 w 1502"/>
                  <a:gd name="T5" fmla="*/ 1412 h 1502"/>
                  <a:gd name="T6" fmla="*/ 1437 w 1502"/>
                  <a:gd name="T7" fmla="*/ 1437 h 1502"/>
                  <a:gd name="T8" fmla="*/ 1413 w 1502"/>
                  <a:gd name="T9" fmla="*/ 1447 h 1502"/>
                  <a:gd name="T10" fmla="*/ 1255 w 1502"/>
                  <a:gd name="T11" fmla="*/ 1447 h 1502"/>
                  <a:gd name="T12" fmla="*/ 1263 w 1502"/>
                  <a:gd name="T13" fmla="*/ 1502 h 1502"/>
                  <a:gd name="T14" fmla="*/ 1413 w 1502"/>
                  <a:gd name="T15" fmla="*/ 1502 h 1502"/>
                  <a:gd name="T16" fmla="*/ 1476 w 1502"/>
                  <a:gd name="T17" fmla="*/ 1474 h 1502"/>
                  <a:gd name="T18" fmla="*/ 1501 w 1502"/>
                  <a:gd name="T19" fmla="*/ 1409 h 1502"/>
                  <a:gd name="T20" fmla="*/ 1489 w 1502"/>
                  <a:gd name="T21" fmla="*/ 1276 h 1502"/>
                  <a:gd name="T22" fmla="*/ 280 w 1502"/>
                  <a:gd name="T23" fmla="*/ 21 h 1502"/>
                  <a:gd name="T24" fmla="*/ 280 w 1502"/>
                  <a:gd name="T25" fmla="*/ 76 h 1502"/>
                  <a:gd name="T26" fmla="*/ 1425 w 1502"/>
                  <a:gd name="T27" fmla="*/ 1221 h 1502"/>
                  <a:gd name="T28" fmla="*/ 1481 w 1502"/>
                  <a:gd name="T29" fmla="*/ 1221 h 1502"/>
                  <a:gd name="T30" fmla="*/ 1070 w 1502"/>
                  <a:gd name="T31" fmla="*/ 431 h 1502"/>
                  <a:gd name="T32" fmla="*/ 280 w 1502"/>
                  <a:gd name="T33" fmla="*/ 21 h 1502"/>
                  <a:gd name="T34" fmla="*/ 89 w 1502"/>
                  <a:gd name="T35" fmla="*/ 0 h 1502"/>
                  <a:gd name="T36" fmla="*/ 27 w 1502"/>
                  <a:gd name="T37" fmla="*/ 25 h 1502"/>
                  <a:gd name="T38" fmla="*/ 0 w 1502"/>
                  <a:gd name="T39" fmla="*/ 89 h 1502"/>
                  <a:gd name="T40" fmla="*/ 0 w 1502"/>
                  <a:gd name="T41" fmla="*/ 238 h 1502"/>
                  <a:gd name="T42" fmla="*/ 54 w 1502"/>
                  <a:gd name="T43" fmla="*/ 246 h 1502"/>
                  <a:gd name="T44" fmla="*/ 54 w 1502"/>
                  <a:gd name="T45" fmla="*/ 89 h 1502"/>
                  <a:gd name="T46" fmla="*/ 65 w 1502"/>
                  <a:gd name="T47" fmla="*/ 64 h 1502"/>
                  <a:gd name="T48" fmla="*/ 88 w 1502"/>
                  <a:gd name="T49" fmla="*/ 55 h 1502"/>
                  <a:gd name="T50" fmla="*/ 90 w 1502"/>
                  <a:gd name="T51" fmla="*/ 55 h 1502"/>
                  <a:gd name="T52" fmla="*/ 225 w 1502"/>
                  <a:gd name="T53" fmla="*/ 68 h 1502"/>
                  <a:gd name="T54" fmla="*/ 225 w 1502"/>
                  <a:gd name="T55" fmla="*/ 12 h 1502"/>
                  <a:gd name="T56" fmla="*/ 92 w 1502"/>
                  <a:gd name="T57" fmla="*/ 1 h 1502"/>
                  <a:gd name="T58" fmla="*/ 89 w 1502"/>
                  <a:gd name="T59" fmla="*/ 0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02" h="1502">
                    <a:moveTo>
                      <a:pt x="1489" y="1276"/>
                    </a:moveTo>
                    <a:cubicBezTo>
                      <a:pt x="1434" y="1276"/>
                      <a:pt x="1434" y="1276"/>
                      <a:pt x="1434" y="1276"/>
                    </a:cubicBezTo>
                    <a:cubicBezTo>
                      <a:pt x="1440" y="1321"/>
                      <a:pt x="1444" y="1366"/>
                      <a:pt x="1446" y="1412"/>
                    </a:cubicBezTo>
                    <a:cubicBezTo>
                      <a:pt x="1447" y="1421"/>
                      <a:pt x="1443" y="1430"/>
                      <a:pt x="1437" y="1437"/>
                    </a:cubicBezTo>
                    <a:cubicBezTo>
                      <a:pt x="1430" y="1443"/>
                      <a:pt x="1422" y="1447"/>
                      <a:pt x="1413" y="1447"/>
                    </a:cubicBezTo>
                    <a:cubicBezTo>
                      <a:pt x="1255" y="1447"/>
                      <a:pt x="1255" y="1447"/>
                      <a:pt x="1255" y="1447"/>
                    </a:cubicBezTo>
                    <a:cubicBezTo>
                      <a:pt x="1258" y="1465"/>
                      <a:pt x="1261" y="1483"/>
                      <a:pt x="1263" y="1502"/>
                    </a:cubicBezTo>
                    <a:cubicBezTo>
                      <a:pt x="1413" y="1502"/>
                      <a:pt x="1413" y="1502"/>
                      <a:pt x="1413" y="1502"/>
                    </a:cubicBezTo>
                    <a:cubicBezTo>
                      <a:pt x="1437" y="1502"/>
                      <a:pt x="1459" y="1492"/>
                      <a:pt x="1476" y="1474"/>
                    </a:cubicBezTo>
                    <a:cubicBezTo>
                      <a:pt x="1493" y="1457"/>
                      <a:pt x="1502" y="1433"/>
                      <a:pt x="1501" y="1409"/>
                    </a:cubicBezTo>
                    <a:cubicBezTo>
                      <a:pt x="1499" y="1364"/>
                      <a:pt x="1495" y="1320"/>
                      <a:pt x="1489" y="1276"/>
                    </a:cubicBezTo>
                    <a:moveTo>
                      <a:pt x="280" y="21"/>
                    </a:moveTo>
                    <a:cubicBezTo>
                      <a:pt x="280" y="76"/>
                      <a:pt x="280" y="76"/>
                      <a:pt x="280" y="76"/>
                    </a:cubicBezTo>
                    <a:cubicBezTo>
                      <a:pt x="858" y="182"/>
                      <a:pt x="1319" y="644"/>
                      <a:pt x="1425" y="1221"/>
                    </a:cubicBezTo>
                    <a:cubicBezTo>
                      <a:pt x="1481" y="1221"/>
                      <a:pt x="1481" y="1221"/>
                      <a:pt x="1481" y="1221"/>
                    </a:cubicBezTo>
                    <a:cubicBezTo>
                      <a:pt x="1429" y="923"/>
                      <a:pt x="1287" y="648"/>
                      <a:pt x="1070" y="431"/>
                    </a:cubicBezTo>
                    <a:cubicBezTo>
                      <a:pt x="853" y="214"/>
                      <a:pt x="578" y="72"/>
                      <a:pt x="280" y="21"/>
                    </a:cubicBezTo>
                    <a:moveTo>
                      <a:pt x="89" y="0"/>
                    </a:moveTo>
                    <a:cubicBezTo>
                      <a:pt x="65" y="0"/>
                      <a:pt x="43" y="9"/>
                      <a:pt x="27" y="25"/>
                    </a:cubicBezTo>
                    <a:cubicBezTo>
                      <a:pt x="9" y="42"/>
                      <a:pt x="0" y="64"/>
                      <a:pt x="0" y="89"/>
                    </a:cubicBezTo>
                    <a:cubicBezTo>
                      <a:pt x="0" y="238"/>
                      <a:pt x="0" y="238"/>
                      <a:pt x="0" y="238"/>
                    </a:cubicBezTo>
                    <a:cubicBezTo>
                      <a:pt x="18" y="240"/>
                      <a:pt x="36" y="243"/>
                      <a:pt x="54" y="246"/>
                    </a:cubicBezTo>
                    <a:cubicBezTo>
                      <a:pt x="54" y="89"/>
                      <a:pt x="54" y="89"/>
                      <a:pt x="54" y="89"/>
                    </a:cubicBezTo>
                    <a:cubicBezTo>
                      <a:pt x="54" y="79"/>
                      <a:pt x="58" y="71"/>
                      <a:pt x="65" y="64"/>
                    </a:cubicBezTo>
                    <a:cubicBezTo>
                      <a:pt x="71" y="58"/>
                      <a:pt x="79" y="55"/>
                      <a:pt x="88" y="55"/>
                    </a:cubicBezTo>
                    <a:cubicBezTo>
                      <a:pt x="89" y="55"/>
                      <a:pt x="89" y="55"/>
                      <a:pt x="90" y="55"/>
                    </a:cubicBezTo>
                    <a:cubicBezTo>
                      <a:pt x="135" y="57"/>
                      <a:pt x="181" y="61"/>
                      <a:pt x="225" y="68"/>
                    </a:cubicBezTo>
                    <a:cubicBezTo>
                      <a:pt x="225" y="12"/>
                      <a:pt x="225" y="12"/>
                      <a:pt x="225" y="12"/>
                    </a:cubicBezTo>
                    <a:cubicBezTo>
                      <a:pt x="181" y="6"/>
                      <a:pt x="137" y="2"/>
                      <a:pt x="92" y="1"/>
                    </a:cubicBezTo>
                    <a:cubicBezTo>
                      <a:pt x="91" y="0"/>
                      <a:pt x="90" y="0"/>
                      <a:pt x="8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1" name="Freeform 274">
                <a:extLst>
                  <a:ext uri="{FF2B5EF4-FFF2-40B4-BE49-F238E27FC236}">
                    <a16:creationId xmlns:a16="http://schemas.microsoft.com/office/drawing/2014/main" id="{BAF92871-1919-441D-813B-914E7E503B1E}"/>
                  </a:ext>
                </a:extLst>
              </p:cNvPr>
              <p:cNvSpPr>
                <a:spLocks noEditPoints="1"/>
              </p:cNvSpPr>
              <p:nvPr/>
            </p:nvSpPr>
            <p:spPr bwMode="auto">
              <a:xfrm>
                <a:off x="2476500" y="5653088"/>
                <a:ext cx="782638" cy="787400"/>
              </a:xfrm>
              <a:custGeom>
                <a:avLst/>
                <a:gdLst>
                  <a:gd name="T0" fmla="*/ 1256 w 1264"/>
                  <a:gd name="T1" fmla="*/ 1209 h 1264"/>
                  <a:gd name="T2" fmla="*/ 1200 w 1264"/>
                  <a:gd name="T3" fmla="*/ 1209 h 1264"/>
                  <a:gd name="T4" fmla="*/ 1209 w 1264"/>
                  <a:gd name="T5" fmla="*/ 1264 h 1264"/>
                  <a:gd name="T6" fmla="*/ 1264 w 1264"/>
                  <a:gd name="T7" fmla="*/ 1264 h 1264"/>
                  <a:gd name="T8" fmla="*/ 1256 w 1264"/>
                  <a:gd name="T9" fmla="*/ 1209 h 1264"/>
                  <a:gd name="T10" fmla="*/ 0 w 1264"/>
                  <a:gd name="T11" fmla="*/ 0 h 1264"/>
                  <a:gd name="T12" fmla="*/ 0 w 1264"/>
                  <a:gd name="T13" fmla="*/ 56 h 1264"/>
                  <a:gd name="T14" fmla="*/ 55 w 1264"/>
                  <a:gd name="T15" fmla="*/ 64 h 1264"/>
                  <a:gd name="T16" fmla="*/ 55 w 1264"/>
                  <a:gd name="T17" fmla="*/ 9 h 1264"/>
                  <a:gd name="T18" fmla="*/ 0 w 1264"/>
                  <a:gd name="T19" fmla="*/ 0 h 1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1264">
                    <a:moveTo>
                      <a:pt x="1256" y="1209"/>
                    </a:moveTo>
                    <a:cubicBezTo>
                      <a:pt x="1200" y="1209"/>
                      <a:pt x="1200" y="1209"/>
                      <a:pt x="1200" y="1209"/>
                    </a:cubicBezTo>
                    <a:cubicBezTo>
                      <a:pt x="1203" y="1228"/>
                      <a:pt x="1206" y="1246"/>
                      <a:pt x="1209" y="1264"/>
                    </a:cubicBezTo>
                    <a:cubicBezTo>
                      <a:pt x="1264" y="1264"/>
                      <a:pt x="1264" y="1264"/>
                      <a:pt x="1264" y="1264"/>
                    </a:cubicBezTo>
                    <a:cubicBezTo>
                      <a:pt x="1261" y="1246"/>
                      <a:pt x="1259" y="1228"/>
                      <a:pt x="1256" y="1209"/>
                    </a:cubicBezTo>
                    <a:moveTo>
                      <a:pt x="0" y="0"/>
                    </a:moveTo>
                    <a:cubicBezTo>
                      <a:pt x="0" y="56"/>
                      <a:pt x="0" y="56"/>
                      <a:pt x="0" y="56"/>
                    </a:cubicBezTo>
                    <a:cubicBezTo>
                      <a:pt x="19" y="58"/>
                      <a:pt x="37" y="61"/>
                      <a:pt x="55" y="64"/>
                    </a:cubicBezTo>
                    <a:cubicBezTo>
                      <a:pt x="55" y="9"/>
                      <a:pt x="55" y="9"/>
                      <a:pt x="55" y="9"/>
                    </a:cubicBezTo>
                    <a:cubicBezTo>
                      <a:pt x="37" y="6"/>
                      <a:pt x="19"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2" name="Freeform 275">
                <a:extLst>
                  <a:ext uri="{FF2B5EF4-FFF2-40B4-BE49-F238E27FC236}">
                    <a16:creationId xmlns:a16="http://schemas.microsoft.com/office/drawing/2014/main" id="{87162AFF-AF3A-43E5-B582-E28E524033A1}"/>
                  </a:ext>
                </a:extLst>
              </p:cNvPr>
              <p:cNvSpPr>
                <a:spLocks/>
              </p:cNvSpPr>
              <p:nvPr/>
            </p:nvSpPr>
            <p:spPr bwMode="auto">
              <a:xfrm>
                <a:off x="2336800" y="5829301"/>
                <a:ext cx="749300" cy="750888"/>
              </a:xfrm>
              <a:custGeom>
                <a:avLst/>
                <a:gdLst>
                  <a:gd name="T0" fmla="*/ 0 w 1208"/>
                  <a:gd name="T1" fmla="*/ 0 h 1209"/>
                  <a:gd name="T2" fmla="*/ 0 w 1208"/>
                  <a:gd name="T3" fmla="*/ 1120 h 1209"/>
                  <a:gd name="T4" fmla="*/ 88 w 1208"/>
                  <a:gd name="T5" fmla="*/ 1209 h 1209"/>
                  <a:gd name="T6" fmla="*/ 1208 w 1208"/>
                  <a:gd name="T7" fmla="*/ 1209 h 1209"/>
                  <a:gd name="T8" fmla="*/ 1199 w 1208"/>
                  <a:gd name="T9" fmla="*/ 1154 h 1209"/>
                  <a:gd name="T10" fmla="*/ 88 w 1208"/>
                  <a:gd name="T11" fmla="*/ 1154 h 1209"/>
                  <a:gd name="T12" fmla="*/ 54 w 1208"/>
                  <a:gd name="T13" fmla="*/ 1120 h 1209"/>
                  <a:gd name="T14" fmla="*/ 54 w 1208"/>
                  <a:gd name="T15" fmla="*/ 9 h 1209"/>
                  <a:gd name="T16" fmla="*/ 0 w 1208"/>
                  <a:gd name="T17" fmla="*/ 0 h 1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8" h="1209">
                    <a:moveTo>
                      <a:pt x="0" y="0"/>
                    </a:moveTo>
                    <a:cubicBezTo>
                      <a:pt x="0" y="1120"/>
                      <a:pt x="0" y="1120"/>
                      <a:pt x="0" y="1120"/>
                    </a:cubicBezTo>
                    <a:cubicBezTo>
                      <a:pt x="0" y="1169"/>
                      <a:pt x="39" y="1209"/>
                      <a:pt x="88" y="1209"/>
                    </a:cubicBezTo>
                    <a:cubicBezTo>
                      <a:pt x="1208" y="1209"/>
                      <a:pt x="1208" y="1209"/>
                      <a:pt x="1208" y="1209"/>
                    </a:cubicBezTo>
                    <a:cubicBezTo>
                      <a:pt x="1206" y="1190"/>
                      <a:pt x="1203" y="1172"/>
                      <a:pt x="1199" y="1154"/>
                    </a:cubicBezTo>
                    <a:cubicBezTo>
                      <a:pt x="88" y="1154"/>
                      <a:pt x="88" y="1154"/>
                      <a:pt x="88" y="1154"/>
                    </a:cubicBezTo>
                    <a:cubicBezTo>
                      <a:pt x="69" y="1154"/>
                      <a:pt x="54" y="1139"/>
                      <a:pt x="54" y="1120"/>
                    </a:cubicBezTo>
                    <a:cubicBezTo>
                      <a:pt x="54" y="9"/>
                      <a:pt x="54" y="9"/>
                      <a:pt x="54" y="9"/>
                    </a:cubicBezTo>
                    <a:cubicBezTo>
                      <a:pt x="36" y="6"/>
                      <a:pt x="18" y="3"/>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3" name="Freeform 276">
                <a:extLst>
                  <a:ext uri="{FF2B5EF4-FFF2-40B4-BE49-F238E27FC236}">
                    <a16:creationId xmlns:a16="http://schemas.microsoft.com/office/drawing/2014/main" id="{D9FB396F-0623-48A7-A3B8-F26CEAA4ACCD}"/>
                  </a:ext>
                </a:extLst>
              </p:cNvPr>
              <p:cNvSpPr>
                <a:spLocks noEditPoints="1"/>
              </p:cNvSpPr>
              <p:nvPr/>
            </p:nvSpPr>
            <p:spPr bwMode="auto">
              <a:xfrm>
                <a:off x="2197100" y="5786438"/>
                <a:ext cx="930275" cy="933450"/>
              </a:xfrm>
              <a:custGeom>
                <a:avLst/>
                <a:gdLst>
                  <a:gd name="T0" fmla="*/ 1441 w 1502"/>
                  <a:gd name="T1" fmla="*/ 1050 h 1501"/>
                  <a:gd name="T2" fmla="*/ 1383 w 1502"/>
                  <a:gd name="T3" fmla="*/ 1050 h 1501"/>
                  <a:gd name="T4" fmla="*/ 1425 w 1502"/>
                  <a:gd name="T5" fmla="*/ 1221 h 1501"/>
                  <a:gd name="T6" fmla="*/ 1481 w 1502"/>
                  <a:gd name="T7" fmla="*/ 1221 h 1501"/>
                  <a:gd name="T8" fmla="*/ 1441 w 1502"/>
                  <a:gd name="T9" fmla="*/ 1050 h 1501"/>
                  <a:gd name="T10" fmla="*/ 506 w 1502"/>
                  <a:gd name="T11" fmla="*/ 78 h 1501"/>
                  <a:gd name="T12" fmla="*/ 506 w 1502"/>
                  <a:gd name="T13" fmla="*/ 137 h 1501"/>
                  <a:gd name="T14" fmla="*/ 1364 w 1502"/>
                  <a:gd name="T15" fmla="*/ 995 h 1501"/>
                  <a:gd name="T16" fmla="*/ 1423 w 1502"/>
                  <a:gd name="T17" fmla="*/ 995 h 1501"/>
                  <a:gd name="T18" fmla="*/ 1070 w 1502"/>
                  <a:gd name="T19" fmla="*/ 431 h 1501"/>
                  <a:gd name="T20" fmla="*/ 506 w 1502"/>
                  <a:gd name="T21" fmla="*/ 78 h 1501"/>
                  <a:gd name="T22" fmla="*/ 280 w 1502"/>
                  <a:gd name="T23" fmla="*/ 20 h 1501"/>
                  <a:gd name="T24" fmla="*/ 280 w 1502"/>
                  <a:gd name="T25" fmla="*/ 76 h 1501"/>
                  <a:gd name="T26" fmla="*/ 451 w 1502"/>
                  <a:gd name="T27" fmla="*/ 119 h 1501"/>
                  <a:gd name="T28" fmla="*/ 451 w 1502"/>
                  <a:gd name="T29" fmla="*/ 61 h 1501"/>
                  <a:gd name="T30" fmla="*/ 280 w 1502"/>
                  <a:gd name="T31" fmla="*/ 20 h 1501"/>
                  <a:gd name="T32" fmla="*/ 88 w 1502"/>
                  <a:gd name="T33" fmla="*/ 0 h 1501"/>
                  <a:gd name="T34" fmla="*/ 27 w 1502"/>
                  <a:gd name="T35" fmla="*/ 25 h 1501"/>
                  <a:gd name="T36" fmla="*/ 0 w 1502"/>
                  <a:gd name="T37" fmla="*/ 88 h 1501"/>
                  <a:gd name="T38" fmla="*/ 0 w 1502"/>
                  <a:gd name="T39" fmla="*/ 1413 h 1501"/>
                  <a:gd name="T40" fmla="*/ 88 w 1502"/>
                  <a:gd name="T41" fmla="*/ 1501 h 1501"/>
                  <a:gd name="T42" fmla="*/ 1413 w 1502"/>
                  <a:gd name="T43" fmla="*/ 1501 h 1501"/>
                  <a:gd name="T44" fmla="*/ 1477 w 1502"/>
                  <a:gd name="T45" fmla="*/ 1474 h 1501"/>
                  <a:gd name="T46" fmla="*/ 1501 w 1502"/>
                  <a:gd name="T47" fmla="*/ 1409 h 1501"/>
                  <a:gd name="T48" fmla="*/ 1489 w 1502"/>
                  <a:gd name="T49" fmla="*/ 1276 h 1501"/>
                  <a:gd name="T50" fmla="*/ 1434 w 1502"/>
                  <a:gd name="T51" fmla="*/ 1276 h 1501"/>
                  <a:gd name="T52" fmla="*/ 1447 w 1502"/>
                  <a:gd name="T53" fmla="*/ 1411 h 1501"/>
                  <a:gd name="T54" fmla="*/ 1437 w 1502"/>
                  <a:gd name="T55" fmla="*/ 1436 h 1501"/>
                  <a:gd name="T56" fmla="*/ 1413 w 1502"/>
                  <a:gd name="T57" fmla="*/ 1447 h 1501"/>
                  <a:gd name="T58" fmla="*/ 88 w 1502"/>
                  <a:gd name="T59" fmla="*/ 1447 h 1501"/>
                  <a:gd name="T60" fmla="*/ 55 w 1502"/>
                  <a:gd name="T61" fmla="*/ 1413 h 1501"/>
                  <a:gd name="T62" fmla="*/ 55 w 1502"/>
                  <a:gd name="T63" fmla="*/ 88 h 1501"/>
                  <a:gd name="T64" fmla="*/ 65 w 1502"/>
                  <a:gd name="T65" fmla="*/ 64 h 1501"/>
                  <a:gd name="T66" fmla="*/ 89 w 1502"/>
                  <a:gd name="T67" fmla="*/ 55 h 1501"/>
                  <a:gd name="T68" fmla="*/ 90 w 1502"/>
                  <a:gd name="T69" fmla="*/ 55 h 1501"/>
                  <a:gd name="T70" fmla="*/ 226 w 1502"/>
                  <a:gd name="T71" fmla="*/ 67 h 1501"/>
                  <a:gd name="T72" fmla="*/ 226 w 1502"/>
                  <a:gd name="T73" fmla="*/ 12 h 1501"/>
                  <a:gd name="T74" fmla="*/ 93 w 1502"/>
                  <a:gd name="T75" fmla="*/ 0 h 1501"/>
                  <a:gd name="T76" fmla="*/ 88 w 1502"/>
                  <a:gd name="T77" fmla="*/ 0 h 1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02" h="1501">
                    <a:moveTo>
                      <a:pt x="1441" y="1050"/>
                    </a:moveTo>
                    <a:cubicBezTo>
                      <a:pt x="1383" y="1050"/>
                      <a:pt x="1383" y="1050"/>
                      <a:pt x="1383" y="1050"/>
                    </a:cubicBezTo>
                    <a:cubicBezTo>
                      <a:pt x="1400" y="1106"/>
                      <a:pt x="1415" y="1163"/>
                      <a:pt x="1425" y="1221"/>
                    </a:cubicBezTo>
                    <a:cubicBezTo>
                      <a:pt x="1481" y="1221"/>
                      <a:pt x="1481" y="1221"/>
                      <a:pt x="1481" y="1221"/>
                    </a:cubicBezTo>
                    <a:cubicBezTo>
                      <a:pt x="1471" y="1163"/>
                      <a:pt x="1457" y="1106"/>
                      <a:pt x="1441" y="1050"/>
                    </a:cubicBezTo>
                    <a:moveTo>
                      <a:pt x="506" y="78"/>
                    </a:moveTo>
                    <a:cubicBezTo>
                      <a:pt x="506" y="137"/>
                      <a:pt x="506" y="137"/>
                      <a:pt x="506" y="137"/>
                    </a:cubicBezTo>
                    <a:cubicBezTo>
                      <a:pt x="903" y="281"/>
                      <a:pt x="1220" y="599"/>
                      <a:pt x="1364" y="995"/>
                    </a:cubicBezTo>
                    <a:cubicBezTo>
                      <a:pt x="1423" y="995"/>
                      <a:pt x="1423" y="995"/>
                      <a:pt x="1423" y="995"/>
                    </a:cubicBezTo>
                    <a:cubicBezTo>
                      <a:pt x="1351" y="785"/>
                      <a:pt x="1231" y="592"/>
                      <a:pt x="1070" y="431"/>
                    </a:cubicBezTo>
                    <a:cubicBezTo>
                      <a:pt x="910" y="270"/>
                      <a:pt x="716" y="150"/>
                      <a:pt x="506" y="78"/>
                    </a:cubicBezTo>
                    <a:moveTo>
                      <a:pt x="280" y="20"/>
                    </a:moveTo>
                    <a:cubicBezTo>
                      <a:pt x="280" y="76"/>
                      <a:pt x="280" y="76"/>
                      <a:pt x="280" y="76"/>
                    </a:cubicBezTo>
                    <a:cubicBezTo>
                      <a:pt x="338" y="87"/>
                      <a:pt x="396" y="101"/>
                      <a:pt x="451" y="119"/>
                    </a:cubicBezTo>
                    <a:cubicBezTo>
                      <a:pt x="451" y="61"/>
                      <a:pt x="451" y="61"/>
                      <a:pt x="451" y="61"/>
                    </a:cubicBezTo>
                    <a:cubicBezTo>
                      <a:pt x="395" y="44"/>
                      <a:pt x="338" y="30"/>
                      <a:pt x="280" y="20"/>
                    </a:cubicBezTo>
                    <a:moveTo>
                      <a:pt x="88" y="0"/>
                    </a:moveTo>
                    <a:cubicBezTo>
                      <a:pt x="66" y="0"/>
                      <a:pt x="44" y="9"/>
                      <a:pt x="27" y="25"/>
                    </a:cubicBezTo>
                    <a:cubicBezTo>
                      <a:pt x="10" y="41"/>
                      <a:pt x="0" y="64"/>
                      <a:pt x="0" y="88"/>
                    </a:cubicBezTo>
                    <a:cubicBezTo>
                      <a:pt x="0" y="1413"/>
                      <a:pt x="0" y="1413"/>
                      <a:pt x="0" y="1413"/>
                    </a:cubicBezTo>
                    <a:cubicBezTo>
                      <a:pt x="0" y="1462"/>
                      <a:pt x="40" y="1501"/>
                      <a:pt x="88" y="1501"/>
                    </a:cubicBezTo>
                    <a:cubicBezTo>
                      <a:pt x="1413" y="1501"/>
                      <a:pt x="1413" y="1501"/>
                      <a:pt x="1413" y="1501"/>
                    </a:cubicBezTo>
                    <a:cubicBezTo>
                      <a:pt x="1437" y="1501"/>
                      <a:pt x="1460" y="1492"/>
                      <a:pt x="1477" y="1474"/>
                    </a:cubicBezTo>
                    <a:cubicBezTo>
                      <a:pt x="1494" y="1456"/>
                      <a:pt x="1502" y="1433"/>
                      <a:pt x="1501" y="1409"/>
                    </a:cubicBezTo>
                    <a:cubicBezTo>
                      <a:pt x="1499" y="1364"/>
                      <a:pt x="1495" y="1320"/>
                      <a:pt x="1489" y="1276"/>
                    </a:cubicBezTo>
                    <a:cubicBezTo>
                      <a:pt x="1434" y="1276"/>
                      <a:pt x="1434" y="1276"/>
                      <a:pt x="1434" y="1276"/>
                    </a:cubicBezTo>
                    <a:cubicBezTo>
                      <a:pt x="1440" y="1320"/>
                      <a:pt x="1445" y="1365"/>
                      <a:pt x="1447" y="1411"/>
                    </a:cubicBezTo>
                    <a:cubicBezTo>
                      <a:pt x="1447" y="1421"/>
                      <a:pt x="1444" y="1430"/>
                      <a:pt x="1437" y="1436"/>
                    </a:cubicBezTo>
                    <a:cubicBezTo>
                      <a:pt x="1431" y="1443"/>
                      <a:pt x="1422" y="1447"/>
                      <a:pt x="1413" y="1447"/>
                    </a:cubicBezTo>
                    <a:cubicBezTo>
                      <a:pt x="88" y="1447"/>
                      <a:pt x="88" y="1447"/>
                      <a:pt x="88" y="1447"/>
                    </a:cubicBezTo>
                    <a:cubicBezTo>
                      <a:pt x="70" y="1447"/>
                      <a:pt x="55" y="1432"/>
                      <a:pt x="55" y="1413"/>
                    </a:cubicBezTo>
                    <a:cubicBezTo>
                      <a:pt x="55" y="88"/>
                      <a:pt x="55" y="88"/>
                      <a:pt x="55" y="88"/>
                    </a:cubicBezTo>
                    <a:cubicBezTo>
                      <a:pt x="55" y="79"/>
                      <a:pt x="58" y="70"/>
                      <a:pt x="65" y="64"/>
                    </a:cubicBezTo>
                    <a:cubicBezTo>
                      <a:pt x="71" y="58"/>
                      <a:pt x="80" y="55"/>
                      <a:pt x="89" y="55"/>
                    </a:cubicBezTo>
                    <a:cubicBezTo>
                      <a:pt x="89" y="55"/>
                      <a:pt x="90" y="55"/>
                      <a:pt x="90" y="55"/>
                    </a:cubicBezTo>
                    <a:cubicBezTo>
                      <a:pt x="136" y="57"/>
                      <a:pt x="181" y="61"/>
                      <a:pt x="226" y="67"/>
                    </a:cubicBezTo>
                    <a:cubicBezTo>
                      <a:pt x="226" y="12"/>
                      <a:pt x="226" y="12"/>
                      <a:pt x="226" y="12"/>
                    </a:cubicBezTo>
                    <a:cubicBezTo>
                      <a:pt x="182" y="6"/>
                      <a:pt x="137" y="2"/>
                      <a:pt x="93" y="0"/>
                    </a:cubicBezTo>
                    <a:cubicBezTo>
                      <a:pt x="91" y="0"/>
                      <a:pt x="90" y="0"/>
                      <a:pt x="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4" name="Freeform 277">
                <a:extLst>
                  <a:ext uri="{FF2B5EF4-FFF2-40B4-BE49-F238E27FC236}">
                    <a16:creationId xmlns:a16="http://schemas.microsoft.com/office/drawing/2014/main" id="{979D6615-F9B4-4E0B-A7AE-7369B556A6CE}"/>
                  </a:ext>
                </a:extLst>
              </p:cNvPr>
              <p:cNvSpPr>
                <a:spLocks noEditPoints="1"/>
              </p:cNvSpPr>
              <p:nvPr/>
            </p:nvSpPr>
            <p:spPr bwMode="auto">
              <a:xfrm>
                <a:off x="2476500" y="5824538"/>
                <a:ext cx="614363" cy="615950"/>
              </a:xfrm>
              <a:custGeom>
                <a:avLst/>
                <a:gdLst>
                  <a:gd name="T0" fmla="*/ 972 w 990"/>
                  <a:gd name="T1" fmla="*/ 934 h 989"/>
                  <a:gd name="T2" fmla="*/ 913 w 990"/>
                  <a:gd name="T3" fmla="*/ 934 h 989"/>
                  <a:gd name="T4" fmla="*/ 932 w 990"/>
                  <a:gd name="T5" fmla="*/ 989 h 989"/>
                  <a:gd name="T6" fmla="*/ 990 w 990"/>
                  <a:gd name="T7" fmla="*/ 989 h 989"/>
                  <a:gd name="T8" fmla="*/ 972 w 990"/>
                  <a:gd name="T9" fmla="*/ 934 h 989"/>
                  <a:gd name="T10" fmla="*/ 0 w 990"/>
                  <a:gd name="T11" fmla="*/ 0 h 989"/>
                  <a:gd name="T12" fmla="*/ 0 w 990"/>
                  <a:gd name="T13" fmla="*/ 58 h 989"/>
                  <a:gd name="T14" fmla="*/ 55 w 990"/>
                  <a:gd name="T15" fmla="*/ 76 h 989"/>
                  <a:gd name="T16" fmla="*/ 55 w 990"/>
                  <a:gd name="T17" fmla="*/ 17 h 989"/>
                  <a:gd name="T18" fmla="*/ 0 w 990"/>
                  <a:gd name="T19" fmla="*/ 0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0" h="989">
                    <a:moveTo>
                      <a:pt x="972" y="934"/>
                    </a:moveTo>
                    <a:cubicBezTo>
                      <a:pt x="913" y="934"/>
                      <a:pt x="913" y="934"/>
                      <a:pt x="913" y="934"/>
                    </a:cubicBezTo>
                    <a:cubicBezTo>
                      <a:pt x="920" y="952"/>
                      <a:pt x="926" y="971"/>
                      <a:pt x="932" y="989"/>
                    </a:cubicBezTo>
                    <a:cubicBezTo>
                      <a:pt x="990" y="989"/>
                      <a:pt x="990" y="989"/>
                      <a:pt x="990" y="989"/>
                    </a:cubicBezTo>
                    <a:cubicBezTo>
                      <a:pt x="984" y="971"/>
                      <a:pt x="978" y="953"/>
                      <a:pt x="972" y="934"/>
                    </a:cubicBezTo>
                    <a:moveTo>
                      <a:pt x="0" y="0"/>
                    </a:moveTo>
                    <a:cubicBezTo>
                      <a:pt x="0" y="58"/>
                      <a:pt x="0" y="58"/>
                      <a:pt x="0" y="58"/>
                    </a:cubicBezTo>
                    <a:cubicBezTo>
                      <a:pt x="19" y="63"/>
                      <a:pt x="37" y="69"/>
                      <a:pt x="55" y="76"/>
                    </a:cubicBezTo>
                    <a:cubicBezTo>
                      <a:pt x="55" y="17"/>
                      <a:pt x="55" y="17"/>
                      <a:pt x="55" y="17"/>
                    </a:cubicBezTo>
                    <a:cubicBezTo>
                      <a:pt x="37" y="11"/>
                      <a:pt x="19" y="5"/>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5" name="Freeform 278">
                <a:extLst>
                  <a:ext uri="{FF2B5EF4-FFF2-40B4-BE49-F238E27FC236}">
                    <a16:creationId xmlns:a16="http://schemas.microsoft.com/office/drawing/2014/main" id="{2B0F4626-9251-4A09-A5F4-D279420F21AF}"/>
                  </a:ext>
                </a:extLst>
              </p:cNvPr>
              <p:cNvSpPr>
                <a:spLocks noEditPoints="1"/>
              </p:cNvSpPr>
              <p:nvPr/>
            </p:nvSpPr>
            <p:spPr bwMode="auto">
              <a:xfrm>
                <a:off x="2336800" y="5794376"/>
                <a:ext cx="782638" cy="785813"/>
              </a:xfrm>
              <a:custGeom>
                <a:avLst/>
                <a:gdLst>
                  <a:gd name="T0" fmla="*/ 1255 w 1263"/>
                  <a:gd name="T1" fmla="*/ 1209 h 1264"/>
                  <a:gd name="T2" fmla="*/ 1199 w 1263"/>
                  <a:gd name="T3" fmla="*/ 1209 h 1264"/>
                  <a:gd name="T4" fmla="*/ 1208 w 1263"/>
                  <a:gd name="T5" fmla="*/ 1264 h 1264"/>
                  <a:gd name="T6" fmla="*/ 1263 w 1263"/>
                  <a:gd name="T7" fmla="*/ 1264 h 1264"/>
                  <a:gd name="T8" fmla="*/ 1255 w 1263"/>
                  <a:gd name="T9" fmla="*/ 1209 h 1264"/>
                  <a:gd name="T10" fmla="*/ 0 w 1263"/>
                  <a:gd name="T11" fmla="*/ 0 h 1264"/>
                  <a:gd name="T12" fmla="*/ 0 w 1263"/>
                  <a:gd name="T13" fmla="*/ 55 h 1264"/>
                  <a:gd name="T14" fmla="*/ 54 w 1263"/>
                  <a:gd name="T15" fmla="*/ 64 h 1264"/>
                  <a:gd name="T16" fmla="*/ 54 w 1263"/>
                  <a:gd name="T17" fmla="*/ 8 h 1264"/>
                  <a:gd name="T18" fmla="*/ 0 w 1263"/>
                  <a:gd name="T19" fmla="*/ 0 h 1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3" h="1264">
                    <a:moveTo>
                      <a:pt x="1255" y="1209"/>
                    </a:moveTo>
                    <a:cubicBezTo>
                      <a:pt x="1199" y="1209"/>
                      <a:pt x="1199" y="1209"/>
                      <a:pt x="1199" y="1209"/>
                    </a:cubicBezTo>
                    <a:cubicBezTo>
                      <a:pt x="1203" y="1227"/>
                      <a:pt x="1206" y="1245"/>
                      <a:pt x="1208" y="1264"/>
                    </a:cubicBezTo>
                    <a:cubicBezTo>
                      <a:pt x="1263" y="1264"/>
                      <a:pt x="1263" y="1264"/>
                      <a:pt x="1263" y="1264"/>
                    </a:cubicBezTo>
                    <a:cubicBezTo>
                      <a:pt x="1261" y="1245"/>
                      <a:pt x="1258" y="1227"/>
                      <a:pt x="1255" y="1209"/>
                    </a:cubicBezTo>
                    <a:moveTo>
                      <a:pt x="0" y="0"/>
                    </a:moveTo>
                    <a:cubicBezTo>
                      <a:pt x="0" y="55"/>
                      <a:pt x="0" y="55"/>
                      <a:pt x="0" y="55"/>
                    </a:cubicBezTo>
                    <a:cubicBezTo>
                      <a:pt x="18" y="58"/>
                      <a:pt x="36" y="61"/>
                      <a:pt x="54" y="64"/>
                    </a:cubicBezTo>
                    <a:cubicBezTo>
                      <a:pt x="54" y="8"/>
                      <a:pt x="54" y="8"/>
                      <a:pt x="54" y="8"/>
                    </a:cubicBezTo>
                    <a:cubicBezTo>
                      <a:pt x="36" y="5"/>
                      <a:pt x="18" y="2"/>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grpSp>
        <p:sp>
          <p:nvSpPr>
            <p:cNvPr id="93" name="Isosceles Triangle 49">
              <a:extLst>
                <a:ext uri="{FF2B5EF4-FFF2-40B4-BE49-F238E27FC236}">
                  <a16:creationId xmlns:a16="http://schemas.microsoft.com/office/drawing/2014/main" id="{7142C5DA-3322-4FF6-8DAD-CC7CE737AF74}"/>
                </a:ext>
              </a:extLst>
            </p:cNvPr>
            <p:cNvSpPr/>
            <p:nvPr/>
          </p:nvSpPr>
          <p:spPr>
            <a:xfrm>
              <a:off x="971850" y="1679535"/>
              <a:ext cx="558729" cy="48731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2">
                <a:alpha val="6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sp>
        <p:nvSpPr>
          <p:cNvPr id="136" name="Rectangle 135">
            <a:extLst>
              <a:ext uri="{FF2B5EF4-FFF2-40B4-BE49-F238E27FC236}">
                <a16:creationId xmlns:a16="http://schemas.microsoft.com/office/drawing/2014/main" id="{C6548E1F-B630-4A7E-B894-7757ECA93D7E}"/>
              </a:ext>
            </a:extLst>
          </p:cNvPr>
          <p:cNvSpPr/>
          <p:nvPr/>
        </p:nvSpPr>
        <p:spPr>
          <a:xfrm>
            <a:off x="3218219" y="3586094"/>
            <a:ext cx="2707564" cy="912347"/>
          </a:xfrm>
          <a:prstGeom prst="rect">
            <a:avLst/>
          </a:prstGeom>
        </p:spPr>
        <p:txBody>
          <a:bodyPr wrap="square">
            <a:noAutofit/>
          </a:bodyPr>
          <a:lstStyle/>
          <a:p>
            <a:pPr algn="ctr"/>
            <a:r>
              <a:rPr lang="en-US" sz="1400">
                <a:solidFill>
                  <a:schemeClr val="bg2"/>
                </a:solidFill>
                <a:latin typeface="CiscoSansTT ExtraLight"/>
              </a:rPr>
              <a:t>Strengthen efficiency and precision during threat investigation and remediation</a:t>
            </a:r>
          </a:p>
        </p:txBody>
      </p:sp>
      <p:sp>
        <p:nvSpPr>
          <p:cNvPr id="4" name="Rectangle 3">
            <a:extLst>
              <a:ext uri="{FF2B5EF4-FFF2-40B4-BE49-F238E27FC236}">
                <a16:creationId xmlns:a16="http://schemas.microsoft.com/office/drawing/2014/main" id="{ACDC0CEA-EFD6-470C-81B6-4733F3BBE5B9}"/>
              </a:ext>
            </a:extLst>
          </p:cNvPr>
          <p:cNvSpPr>
            <a:spLocks/>
          </p:cNvSpPr>
          <p:nvPr/>
        </p:nvSpPr>
        <p:spPr>
          <a:xfrm>
            <a:off x="6409723" y="2610860"/>
            <a:ext cx="2386448" cy="794278"/>
          </a:xfrm>
          <a:prstGeom prst="rect">
            <a:avLst/>
          </a:prstGeom>
        </p:spPr>
        <p:txBody>
          <a:bodyPr wrap="square" lIns="0" tIns="0" rIns="0" bIns="0">
            <a:noAutofit/>
          </a:bodyPr>
          <a:lstStyle/>
          <a:p>
            <a:pPr algn="ctr"/>
            <a:r>
              <a:rPr lang="en-US" sz="1600">
                <a:solidFill>
                  <a:schemeClr val="accent2"/>
                </a:solidFill>
                <a:latin typeface="CiscoSansTT" panose="020B0503020201020303" pitchFamily="34" charset="0"/>
              </a:rPr>
              <a:t>Collaborate </a:t>
            </a:r>
            <a:br>
              <a:rPr lang="en-US" sz="1600">
                <a:solidFill>
                  <a:schemeClr val="accent2"/>
                </a:solidFill>
                <a:latin typeface="CiscoSansTT" panose="020B0503020201020303" pitchFamily="34" charset="0"/>
              </a:rPr>
            </a:br>
            <a:r>
              <a:rPr lang="en-US" sz="1600">
                <a:solidFill>
                  <a:schemeClr val="bg2"/>
                </a:solidFill>
                <a:latin typeface="CiscoSansTT ExtraLight"/>
              </a:rPr>
              <a:t>better than </a:t>
            </a:r>
            <a:br>
              <a:rPr lang="en-US" sz="1600">
                <a:solidFill>
                  <a:schemeClr val="bg2"/>
                </a:solidFill>
                <a:latin typeface="CiscoSansTT ExtraLight"/>
              </a:rPr>
            </a:br>
            <a:r>
              <a:rPr lang="en-US" sz="1600">
                <a:solidFill>
                  <a:schemeClr val="bg2"/>
                </a:solidFill>
                <a:latin typeface="CiscoSansTT ExtraLight"/>
              </a:rPr>
              <a:t>ever</a:t>
            </a:r>
          </a:p>
        </p:txBody>
      </p:sp>
      <p:grpSp>
        <p:nvGrpSpPr>
          <p:cNvPr id="17" name="Group 16">
            <a:extLst>
              <a:ext uri="{FF2B5EF4-FFF2-40B4-BE49-F238E27FC236}">
                <a16:creationId xmlns:a16="http://schemas.microsoft.com/office/drawing/2014/main" id="{047948EC-B80E-4826-8477-15BC323EDB6F}"/>
              </a:ext>
            </a:extLst>
          </p:cNvPr>
          <p:cNvGrpSpPr/>
          <p:nvPr/>
        </p:nvGrpSpPr>
        <p:grpSpPr>
          <a:xfrm>
            <a:off x="6914006" y="1474119"/>
            <a:ext cx="1377881" cy="804094"/>
            <a:chOff x="4831192" y="2017234"/>
            <a:chExt cx="1377881" cy="804094"/>
          </a:xfrm>
        </p:grpSpPr>
        <p:sp>
          <p:nvSpPr>
            <p:cNvPr id="18" name="Oval 17">
              <a:extLst>
                <a:ext uri="{FF2B5EF4-FFF2-40B4-BE49-F238E27FC236}">
                  <a16:creationId xmlns:a16="http://schemas.microsoft.com/office/drawing/2014/main" id="{B3CBC583-EAD6-4399-B501-C399CDEBE56F}"/>
                </a:ext>
              </a:extLst>
            </p:cNvPr>
            <p:cNvSpPr/>
            <p:nvPr/>
          </p:nvSpPr>
          <p:spPr>
            <a:xfrm>
              <a:off x="5719374" y="2252146"/>
              <a:ext cx="178868" cy="178868"/>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grpSp>
          <p:nvGrpSpPr>
            <p:cNvPr id="19" name="Group 18">
              <a:extLst>
                <a:ext uri="{FF2B5EF4-FFF2-40B4-BE49-F238E27FC236}">
                  <a16:creationId xmlns:a16="http://schemas.microsoft.com/office/drawing/2014/main" id="{3F5757F6-6417-4A12-9D81-C69714FF3D46}"/>
                </a:ext>
              </a:extLst>
            </p:cNvPr>
            <p:cNvGrpSpPr/>
            <p:nvPr/>
          </p:nvGrpSpPr>
          <p:grpSpPr>
            <a:xfrm>
              <a:off x="4831192" y="2179791"/>
              <a:ext cx="1377881" cy="641537"/>
              <a:chOff x="5111416" y="3452832"/>
              <a:chExt cx="4378449" cy="2038593"/>
            </a:xfrm>
          </p:grpSpPr>
          <p:pic>
            <p:nvPicPr>
              <p:cNvPr id="27" name="Picture 26" descr="A picture containing animal, shellfish, black, white&#10;&#10;Description automatically generated">
                <a:extLst>
                  <a:ext uri="{FF2B5EF4-FFF2-40B4-BE49-F238E27FC236}">
                    <a16:creationId xmlns:a16="http://schemas.microsoft.com/office/drawing/2014/main" id="{9249F071-E00C-44C0-98B0-3E9FDE5BE1C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111416" y="4293415"/>
                <a:ext cx="4378449" cy="1198010"/>
              </a:xfrm>
              <a:prstGeom prst="rect">
                <a:avLst/>
              </a:prstGeom>
            </p:spPr>
          </p:pic>
          <p:pic>
            <p:nvPicPr>
              <p:cNvPr id="28" name="Picture 27" descr="A group of people posing for a photo&#10;&#10;Description automatically generated">
                <a:extLst>
                  <a:ext uri="{FF2B5EF4-FFF2-40B4-BE49-F238E27FC236}">
                    <a16:creationId xmlns:a16="http://schemas.microsoft.com/office/drawing/2014/main" id="{070A4A31-7EA1-49FD-91CE-61CA498777B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086412" y="3452832"/>
                <a:ext cx="3082112" cy="1255388"/>
              </a:xfrm>
              <a:prstGeom prst="rect">
                <a:avLst/>
              </a:prstGeom>
            </p:spPr>
          </p:pic>
        </p:grpSp>
        <p:sp>
          <p:nvSpPr>
            <p:cNvPr id="20" name="Oval 19">
              <a:extLst>
                <a:ext uri="{FF2B5EF4-FFF2-40B4-BE49-F238E27FC236}">
                  <a16:creationId xmlns:a16="http://schemas.microsoft.com/office/drawing/2014/main" id="{04A09586-FA6C-44B6-8151-98FA2C95BD61}"/>
                </a:ext>
              </a:extLst>
            </p:cNvPr>
            <p:cNvSpPr/>
            <p:nvPr/>
          </p:nvSpPr>
          <p:spPr>
            <a:xfrm>
              <a:off x="5167634" y="2409065"/>
              <a:ext cx="189460" cy="189460"/>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21" name="Oval 20">
              <a:extLst>
                <a:ext uri="{FF2B5EF4-FFF2-40B4-BE49-F238E27FC236}">
                  <a16:creationId xmlns:a16="http://schemas.microsoft.com/office/drawing/2014/main" id="{E95CA42A-2A73-4932-A59D-EA9056EE77CD}"/>
                </a:ext>
              </a:extLst>
            </p:cNvPr>
            <p:cNvSpPr/>
            <p:nvPr/>
          </p:nvSpPr>
          <p:spPr>
            <a:xfrm>
              <a:off x="5623075" y="2400320"/>
              <a:ext cx="87998" cy="87998"/>
            </a:xfrm>
            <a:prstGeom prst="ellipse">
              <a:avLst/>
            </a:prstGeom>
            <a:solidFill>
              <a:schemeClr val="bg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22" name="Oval 21">
              <a:extLst>
                <a:ext uri="{FF2B5EF4-FFF2-40B4-BE49-F238E27FC236}">
                  <a16:creationId xmlns:a16="http://schemas.microsoft.com/office/drawing/2014/main" id="{8F0ACE27-F444-4766-BD70-8E2AB630D407}"/>
                </a:ext>
              </a:extLst>
            </p:cNvPr>
            <p:cNvSpPr/>
            <p:nvPr/>
          </p:nvSpPr>
          <p:spPr>
            <a:xfrm>
              <a:off x="5968672" y="2264738"/>
              <a:ext cx="189460" cy="189460"/>
            </a:xfrm>
            <a:prstGeom prst="ellipse">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23" name="Arc 22">
              <a:extLst>
                <a:ext uri="{FF2B5EF4-FFF2-40B4-BE49-F238E27FC236}">
                  <a16:creationId xmlns:a16="http://schemas.microsoft.com/office/drawing/2014/main" id="{9A6C6436-4DA0-4C41-B981-05BB46B9385D}"/>
                </a:ext>
              </a:extLst>
            </p:cNvPr>
            <p:cNvSpPr/>
            <p:nvPr/>
          </p:nvSpPr>
          <p:spPr>
            <a:xfrm>
              <a:off x="5149877" y="2197943"/>
              <a:ext cx="255405" cy="255405"/>
            </a:xfrm>
            <a:prstGeom prst="arc">
              <a:avLst>
                <a:gd name="adj1" fmla="val 7525161"/>
                <a:gd name="adj2" fmla="val 561333"/>
              </a:avLst>
            </a:prstGeom>
            <a:ln w="952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24" name="Arc 23">
              <a:extLst>
                <a:ext uri="{FF2B5EF4-FFF2-40B4-BE49-F238E27FC236}">
                  <a16:creationId xmlns:a16="http://schemas.microsoft.com/office/drawing/2014/main" id="{BAA48A3C-3F1B-44B6-BA2E-0FC03D4A1A5C}"/>
                </a:ext>
              </a:extLst>
            </p:cNvPr>
            <p:cNvSpPr/>
            <p:nvPr/>
          </p:nvSpPr>
          <p:spPr>
            <a:xfrm rot="16617011">
              <a:off x="5422197" y="2253355"/>
              <a:ext cx="255405" cy="255405"/>
            </a:xfrm>
            <a:prstGeom prst="arc">
              <a:avLst>
                <a:gd name="adj1" fmla="val 7525161"/>
                <a:gd name="adj2" fmla="val 15017359"/>
              </a:avLst>
            </a:prstGeom>
            <a:ln w="952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25" name="Arc 24">
              <a:extLst>
                <a:ext uri="{FF2B5EF4-FFF2-40B4-BE49-F238E27FC236}">
                  <a16:creationId xmlns:a16="http://schemas.microsoft.com/office/drawing/2014/main" id="{CA2D895A-5BE2-400D-8417-5B5FCA27A295}"/>
                </a:ext>
              </a:extLst>
            </p:cNvPr>
            <p:cNvSpPr/>
            <p:nvPr/>
          </p:nvSpPr>
          <p:spPr>
            <a:xfrm rot="3612718">
              <a:off x="5582891" y="2017234"/>
              <a:ext cx="495007" cy="495007"/>
            </a:xfrm>
            <a:prstGeom prst="arc">
              <a:avLst>
                <a:gd name="adj1" fmla="val 4780861"/>
                <a:gd name="adj2" fmla="val 18035569"/>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26" name="Arc 25">
              <a:extLst>
                <a:ext uri="{FF2B5EF4-FFF2-40B4-BE49-F238E27FC236}">
                  <a16:creationId xmlns:a16="http://schemas.microsoft.com/office/drawing/2014/main" id="{B40D1F49-BF50-4C6B-93F8-52A802F4A037}"/>
                </a:ext>
              </a:extLst>
            </p:cNvPr>
            <p:cNvSpPr/>
            <p:nvPr/>
          </p:nvSpPr>
          <p:spPr>
            <a:xfrm rot="15325282">
              <a:off x="5751502" y="2342504"/>
              <a:ext cx="275246" cy="275246"/>
            </a:xfrm>
            <a:prstGeom prst="arc">
              <a:avLst>
                <a:gd name="adj1" fmla="val 5756418"/>
                <a:gd name="adj2" fmla="val 18895866"/>
              </a:avLst>
            </a:prstGeom>
            <a:ln w="952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sp>
        <p:nvSpPr>
          <p:cNvPr id="137" name="Rectangle 136">
            <a:extLst>
              <a:ext uri="{FF2B5EF4-FFF2-40B4-BE49-F238E27FC236}">
                <a16:creationId xmlns:a16="http://schemas.microsoft.com/office/drawing/2014/main" id="{A2544DE3-5229-427E-A368-4383FA54BE71}"/>
              </a:ext>
            </a:extLst>
          </p:cNvPr>
          <p:cNvSpPr/>
          <p:nvPr/>
        </p:nvSpPr>
        <p:spPr>
          <a:xfrm>
            <a:off x="6560510" y="3586094"/>
            <a:ext cx="2084873" cy="912347"/>
          </a:xfrm>
          <a:prstGeom prst="rect">
            <a:avLst/>
          </a:prstGeom>
        </p:spPr>
        <p:txBody>
          <a:bodyPr wrap="square">
            <a:noAutofit/>
          </a:bodyPr>
          <a:lstStyle/>
          <a:p>
            <a:pPr algn="ctr"/>
            <a:r>
              <a:rPr lang="en-US" sz="1400">
                <a:solidFill>
                  <a:schemeClr val="bg2"/>
                </a:solidFill>
                <a:latin typeface="CiscoSansTT ExtraLight"/>
              </a:rPr>
              <a:t>Share context to harmonize security policies </a:t>
            </a:r>
          </a:p>
        </p:txBody>
      </p:sp>
      <p:sp>
        <p:nvSpPr>
          <p:cNvPr id="6" name="Rectangle 5">
            <a:extLst>
              <a:ext uri="{FF2B5EF4-FFF2-40B4-BE49-F238E27FC236}">
                <a16:creationId xmlns:a16="http://schemas.microsoft.com/office/drawing/2014/main" id="{8C1A5434-438B-4E84-A794-7622F37DCAAA}"/>
              </a:ext>
            </a:extLst>
          </p:cNvPr>
          <p:cNvSpPr/>
          <p:nvPr/>
        </p:nvSpPr>
        <p:spPr>
          <a:xfrm>
            <a:off x="347830" y="2610861"/>
            <a:ext cx="2386448" cy="794278"/>
          </a:xfrm>
          <a:prstGeom prst="rect">
            <a:avLst/>
          </a:prstGeom>
        </p:spPr>
        <p:txBody>
          <a:bodyPr wrap="square" lIns="0" tIns="0" rIns="0" bIns="0">
            <a:noAutofit/>
          </a:bodyPr>
          <a:lstStyle/>
          <a:p>
            <a:pPr algn="ctr"/>
            <a:r>
              <a:rPr lang="en-US" sz="1600">
                <a:solidFill>
                  <a:schemeClr val="accent2"/>
                </a:solidFill>
                <a:latin typeface="CiscoSansTT" panose="020B0503020201020303" pitchFamily="34" charset="0"/>
              </a:rPr>
              <a:t>Unify visibility </a:t>
            </a:r>
            <a:br>
              <a:rPr lang="en-US" sz="1600">
                <a:solidFill>
                  <a:schemeClr val="accent2"/>
                </a:solidFill>
                <a:latin typeface="CiscoSansTT" panose="020B0503020201020303" pitchFamily="34" charset="0"/>
              </a:rPr>
            </a:br>
            <a:r>
              <a:rPr lang="en-US" sz="1600">
                <a:solidFill>
                  <a:schemeClr val="bg2"/>
                </a:solidFill>
                <a:latin typeface="CiscoSansTT ExtraLight"/>
              </a:rPr>
              <a:t>across the entire security infrastructure</a:t>
            </a:r>
          </a:p>
        </p:txBody>
      </p:sp>
      <p:grpSp>
        <p:nvGrpSpPr>
          <p:cNvPr id="134" name="Group 133">
            <a:extLst>
              <a:ext uri="{FF2B5EF4-FFF2-40B4-BE49-F238E27FC236}">
                <a16:creationId xmlns:a16="http://schemas.microsoft.com/office/drawing/2014/main" id="{B6315073-516E-46D6-8D06-7F51AB254866}"/>
              </a:ext>
            </a:extLst>
          </p:cNvPr>
          <p:cNvGrpSpPr/>
          <p:nvPr/>
        </p:nvGrpSpPr>
        <p:grpSpPr>
          <a:xfrm>
            <a:off x="868338" y="1187295"/>
            <a:ext cx="1327398" cy="1241194"/>
            <a:chOff x="6159182" y="1273837"/>
            <a:chExt cx="1608153" cy="1503716"/>
          </a:xfrm>
        </p:grpSpPr>
        <p:sp>
          <p:nvSpPr>
            <p:cNvPr id="97" name="Oval 96">
              <a:extLst>
                <a:ext uri="{FF2B5EF4-FFF2-40B4-BE49-F238E27FC236}">
                  <a16:creationId xmlns:a16="http://schemas.microsoft.com/office/drawing/2014/main" id="{46487B6B-93DB-480D-85B5-5F93E502897A}"/>
                </a:ext>
              </a:extLst>
            </p:cNvPr>
            <p:cNvSpPr/>
            <p:nvPr/>
          </p:nvSpPr>
          <p:spPr>
            <a:xfrm>
              <a:off x="6159182" y="1795878"/>
              <a:ext cx="866556" cy="866556"/>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Arc 94">
              <a:extLst>
                <a:ext uri="{FF2B5EF4-FFF2-40B4-BE49-F238E27FC236}">
                  <a16:creationId xmlns:a16="http://schemas.microsoft.com/office/drawing/2014/main" id="{B4B445BA-D471-4952-9FDD-8DE771ADD85C}"/>
                </a:ext>
              </a:extLst>
            </p:cNvPr>
            <p:cNvSpPr/>
            <p:nvPr/>
          </p:nvSpPr>
          <p:spPr>
            <a:xfrm>
              <a:off x="6326358" y="1468366"/>
              <a:ext cx="1228004" cy="1228004"/>
            </a:xfrm>
            <a:prstGeom prst="arc">
              <a:avLst>
                <a:gd name="adj1" fmla="val 1761019"/>
                <a:gd name="adj2" fmla="val 15841988"/>
              </a:avLst>
            </a:prstGeom>
            <a:ln>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6" name="Isosceles Triangle 49">
              <a:extLst>
                <a:ext uri="{FF2B5EF4-FFF2-40B4-BE49-F238E27FC236}">
                  <a16:creationId xmlns:a16="http://schemas.microsoft.com/office/drawing/2014/main" id="{B8DE7310-3566-44B8-A5BA-EEDD77A7172D}"/>
                </a:ext>
              </a:extLst>
            </p:cNvPr>
            <p:cNvSpPr/>
            <p:nvPr/>
          </p:nvSpPr>
          <p:spPr>
            <a:xfrm rot="5989115">
              <a:off x="6864813" y="1425383"/>
              <a:ext cx="104112" cy="9080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a:solidFill>
                <a:schemeClr val="accent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cxnSp>
          <p:nvCxnSpPr>
            <p:cNvPr id="101" name="Straight Connector 100">
              <a:extLst>
                <a:ext uri="{FF2B5EF4-FFF2-40B4-BE49-F238E27FC236}">
                  <a16:creationId xmlns:a16="http://schemas.microsoft.com/office/drawing/2014/main" id="{B571FD76-32AE-41B3-A195-39A0060139E5}"/>
                </a:ext>
              </a:extLst>
            </p:cNvPr>
            <p:cNvCxnSpPr/>
            <p:nvPr/>
          </p:nvCxnSpPr>
          <p:spPr>
            <a:xfrm flipH="1" flipV="1">
              <a:off x="6596063" y="1565536"/>
              <a:ext cx="28575" cy="5903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7C65ACBE-4388-4D93-8C4E-C04E12DF4804}"/>
                </a:ext>
              </a:extLst>
            </p:cNvPr>
            <p:cNvCxnSpPr>
              <a:cxnSpLocks/>
            </p:cNvCxnSpPr>
            <p:nvPr/>
          </p:nvCxnSpPr>
          <p:spPr>
            <a:xfrm flipH="1" flipV="1">
              <a:off x="6330587" y="1927472"/>
              <a:ext cx="61103" cy="1593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D72D0C5E-3689-4BA7-8BD5-A96439599A3B}"/>
                </a:ext>
              </a:extLst>
            </p:cNvPr>
            <p:cNvCxnSpPr>
              <a:cxnSpLocks/>
            </p:cNvCxnSpPr>
            <p:nvPr/>
          </p:nvCxnSpPr>
          <p:spPr>
            <a:xfrm flipH="1">
              <a:off x="6383819" y="2330834"/>
              <a:ext cx="55158" cy="2149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C12B3202-A411-4D0A-A1F4-20DE49C99189}"/>
                </a:ext>
              </a:extLst>
            </p:cNvPr>
            <p:cNvCxnSpPr>
              <a:cxnSpLocks/>
            </p:cNvCxnSpPr>
            <p:nvPr/>
          </p:nvCxnSpPr>
          <p:spPr>
            <a:xfrm flipH="1">
              <a:off x="6691535" y="2595608"/>
              <a:ext cx="18904" cy="5158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2E2469E2-1E08-46B5-B8FC-FB9551F73AD9}"/>
                </a:ext>
              </a:extLst>
            </p:cNvPr>
            <p:cNvCxnSpPr>
              <a:cxnSpLocks/>
            </p:cNvCxnSpPr>
            <p:nvPr/>
          </p:nvCxnSpPr>
          <p:spPr>
            <a:xfrm>
              <a:off x="7215779" y="2571188"/>
              <a:ext cx="25602" cy="5021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91" name="Picture 90" descr="A close up of electronics&#10;&#10;Description automatically generated">
              <a:extLst>
                <a:ext uri="{FF2B5EF4-FFF2-40B4-BE49-F238E27FC236}">
                  <a16:creationId xmlns:a16="http://schemas.microsoft.com/office/drawing/2014/main" id="{72055F9C-6B6B-4C0A-920B-EFE5703EA43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9619711" flipH="1">
              <a:off x="6546894" y="1508963"/>
              <a:ext cx="1220441" cy="996109"/>
            </a:xfrm>
            <a:prstGeom prst="rect">
              <a:avLst/>
            </a:prstGeom>
          </p:spPr>
        </p:pic>
        <p:sp>
          <p:nvSpPr>
            <p:cNvPr id="123" name="Arc 122">
              <a:extLst>
                <a:ext uri="{FF2B5EF4-FFF2-40B4-BE49-F238E27FC236}">
                  <a16:creationId xmlns:a16="http://schemas.microsoft.com/office/drawing/2014/main" id="{C58B46D1-C71D-4835-804F-61BB41232860}"/>
                </a:ext>
              </a:extLst>
            </p:cNvPr>
            <p:cNvSpPr/>
            <p:nvPr/>
          </p:nvSpPr>
          <p:spPr>
            <a:xfrm>
              <a:off x="6235057" y="1387183"/>
              <a:ext cx="1390370" cy="1390370"/>
            </a:xfrm>
            <a:prstGeom prst="arc">
              <a:avLst>
                <a:gd name="adj1" fmla="val 2013146"/>
                <a:gd name="adj2" fmla="val 15684940"/>
              </a:avLst>
            </a:prstGeom>
            <a:ln>
              <a:solidFill>
                <a:schemeClr val="accent2">
                  <a:alpha val="6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25" name="Straight Connector 124">
              <a:extLst>
                <a:ext uri="{FF2B5EF4-FFF2-40B4-BE49-F238E27FC236}">
                  <a16:creationId xmlns:a16="http://schemas.microsoft.com/office/drawing/2014/main" id="{28D3004D-7A5D-4A5B-AB9F-F76CE63F2330}"/>
                </a:ext>
              </a:extLst>
            </p:cNvPr>
            <p:cNvCxnSpPr>
              <a:cxnSpLocks/>
            </p:cNvCxnSpPr>
            <p:nvPr/>
          </p:nvCxnSpPr>
          <p:spPr>
            <a:xfrm flipV="1">
              <a:off x="6982418" y="1273837"/>
              <a:ext cx="172576" cy="324429"/>
            </a:xfrm>
            <a:prstGeom prst="line">
              <a:avLst/>
            </a:prstGeom>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F17DAE0A-7A2D-49C8-9750-7694EFECE91B}"/>
                </a:ext>
              </a:extLst>
            </p:cNvPr>
            <p:cNvCxnSpPr>
              <a:cxnSpLocks/>
            </p:cNvCxnSpPr>
            <p:nvPr/>
          </p:nvCxnSpPr>
          <p:spPr>
            <a:xfrm>
              <a:off x="7375423" y="2327858"/>
              <a:ext cx="315553" cy="76874"/>
            </a:xfrm>
            <a:prstGeom prst="line">
              <a:avLst/>
            </a:prstGeom>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4463B58E-76DD-445E-9334-0960A185EEF2}"/>
                </a:ext>
              </a:extLst>
            </p:cNvPr>
            <p:cNvCxnSpPr>
              <a:cxnSpLocks/>
            </p:cNvCxnSpPr>
            <p:nvPr/>
          </p:nvCxnSpPr>
          <p:spPr>
            <a:xfrm flipV="1">
              <a:off x="6993460" y="1294329"/>
              <a:ext cx="110105" cy="20584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E0A9F237-CE73-4A17-8B1B-B9BFF47AA713}"/>
                </a:ext>
              </a:extLst>
            </p:cNvPr>
            <p:cNvCxnSpPr>
              <a:cxnSpLocks/>
            </p:cNvCxnSpPr>
            <p:nvPr/>
          </p:nvCxnSpPr>
          <p:spPr>
            <a:xfrm>
              <a:off x="7415173" y="2373197"/>
              <a:ext cx="212453" cy="53478"/>
            </a:xfrm>
            <a:prstGeom prst="line">
              <a:avLst/>
            </a:prstGeom>
          </p:spPr>
          <p:style>
            <a:lnRef idx="1">
              <a:schemeClr val="accent1"/>
            </a:lnRef>
            <a:fillRef idx="0">
              <a:schemeClr val="accent1"/>
            </a:fillRef>
            <a:effectRef idx="0">
              <a:schemeClr val="accent1"/>
            </a:effectRef>
            <a:fontRef idx="minor">
              <a:schemeClr val="tx1"/>
            </a:fontRef>
          </p:style>
        </p:cxnSp>
      </p:grpSp>
      <p:sp>
        <p:nvSpPr>
          <p:cNvPr id="138" name="Rectangle 137">
            <a:extLst>
              <a:ext uri="{FF2B5EF4-FFF2-40B4-BE49-F238E27FC236}">
                <a16:creationId xmlns:a16="http://schemas.microsoft.com/office/drawing/2014/main" id="{6C9E3B79-A29C-4BB7-8C17-FDCC5AA08356}"/>
              </a:ext>
            </a:extLst>
          </p:cNvPr>
          <p:cNvSpPr/>
          <p:nvPr/>
        </p:nvSpPr>
        <p:spPr>
          <a:xfrm>
            <a:off x="394374" y="3586094"/>
            <a:ext cx="2293360" cy="912347"/>
          </a:xfrm>
          <a:prstGeom prst="rect">
            <a:avLst/>
          </a:prstGeom>
        </p:spPr>
        <p:txBody>
          <a:bodyPr wrap="square">
            <a:noAutofit/>
          </a:bodyPr>
          <a:lstStyle/>
          <a:p>
            <a:pPr algn="ctr"/>
            <a:r>
              <a:rPr lang="en-US" sz="1400">
                <a:solidFill>
                  <a:schemeClr val="bg2"/>
                </a:solidFill>
                <a:latin typeface="CiscoSansTT ExtraLight"/>
              </a:rPr>
              <a:t>Make informed decisions with a single view across all control points</a:t>
            </a:r>
          </a:p>
        </p:txBody>
      </p:sp>
      <p:grpSp>
        <p:nvGrpSpPr>
          <p:cNvPr id="15" name="Group 14">
            <a:extLst>
              <a:ext uri="{FF2B5EF4-FFF2-40B4-BE49-F238E27FC236}">
                <a16:creationId xmlns:a16="http://schemas.microsoft.com/office/drawing/2014/main" id="{B3E65E66-2A62-417A-B321-BDF11BCCC9E2}"/>
              </a:ext>
            </a:extLst>
          </p:cNvPr>
          <p:cNvGrpSpPr/>
          <p:nvPr/>
        </p:nvGrpSpPr>
        <p:grpSpPr>
          <a:xfrm>
            <a:off x="7459125" y="3405131"/>
            <a:ext cx="1341789" cy="1487813"/>
            <a:chOff x="2773680" y="4284017"/>
            <a:chExt cx="326665" cy="362215"/>
          </a:xfrm>
        </p:grpSpPr>
        <p:sp>
          <p:nvSpPr>
            <p:cNvPr id="124" name="Rectangle: Rounded Corners 123">
              <a:extLst>
                <a:ext uri="{FF2B5EF4-FFF2-40B4-BE49-F238E27FC236}">
                  <a16:creationId xmlns:a16="http://schemas.microsoft.com/office/drawing/2014/main" id="{0A7FCBDF-414A-4362-847C-95A567688EE4}"/>
                </a:ext>
              </a:extLst>
            </p:cNvPr>
            <p:cNvSpPr/>
            <p:nvPr/>
          </p:nvSpPr>
          <p:spPr>
            <a:xfrm rot="16200000">
              <a:off x="2758377" y="4536627"/>
              <a:ext cx="124908" cy="94302"/>
            </a:xfrm>
            <a:prstGeom prst="roundRect">
              <a:avLst>
                <a:gd name="adj" fmla="val 18318"/>
              </a:avLst>
            </a:prstGeom>
            <a:noFill/>
            <a:ln w="12700">
              <a:solidFill>
                <a:schemeClr val="accent1">
                  <a:alpha val="40000"/>
                </a:schemeClr>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CiscoSansTT ExtraLight"/>
              </a:endParaRPr>
            </a:p>
          </p:txBody>
        </p:sp>
        <p:sp>
          <p:nvSpPr>
            <p:cNvPr id="126" name="Rectangle: Rounded Corners 125">
              <a:extLst>
                <a:ext uri="{FF2B5EF4-FFF2-40B4-BE49-F238E27FC236}">
                  <a16:creationId xmlns:a16="http://schemas.microsoft.com/office/drawing/2014/main" id="{88767980-2785-42DF-936A-F573A0F6FE5B}"/>
                </a:ext>
              </a:extLst>
            </p:cNvPr>
            <p:cNvSpPr/>
            <p:nvPr/>
          </p:nvSpPr>
          <p:spPr>
            <a:xfrm rot="16200000">
              <a:off x="2788445" y="4323263"/>
              <a:ext cx="351145" cy="272654"/>
            </a:xfrm>
            <a:prstGeom prst="roundRect">
              <a:avLst>
                <a:gd name="adj" fmla="val 17811"/>
              </a:avLst>
            </a:prstGeom>
            <a:solidFill>
              <a:schemeClr val="bg2">
                <a:alpha val="5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latin typeface="CiscoSansTT ExtraLight"/>
              </a:endParaRPr>
            </a:p>
          </p:txBody>
        </p:sp>
      </p:grpSp>
      <p:grpSp>
        <p:nvGrpSpPr>
          <p:cNvPr id="29" name="Group 28">
            <a:extLst>
              <a:ext uri="{FF2B5EF4-FFF2-40B4-BE49-F238E27FC236}">
                <a16:creationId xmlns:a16="http://schemas.microsoft.com/office/drawing/2014/main" id="{E11968DC-BF74-456B-9C00-9544FB8B1122}"/>
              </a:ext>
            </a:extLst>
          </p:cNvPr>
          <p:cNvGrpSpPr/>
          <p:nvPr/>
        </p:nvGrpSpPr>
        <p:grpSpPr>
          <a:xfrm>
            <a:off x="2846005" y="2038664"/>
            <a:ext cx="421044" cy="2152242"/>
            <a:chOff x="3076104" y="1566497"/>
            <a:chExt cx="421044" cy="2152242"/>
          </a:xfrm>
        </p:grpSpPr>
        <p:grpSp>
          <p:nvGrpSpPr>
            <p:cNvPr id="16" name="Group 15">
              <a:extLst>
                <a:ext uri="{FF2B5EF4-FFF2-40B4-BE49-F238E27FC236}">
                  <a16:creationId xmlns:a16="http://schemas.microsoft.com/office/drawing/2014/main" id="{D9465A52-22C8-4D5E-B0F8-77B2741315E4}"/>
                </a:ext>
              </a:extLst>
            </p:cNvPr>
            <p:cNvGrpSpPr/>
            <p:nvPr/>
          </p:nvGrpSpPr>
          <p:grpSpPr>
            <a:xfrm>
              <a:off x="3262103" y="1566497"/>
              <a:ext cx="64180" cy="2152242"/>
              <a:chOff x="3248865" y="991554"/>
              <a:chExt cx="56431" cy="3338595"/>
            </a:xfrm>
          </p:grpSpPr>
          <p:cxnSp>
            <p:nvCxnSpPr>
              <p:cNvPr id="128" name="Straight Connector 127">
                <a:extLst>
                  <a:ext uri="{FF2B5EF4-FFF2-40B4-BE49-F238E27FC236}">
                    <a16:creationId xmlns:a16="http://schemas.microsoft.com/office/drawing/2014/main" id="{A8E17E79-3035-4729-AF1A-43F84CBD01CC}"/>
                  </a:ext>
                </a:extLst>
              </p:cNvPr>
              <p:cNvCxnSpPr>
                <a:cxnSpLocks/>
              </p:cNvCxnSpPr>
              <p:nvPr/>
            </p:nvCxnSpPr>
            <p:spPr>
              <a:xfrm rot="16200000">
                <a:off x="1923668" y="3004952"/>
                <a:ext cx="2650394" cy="0"/>
              </a:xfrm>
              <a:prstGeom prst="line">
                <a:avLst/>
              </a:prstGeom>
              <a:ln w="12700">
                <a:solidFill>
                  <a:schemeClr val="accent4">
                    <a:alpha val="60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02B2BD19-A11F-4784-BD44-B5A1C88C9525}"/>
                  </a:ext>
                </a:extLst>
              </p:cNvPr>
              <p:cNvCxnSpPr>
                <a:cxnSpLocks/>
              </p:cNvCxnSpPr>
              <p:nvPr/>
            </p:nvCxnSpPr>
            <p:spPr>
              <a:xfrm flipV="1">
                <a:off x="3305296" y="991554"/>
                <a:ext cx="0" cy="3059633"/>
              </a:xfrm>
              <a:prstGeom prst="line">
                <a:avLst/>
              </a:prstGeom>
              <a:ln w="12700">
                <a:solidFill>
                  <a:schemeClr val="accent2">
                    <a:alpha val="60000"/>
                  </a:schemeClr>
                </a:solidFill>
              </a:ln>
            </p:spPr>
            <p:style>
              <a:lnRef idx="1">
                <a:schemeClr val="accent1"/>
              </a:lnRef>
              <a:fillRef idx="0">
                <a:schemeClr val="accent1"/>
              </a:fillRef>
              <a:effectRef idx="0">
                <a:schemeClr val="accent1"/>
              </a:effectRef>
              <a:fontRef idx="minor">
                <a:schemeClr val="tx1"/>
              </a:fontRef>
            </p:style>
          </p:cxnSp>
        </p:grpSp>
        <p:sp>
          <p:nvSpPr>
            <p:cNvPr id="131" name="Isosceles Triangle 49">
              <a:extLst>
                <a:ext uri="{FF2B5EF4-FFF2-40B4-BE49-F238E27FC236}">
                  <a16:creationId xmlns:a16="http://schemas.microsoft.com/office/drawing/2014/main" id="{18A36429-484D-4617-87B7-2FCC42831E09}"/>
                </a:ext>
              </a:extLst>
            </p:cNvPr>
            <p:cNvSpPr/>
            <p:nvPr/>
          </p:nvSpPr>
          <p:spPr>
            <a:xfrm rot="5400000">
              <a:off x="3045251" y="2445529"/>
              <a:ext cx="482749" cy="42104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1">
                <a:alpha val="2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33" name="Isosceles Triangle 49">
              <a:extLst>
                <a:ext uri="{FF2B5EF4-FFF2-40B4-BE49-F238E27FC236}">
                  <a16:creationId xmlns:a16="http://schemas.microsoft.com/office/drawing/2014/main" id="{3801FD5F-77D1-4F32-B90A-9898725BD83D}"/>
                </a:ext>
              </a:extLst>
            </p:cNvPr>
            <p:cNvSpPr/>
            <p:nvPr/>
          </p:nvSpPr>
          <p:spPr>
            <a:xfrm rot="5400000">
              <a:off x="3178054" y="2333976"/>
              <a:ext cx="285677" cy="24916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2">
                <a:alpha val="2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sp>
        <p:nvSpPr>
          <p:cNvPr id="32" name="Oval 31">
            <a:extLst>
              <a:ext uri="{FF2B5EF4-FFF2-40B4-BE49-F238E27FC236}">
                <a16:creationId xmlns:a16="http://schemas.microsoft.com/office/drawing/2014/main" id="{EB1464B5-CE80-4F27-8E2B-83EA560C3898}"/>
              </a:ext>
            </a:extLst>
          </p:cNvPr>
          <p:cNvSpPr/>
          <p:nvPr/>
        </p:nvSpPr>
        <p:spPr>
          <a:xfrm>
            <a:off x="1112703" y="3458789"/>
            <a:ext cx="73656" cy="73654"/>
          </a:xfrm>
          <a:prstGeom prst="ellipse">
            <a:avLst/>
          </a:prstGeom>
          <a:solidFill>
            <a:schemeClr val="accent4">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a16="http://schemas.microsoft.com/office/drawing/2014/main" id="{3A29E50F-3D4E-4188-9295-F10B3280FBA4}"/>
              </a:ext>
            </a:extLst>
          </p:cNvPr>
          <p:cNvSpPr/>
          <p:nvPr/>
        </p:nvSpPr>
        <p:spPr>
          <a:xfrm>
            <a:off x="1455879" y="3458789"/>
            <a:ext cx="73656" cy="73654"/>
          </a:xfrm>
          <a:prstGeom prst="ellipse">
            <a:avLst/>
          </a:prstGeom>
          <a:solidFill>
            <a:schemeClr val="accent4">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a16="http://schemas.microsoft.com/office/drawing/2014/main" id="{98493109-5048-4D6E-B1E0-861829C2709B}"/>
              </a:ext>
            </a:extLst>
          </p:cNvPr>
          <p:cNvSpPr/>
          <p:nvPr/>
        </p:nvSpPr>
        <p:spPr>
          <a:xfrm>
            <a:off x="1799054" y="3458789"/>
            <a:ext cx="73656" cy="73654"/>
          </a:xfrm>
          <a:prstGeom prst="ellipse">
            <a:avLst/>
          </a:prstGeom>
          <a:solidFill>
            <a:schemeClr val="accent4">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a:extLst>
              <a:ext uri="{FF2B5EF4-FFF2-40B4-BE49-F238E27FC236}">
                <a16:creationId xmlns:a16="http://schemas.microsoft.com/office/drawing/2014/main" id="{AF391252-D27A-4BE4-ADC2-102470714A8F}"/>
              </a:ext>
            </a:extLst>
          </p:cNvPr>
          <p:cNvSpPr/>
          <p:nvPr/>
        </p:nvSpPr>
        <p:spPr>
          <a:xfrm>
            <a:off x="4191998" y="3458788"/>
            <a:ext cx="73656" cy="73654"/>
          </a:xfrm>
          <a:prstGeom prst="ellipse">
            <a:avLst/>
          </a:prstGeom>
          <a:solidFill>
            <a:schemeClr val="accent4">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a:extLst>
              <a:ext uri="{FF2B5EF4-FFF2-40B4-BE49-F238E27FC236}">
                <a16:creationId xmlns:a16="http://schemas.microsoft.com/office/drawing/2014/main" id="{77CBF1B6-DEDC-43EB-9BB8-2B5C3476C433}"/>
              </a:ext>
            </a:extLst>
          </p:cNvPr>
          <p:cNvSpPr/>
          <p:nvPr/>
        </p:nvSpPr>
        <p:spPr>
          <a:xfrm>
            <a:off x="4535174" y="3458788"/>
            <a:ext cx="73656" cy="73654"/>
          </a:xfrm>
          <a:prstGeom prst="ellipse">
            <a:avLst/>
          </a:prstGeom>
          <a:solidFill>
            <a:schemeClr val="accent4">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a:extLst>
              <a:ext uri="{FF2B5EF4-FFF2-40B4-BE49-F238E27FC236}">
                <a16:creationId xmlns:a16="http://schemas.microsoft.com/office/drawing/2014/main" id="{B4EC1D23-A8CC-4F81-8414-D9101B111E11}"/>
              </a:ext>
            </a:extLst>
          </p:cNvPr>
          <p:cNvSpPr/>
          <p:nvPr/>
        </p:nvSpPr>
        <p:spPr>
          <a:xfrm>
            <a:off x="4878349" y="3458788"/>
            <a:ext cx="73656" cy="73654"/>
          </a:xfrm>
          <a:prstGeom prst="ellipse">
            <a:avLst/>
          </a:prstGeom>
          <a:solidFill>
            <a:schemeClr val="accent4">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a:extLst>
              <a:ext uri="{FF2B5EF4-FFF2-40B4-BE49-F238E27FC236}">
                <a16:creationId xmlns:a16="http://schemas.microsoft.com/office/drawing/2014/main" id="{3944A650-8ED1-4500-A0DE-553B012833B6}"/>
              </a:ext>
            </a:extLst>
          </p:cNvPr>
          <p:cNvSpPr/>
          <p:nvPr/>
        </p:nvSpPr>
        <p:spPr>
          <a:xfrm>
            <a:off x="7222944" y="3458788"/>
            <a:ext cx="73656" cy="73654"/>
          </a:xfrm>
          <a:prstGeom prst="ellipse">
            <a:avLst/>
          </a:prstGeom>
          <a:solidFill>
            <a:schemeClr val="accent4">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a16="http://schemas.microsoft.com/office/drawing/2014/main" id="{3D2C8C0B-1F68-4766-9CC3-B071DDB85FD8}"/>
              </a:ext>
            </a:extLst>
          </p:cNvPr>
          <p:cNvSpPr/>
          <p:nvPr/>
        </p:nvSpPr>
        <p:spPr>
          <a:xfrm>
            <a:off x="7566120" y="3458788"/>
            <a:ext cx="73656" cy="73654"/>
          </a:xfrm>
          <a:prstGeom prst="ellipse">
            <a:avLst/>
          </a:prstGeom>
          <a:solidFill>
            <a:schemeClr val="accent4">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Oval 159">
            <a:extLst>
              <a:ext uri="{FF2B5EF4-FFF2-40B4-BE49-F238E27FC236}">
                <a16:creationId xmlns:a16="http://schemas.microsoft.com/office/drawing/2014/main" id="{55657220-AD9B-479B-9330-ABAD87C72645}"/>
              </a:ext>
            </a:extLst>
          </p:cNvPr>
          <p:cNvSpPr/>
          <p:nvPr/>
        </p:nvSpPr>
        <p:spPr>
          <a:xfrm>
            <a:off x="7909295" y="3458788"/>
            <a:ext cx="73656" cy="73654"/>
          </a:xfrm>
          <a:prstGeom prst="ellipse">
            <a:avLst/>
          </a:prstGeom>
          <a:solidFill>
            <a:schemeClr val="accent4">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1" name="Group 160">
            <a:extLst>
              <a:ext uri="{FF2B5EF4-FFF2-40B4-BE49-F238E27FC236}">
                <a16:creationId xmlns:a16="http://schemas.microsoft.com/office/drawing/2014/main" id="{DADD9E05-D65A-4A43-BBA4-766212C39CAF}"/>
              </a:ext>
            </a:extLst>
          </p:cNvPr>
          <p:cNvGrpSpPr/>
          <p:nvPr/>
        </p:nvGrpSpPr>
        <p:grpSpPr>
          <a:xfrm>
            <a:off x="5876952" y="2038664"/>
            <a:ext cx="421044" cy="2152242"/>
            <a:chOff x="3076104" y="1566497"/>
            <a:chExt cx="421044" cy="2152242"/>
          </a:xfrm>
        </p:grpSpPr>
        <p:grpSp>
          <p:nvGrpSpPr>
            <p:cNvPr id="162" name="Group 161">
              <a:extLst>
                <a:ext uri="{FF2B5EF4-FFF2-40B4-BE49-F238E27FC236}">
                  <a16:creationId xmlns:a16="http://schemas.microsoft.com/office/drawing/2014/main" id="{59E9C5BE-ED8A-444D-A404-AD24A32A38E7}"/>
                </a:ext>
              </a:extLst>
            </p:cNvPr>
            <p:cNvGrpSpPr/>
            <p:nvPr/>
          </p:nvGrpSpPr>
          <p:grpSpPr>
            <a:xfrm>
              <a:off x="3262103" y="1566497"/>
              <a:ext cx="64180" cy="2152242"/>
              <a:chOff x="3248865" y="991554"/>
              <a:chExt cx="56431" cy="3338595"/>
            </a:xfrm>
          </p:grpSpPr>
          <p:cxnSp>
            <p:nvCxnSpPr>
              <p:cNvPr id="165" name="Straight Connector 164">
                <a:extLst>
                  <a:ext uri="{FF2B5EF4-FFF2-40B4-BE49-F238E27FC236}">
                    <a16:creationId xmlns:a16="http://schemas.microsoft.com/office/drawing/2014/main" id="{BBE6EA59-4843-4454-80EE-C39AA7CF7734}"/>
                  </a:ext>
                </a:extLst>
              </p:cNvPr>
              <p:cNvCxnSpPr>
                <a:cxnSpLocks/>
              </p:cNvCxnSpPr>
              <p:nvPr/>
            </p:nvCxnSpPr>
            <p:spPr>
              <a:xfrm rot="16200000">
                <a:off x="1923668" y="3004952"/>
                <a:ext cx="2650394" cy="0"/>
              </a:xfrm>
              <a:prstGeom prst="line">
                <a:avLst/>
              </a:prstGeom>
              <a:ln w="12700">
                <a:solidFill>
                  <a:schemeClr val="accent4">
                    <a:alpha val="60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1BBCA68-47CA-4E10-BB25-F9D628BD51A8}"/>
                  </a:ext>
                </a:extLst>
              </p:cNvPr>
              <p:cNvCxnSpPr>
                <a:cxnSpLocks/>
              </p:cNvCxnSpPr>
              <p:nvPr/>
            </p:nvCxnSpPr>
            <p:spPr>
              <a:xfrm flipV="1">
                <a:off x="3305296" y="991554"/>
                <a:ext cx="0" cy="3059633"/>
              </a:xfrm>
              <a:prstGeom prst="line">
                <a:avLst/>
              </a:prstGeom>
              <a:ln w="12700">
                <a:solidFill>
                  <a:schemeClr val="accent1">
                    <a:alpha val="60000"/>
                  </a:schemeClr>
                </a:solidFill>
              </a:ln>
            </p:spPr>
            <p:style>
              <a:lnRef idx="1">
                <a:schemeClr val="accent1"/>
              </a:lnRef>
              <a:fillRef idx="0">
                <a:schemeClr val="accent1"/>
              </a:fillRef>
              <a:effectRef idx="0">
                <a:schemeClr val="accent1"/>
              </a:effectRef>
              <a:fontRef idx="minor">
                <a:schemeClr val="tx1"/>
              </a:fontRef>
            </p:style>
          </p:cxnSp>
        </p:grpSp>
        <p:sp>
          <p:nvSpPr>
            <p:cNvPr id="163" name="Isosceles Triangle 49">
              <a:extLst>
                <a:ext uri="{FF2B5EF4-FFF2-40B4-BE49-F238E27FC236}">
                  <a16:creationId xmlns:a16="http://schemas.microsoft.com/office/drawing/2014/main" id="{B480E915-8953-46D2-831D-39E73D6F1DB2}"/>
                </a:ext>
              </a:extLst>
            </p:cNvPr>
            <p:cNvSpPr/>
            <p:nvPr/>
          </p:nvSpPr>
          <p:spPr>
            <a:xfrm rot="5400000">
              <a:off x="3045251" y="2445529"/>
              <a:ext cx="482749" cy="42104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2">
                <a:alpha val="2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64" name="Isosceles Triangle 49">
              <a:extLst>
                <a:ext uri="{FF2B5EF4-FFF2-40B4-BE49-F238E27FC236}">
                  <a16:creationId xmlns:a16="http://schemas.microsoft.com/office/drawing/2014/main" id="{22772192-7928-411D-B269-1CA0E0C8A20A}"/>
                </a:ext>
              </a:extLst>
            </p:cNvPr>
            <p:cNvSpPr/>
            <p:nvPr/>
          </p:nvSpPr>
          <p:spPr>
            <a:xfrm rot="5400000">
              <a:off x="3178054" y="2333976"/>
              <a:ext cx="285677" cy="24916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4">
                <a:alpha val="2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grpSp>
    </p:spTree>
    <p:extLst>
      <p:ext uri="{BB962C8B-B14F-4D97-AF65-F5344CB8AC3E}">
        <p14:creationId xmlns:p14="http://schemas.microsoft.com/office/powerpoint/2010/main" val="18613078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55" name="Picture 54">
            <a:extLst>
              <a:ext uri="{FF2B5EF4-FFF2-40B4-BE49-F238E27FC236}">
                <a16:creationId xmlns:a16="http://schemas.microsoft.com/office/drawing/2014/main" id="{1E0867CB-5D38-4024-AF60-38FA459A98B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718700" y="1570437"/>
            <a:ext cx="4359954" cy="2499058"/>
          </a:xfrm>
          <a:prstGeom prst="rect">
            <a:avLst/>
          </a:prstGeom>
        </p:spPr>
      </p:pic>
      <p:sp>
        <p:nvSpPr>
          <p:cNvPr id="22" name="Title 9">
            <a:extLst>
              <a:ext uri="{FF2B5EF4-FFF2-40B4-BE49-F238E27FC236}">
                <a16:creationId xmlns:a16="http://schemas.microsoft.com/office/drawing/2014/main" id="{FFF17DCF-172B-4FC8-9DCC-8CF553604E69}"/>
              </a:ext>
            </a:extLst>
          </p:cNvPr>
          <p:cNvSpPr txBox="1">
            <a:spLocks/>
          </p:cNvSpPr>
          <p:nvPr/>
        </p:nvSpPr>
        <p:spPr bwMode="auto">
          <a:xfrm>
            <a:off x="542925" y="2819966"/>
            <a:ext cx="3805961"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D274D"/>
                </a:solidFill>
                <a:effectLst/>
                <a:uLnTx/>
                <a:uFillTx/>
                <a:latin typeface="CiscoSansTT ExtraLight"/>
              </a:rPr>
              <a:t>Champion innovation with a </a:t>
            </a:r>
            <a:r>
              <a:rPr kumimoji="0" lang="en-US" sz="2000" b="0" i="0" u="none" strike="noStrike" kern="1200" cap="none" spc="0" normalizeH="0" baseline="0" noProof="0">
                <a:ln>
                  <a:noFill/>
                </a:ln>
                <a:solidFill>
                  <a:srgbClr val="6EBE4A"/>
                </a:solidFill>
                <a:effectLst/>
                <a:uLnTx/>
                <a:uFillTx/>
                <a:latin typeface="CiscoSansTT" panose="020B0503020201020303" pitchFamily="34" charset="0"/>
              </a:rPr>
              <a:t>powerful, pervasive </a:t>
            </a:r>
            <a:r>
              <a:rPr kumimoji="0" lang="en-US" sz="2000" b="0" i="0" u="none" strike="noStrike" kern="1200" cap="none" spc="0" normalizeH="0" baseline="0" noProof="0">
                <a:ln>
                  <a:noFill/>
                </a:ln>
                <a:solidFill>
                  <a:srgbClr val="0D274D"/>
                </a:solidFill>
                <a:effectLst/>
                <a:uLnTx/>
                <a:uFillTx/>
                <a:latin typeface="CiscoSansTT ExtraLight"/>
              </a:rPr>
              <a:t>platform that keeps you safe as your business pursues what’s next.</a:t>
            </a:r>
          </a:p>
        </p:txBody>
      </p:sp>
      <p:cxnSp>
        <p:nvCxnSpPr>
          <p:cNvPr id="23" name="Straight Connector 22">
            <a:extLst>
              <a:ext uri="{FF2B5EF4-FFF2-40B4-BE49-F238E27FC236}">
                <a16:creationId xmlns:a16="http://schemas.microsoft.com/office/drawing/2014/main" id="{37AD5CBE-E861-41D8-83FB-65FF4D921A94}"/>
              </a:ext>
            </a:extLst>
          </p:cNvPr>
          <p:cNvCxnSpPr>
            <a:cxnSpLocks/>
          </p:cNvCxnSpPr>
          <p:nvPr/>
        </p:nvCxnSpPr>
        <p:spPr>
          <a:xfrm flipH="1">
            <a:off x="542925" y="2656875"/>
            <a:ext cx="3931920" cy="0"/>
          </a:xfrm>
          <a:prstGeom prst="line">
            <a:avLst/>
          </a:prstGeom>
          <a:noFill/>
          <a:ln w="9525" cap="flat" cmpd="sng" algn="ctr">
            <a:solidFill>
              <a:schemeClr val="bg2"/>
            </a:solidFill>
            <a:prstDash val="solid"/>
          </a:ln>
          <a:effectLst/>
        </p:spPr>
      </p:cxnSp>
      <p:sp>
        <p:nvSpPr>
          <p:cNvPr id="21" name="Title 9">
            <a:extLst>
              <a:ext uri="{FF2B5EF4-FFF2-40B4-BE49-F238E27FC236}">
                <a16:creationId xmlns:a16="http://schemas.microsoft.com/office/drawing/2014/main" id="{4136858C-F48A-41BF-BC0B-53C6E0AB1D13}"/>
              </a:ext>
            </a:extLst>
          </p:cNvPr>
          <p:cNvSpPr txBox="1">
            <a:spLocks/>
          </p:cNvSpPr>
          <p:nvPr/>
        </p:nvSpPr>
        <p:spPr bwMode="auto">
          <a:xfrm>
            <a:off x="542925" y="2024327"/>
            <a:ext cx="2823883" cy="49244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a:ln>
                  <a:noFill/>
                </a:ln>
                <a:solidFill>
                  <a:srgbClr val="6CBF4F"/>
                </a:solidFill>
                <a:effectLst/>
                <a:uLnTx/>
                <a:uFillTx/>
                <a:latin typeface="CiscoSansTT" panose="020B0503020201020303" pitchFamily="34" charset="0"/>
              </a:rPr>
              <a:t>accelerated</a:t>
            </a:r>
          </a:p>
        </p:txBody>
      </p:sp>
      <p:sp>
        <p:nvSpPr>
          <p:cNvPr id="26" name="Title 9">
            <a:extLst>
              <a:ext uri="{FF2B5EF4-FFF2-40B4-BE49-F238E27FC236}">
                <a16:creationId xmlns:a16="http://schemas.microsoft.com/office/drawing/2014/main" id="{B02B04F3-B2D2-41BA-AA87-70DB38192576}"/>
              </a:ext>
            </a:extLst>
          </p:cNvPr>
          <p:cNvSpPr txBox="1">
            <a:spLocks/>
          </p:cNvSpPr>
          <p:nvPr/>
        </p:nvSpPr>
        <p:spPr bwMode="auto">
          <a:xfrm>
            <a:off x="542925" y="1692937"/>
            <a:ext cx="2823883" cy="49244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0BCEC"/>
                </a:solidFill>
                <a:effectLst/>
                <a:uLnTx/>
                <a:uFillTx/>
                <a:latin typeface="CiscoSansTT ExtraLight"/>
              </a:rPr>
              <a:t>S</a:t>
            </a:r>
            <a:r>
              <a:rPr kumimoji="0" lang="en-US" sz="3200" b="0" i="0" u="none" strike="noStrike" kern="1200" cap="none" spc="0" normalizeH="0" baseline="0" noProof="0" err="1">
                <a:ln>
                  <a:noFill/>
                </a:ln>
                <a:solidFill>
                  <a:srgbClr val="00BCEC"/>
                </a:solidFill>
                <a:effectLst/>
                <a:uLnTx/>
                <a:uFillTx/>
                <a:latin typeface="CiscoSansTT ExtraLight"/>
              </a:rPr>
              <a:t>uccess</a:t>
            </a:r>
            <a:endParaRPr kumimoji="0" lang="en-US" sz="3200" b="0" i="0" u="none" strike="noStrike" kern="1200" cap="none" spc="0" normalizeH="0" baseline="0" noProof="0">
              <a:ln>
                <a:noFill/>
              </a:ln>
              <a:solidFill>
                <a:srgbClr val="6CBF4F"/>
              </a:solidFill>
              <a:effectLst/>
              <a:uLnTx/>
              <a:uFillTx/>
              <a:latin typeface="CiscoSansTT ExtraLight"/>
            </a:endParaRPr>
          </a:p>
        </p:txBody>
      </p:sp>
    </p:spTree>
    <p:extLst>
      <p:ext uri="{BB962C8B-B14F-4D97-AF65-F5344CB8AC3E}">
        <p14:creationId xmlns:p14="http://schemas.microsoft.com/office/powerpoint/2010/main" val="34826157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26407F47-985B-4DB6-830E-E12CFA335AD1}"/>
              </a:ext>
            </a:extLst>
          </p:cNvPr>
          <p:cNvSpPr/>
          <p:nvPr/>
        </p:nvSpPr>
        <p:spPr>
          <a:xfrm>
            <a:off x="1068689" y="2164091"/>
            <a:ext cx="752512" cy="752512"/>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5" name="Graphic 37">
            <a:extLst>
              <a:ext uri="{FF2B5EF4-FFF2-40B4-BE49-F238E27FC236}">
                <a16:creationId xmlns:a16="http://schemas.microsoft.com/office/drawing/2014/main" id="{C432BD0B-CEA2-4C54-8DD9-0F24912CC198}"/>
              </a:ext>
            </a:extLst>
          </p:cNvPr>
          <p:cNvGrpSpPr/>
          <p:nvPr/>
        </p:nvGrpSpPr>
        <p:grpSpPr>
          <a:xfrm>
            <a:off x="977021" y="2282914"/>
            <a:ext cx="698371" cy="723097"/>
            <a:chOff x="7523021" y="841478"/>
            <a:chExt cx="867374" cy="898083"/>
          </a:xfrm>
          <a:solidFill>
            <a:schemeClr val="accent4"/>
          </a:solidFill>
        </p:grpSpPr>
        <p:sp>
          <p:nvSpPr>
            <p:cNvPr id="66" name="Freeform: Shape 65">
              <a:extLst>
                <a:ext uri="{FF2B5EF4-FFF2-40B4-BE49-F238E27FC236}">
                  <a16:creationId xmlns:a16="http://schemas.microsoft.com/office/drawing/2014/main" id="{15354104-1E0A-4154-B748-30C12BD29403}"/>
                </a:ext>
              </a:extLst>
            </p:cNvPr>
            <p:cNvSpPr/>
            <p:nvPr/>
          </p:nvSpPr>
          <p:spPr>
            <a:xfrm>
              <a:off x="7523021" y="841478"/>
              <a:ext cx="53565" cy="53565"/>
            </a:xfrm>
            <a:custGeom>
              <a:avLst/>
              <a:gdLst>
                <a:gd name="connsiteX0" fmla="*/ 53565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5"/>
                    <a:pt x="26783" y="53565"/>
                  </a:cubicBezTo>
                  <a:cubicBezTo>
                    <a:pt x="11991" y="53565"/>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67" name="Freeform: Shape 66">
              <a:extLst>
                <a:ext uri="{FF2B5EF4-FFF2-40B4-BE49-F238E27FC236}">
                  <a16:creationId xmlns:a16="http://schemas.microsoft.com/office/drawing/2014/main" id="{72CED358-696C-4D86-84DE-6FBB23B5D51D}"/>
                </a:ext>
              </a:extLst>
            </p:cNvPr>
            <p:cNvSpPr/>
            <p:nvPr/>
          </p:nvSpPr>
          <p:spPr>
            <a:xfrm>
              <a:off x="7693290" y="841478"/>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68" name="Freeform: Shape 67">
              <a:extLst>
                <a:ext uri="{FF2B5EF4-FFF2-40B4-BE49-F238E27FC236}">
                  <a16:creationId xmlns:a16="http://schemas.microsoft.com/office/drawing/2014/main" id="{BE79C82B-E43A-4691-A7B4-E82107D48959}"/>
                </a:ext>
              </a:extLst>
            </p:cNvPr>
            <p:cNvSpPr/>
            <p:nvPr/>
          </p:nvSpPr>
          <p:spPr>
            <a:xfrm>
              <a:off x="7863560" y="841478"/>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69" name="Freeform: Shape 68">
              <a:extLst>
                <a:ext uri="{FF2B5EF4-FFF2-40B4-BE49-F238E27FC236}">
                  <a16:creationId xmlns:a16="http://schemas.microsoft.com/office/drawing/2014/main" id="{AB08E09B-982F-46D5-8603-C792DDD126AB}"/>
                </a:ext>
              </a:extLst>
            </p:cNvPr>
            <p:cNvSpPr/>
            <p:nvPr/>
          </p:nvSpPr>
          <p:spPr>
            <a:xfrm>
              <a:off x="8033829" y="841478"/>
              <a:ext cx="53565" cy="53565"/>
            </a:xfrm>
            <a:custGeom>
              <a:avLst/>
              <a:gdLst>
                <a:gd name="connsiteX0" fmla="*/ 53565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5"/>
                    <a:pt x="26783" y="53565"/>
                  </a:cubicBezTo>
                  <a:cubicBezTo>
                    <a:pt x="11991" y="53565"/>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70" name="Freeform: Shape 69">
              <a:extLst>
                <a:ext uri="{FF2B5EF4-FFF2-40B4-BE49-F238E27FC236}">
                  <a16:creationId xmlns:a16="http://schemas.microsoft.com/office/drawing/2014/main" id="{590ADE22-AF69-4787-99A8-4DD7E4E98BAC}"/>
                </a:ext>
              </a:extLst>
            </p:cNvPr>
            <p:cNvSpPr/>
            <p:nvPr/>
          </p:nvSpPr>
          <p:spPr>
            <a:xfrm>
              <a:off x="8189471" y="841478"/>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71" name="Freeform: Shape 70">
              <a:extLst>
                <a:ext uri="{FF2B5EF4-FFF2-40B4-BE49-F238E27FC236}">
                  <a16:creationId xmlns:a16="http://schemas.microsoft.com/office/drawing/2014/main" id="{C508AA44-815A-4049-9EEC-B53A2DBAEEDA}"/>
                </a:ext>
              </a:extLst>
            </p:cNvPr>
            <p:cNvSpPr/>
            <p:nvPr/>
          </p:nvSpPr>
          <p:spPr>
            <a:xfrm>
              <a:off x="8336830" y="841478"/>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72" name="Freeform: Shape 71">
              <a:extLst>
                <a:ext uri="{FF2B5EF4-FFF2-40B4-BE49-F238E27FC236}">
                  <a16:creationId xmlns:a16="http://schemas.microsoft.com/office/drawing/2014/main" id="{D9CDD094-F70B-433B-90EE-F8765702A0B5}"/>
                </a:ext>
              </a:extLst>
            </p:cNvPr>
            <p:cNvSpPr/>
            <p:nvPr/>
          </p:nvSpPr>
          <p:spPr>
            <a:xfrm>
              <a:off x="7523021" y="1010403"/>
              <a:ext cx="53565" cy="53565"/>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5"/>
                    <a:pt x="41574" y="53566"/>
                    <a:pt x="26783" y="53566"/>
                  </a:cubicBezTo>
                  <a:cubicBezTo>
                    <a:pt x="11991" y="53566"/>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73" name="Freeform: Shape 72">
              <a:extLst>
                <a:ext uri="{FF2B5EF4-FFF2-40B4-BE49-F238E27FC236}">
                  <a16:creationId xmlns:a16="http://schemas.microsoft.com/office/drawing/2014/main" id="{BD1943EB-35BC-4D2E-BA1D-0481C9BBF1AD}"/>
                </a:ext>
              </a:extLst>
            </p:cNvPr>
            <p:cNvSpPr/>
            <p:nvPr/>
          </p:nvSpPr>
          <p:spPr>
            <a:xfrm>
              <a:off x="7693290" y="1010403"/>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5"/>
                    <a:pt x="41575" y="53566"/>
                    <a:pt x="26783" y="53566"/>
                  </a:cubicBezTo>
                  <a:cubicBezTo>
                    <a:pt x="11991" y="53566"/>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74" name="Freeform: Shape 73">
              <a:extLst>
                <a:ext uri="{FF2B5EF4-FFF2-40B4-BE49-F238E27FC236}">
                  <a16:creationId xmlns:a16="http://schemas.microsoft.com/office/drawing/2014/main" id="{9DC9BB24-90C5-4398-AF21-BDB5779D8B1D}"/>
                </a:ext>
              </a:extLst>
            </p:cNvPr>
            <p:cNvSpPr/>
            <p:nvPr/>
          </p:nvSpPr>
          <p:spPr>
            <a:xfrm>
              <a:off x="7863560" y="1010403"/>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5"/>
                    <a:pt x="41575" y="53566"/>
                    <a:pt x="26783" y="53566"/>
                  </a:cubicBezTo>
                  <a:cubicBezTo>
                    <a:pt x="11991" y="53566"/>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75" name="Freeform: Shape 74">
              <a:extLst>
                <a:ext uri="{FF2B5EF4-FFF2-40B4-BE49-F238E27FC236}">
                  <a16:creationId xmlns:a16="http://schemas.microsoft.com/office/drawing/2014/main" id="{FEB95875-4AB2-49A1-9DE6-CCD7A55B0423}"/>
                </a:ext>
              </a:extLst>
            </p:cNvPr>
            <p:cNvSpPr/>
            <p:nvPr/>
          </p:nvSpPr>
          <p:spPr>
            <a:xfrm>
              <a:off x="8033829" y="1010403"/>
              <a:ext cx="53565" cy="53565"/>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5"/>
                    <a:pt x="41574" y="53566"/>
                    <a:pt x="26783" y="53566"/>
                  </a:cubicBezTo>
                  <a:cubicBezTo>
                    <a:pt x="11991" y="53566"/>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76" name="Freeform: Shape 75">
              <a:extLst>
                <a:ext uri="{FF2B5EF4-FFF2-40B4-BE49-F238E27FC236}">
                  <a16:creationId xmlns:a16="http://schemas.microsoft.com/office/drawing/2014/main" id="{6BA2C34D-8005-44DD-AA2C-9698905072E9}"/>
                </a:ext>
              </a:extLst>
            </p:cNvPr>
            <p:cNvSpPr/>
            <p:nvPr/>
          </p:nvSpPr>
          <p:spPr>
            <a:xfrm>
              <a:off x="8189471" y="1010403"/>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5"/>
                    <a:pt x="41575" y="53566"/>
                    <a:pt x="26783" y="53566"/>
                  </a:cubicBezTo>
                  <a:cubicBezTo>
                    <a:pt x="11991" y="53566"/>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77" name="Freeform: Shape 76">
              <a:extLst>
                <a:ext uri="{FF2B5EF4-FFF2-40B4-BE49-F238E27FC236}">
                  <a16:creationId xmlns:a16="http://schemas.microsoft.com/office/drawing/2014/main" id="{5E02F5C5-0A3F-461A-9C6D-FD52A6FA505D}"/>
                </a:ext>
              </a:extLst>
            </p:cNvPr>
            <p:cNvSpPr/>
            <p:nvPr/>
          </p:nvSpPr>
          <p:spPr>
            <a:xfrm>
              <a:off x="8336830" y="1010403"/>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5"/>
                    <a:pt x="41575" y="53566"/>
                    <a:pt x="26783" y="53566"/>
                  </a:cubicBezTo>
                  <a:cubicBezTo>
                    <a:pt x="11991" y="53566"/>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78" name="Freeform: Shape 77">
              <a:extLst>
                <a:ext uri="{FF2B5EF4-FFF2-40B4-BE49-F238E27FC236}">
                  <a16:creationId xmlns:a16="http://schemas.microsoft.com/office/drawing/2014/main" id="{8EB2FE8D-16BB-4A91-A5DB-3781DA6A4EEB}"/>
                </a:ext>
              </a:extLst>
            </p:cNvPr>
            <p:cNvSpPr/>
            <p:nvPr/>
          </p:nvSpPr>
          <p:spPr>
            <a:xfrm>
              <a:off x="7523021" y="1179274"/>
              <a:ext cx="53565" cy="53565"/>
            </a:xfrm>
            <a:custGeom>
              <a:avLst/>
              <a:gdLst>
                <a:gd name="connsiteX0" fmla="*/ 53565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5"/>
                    <a:pt x="26783" y="53565"/>
                  </a:cubicBezTo>
                  <a:cubicBezTo>
                    <a:pt x="11991" y="53565"/>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C3F9C56E-09E5-4CD1-AA42-949C9281ED05}"/>
                </a:ext>
              </a:extLst>
            </p:cNvPr>
            <p:cNvSpPr/>
            <p:nvPr/>
          </p:nvSpPr>
          <p:spPr>
            <a:xfrm>
              <a:off x="7693290" y="1179274"/>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D8932CB6-0D9E-446D-8813-CFEBFAF45971}"/>
                </a:ext>
              </a:extLst>
            </p:cNvPr>
            <p:cNvSpPr/>
            <p:nvPr/>
          </p:nvSpPr>
          <p:spPr>
            <a:xfrm>
              <a:off x="7863560" y="1179274"/>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31C3396C-AEDE-4D8B-9A75-A0687C85173F}"/>
                </a:ext>
              </a:extLst>
            </p:cNvPr>
            <p:cNvSpPr/>
            <p:nvPr/>
          </p:nvSpPr>
          <p:spPr>
            <a:xfrm>
              <a:off x="8033829" y="1179274"/>
              <a:ext cx="53565" cy="53565"/>
            </a:xfrm>
            <a:custGeom>
              <a:avLst/>
              <a:gdLst>
                <a:gd name="connsiteX0" fmla="*/ 53565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5"/>
                    <a:pt x="26783" y="53565"/>
                  </a:cubicBezTo>
                  <a:cubicBezTo>
                    <a:pt x="11991" y="53565"/>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82" name="Freeform: Shape 81">
              <a:extLst>
                <a:ext uri="{FF2B5EF4-FFF2-40B4-BE49-F238E27FC236}">
                  <a16:creationId xmlns:a16="http://schemas.microsoft.com/office/drawing/2014/main" id="{969FB975-35B2-4E26-BB19-6EDFBD7DDD50}"/>
                </a:ext>
              </a:extLst>
            </p:cNvPr>
            <p:cNvSpPr/>
            <p:nvPr/>
          </p:nvSpPr>
          <p:spPr>
            <a:xfrm>
              <a:off x="8189471" y="1179274"/>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83" name="Freeform: Shape 82">
              <a:extLst>
                <a:ext uri="{FF2B5EF4-FFF2-40B4-BE49-F238E27FC236}">
                  <a16:creationId xmlns:a16="http://schemas.microsoft.com/office/drawing/2014/main" id="{965DE48D-0C73-45B3-9925-AB1446E737A4}"/>
                </a:ext>
              </a:extLst>
            </p:cNvPr>
            <p:cNvSpPr/>
            <p:nvPr/>
          </p:nvSpPr>
          <p:spPr>
            <a:xfrm>
              <a:off x="8336830" y="1179274"/>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96" name="Freeform: Shape 95">
              <a:extLst>
                <a:ext uri="{FF2B5EF4-FFF2-40B4-BE49-F238E27FC236}">
                  <a16:creationId xmlns:a16="http://schemas.microsoft.com/office/drawing/2014/main" id="{4C12BA88-D2DD-4181-84FB-890A59F49E2C}"/>
                </a:ext>
              </a:extLst>
            </p:cNvPr>
            <p:cNvSpPr/>
            <p:nvPr/>
          </p:nvSpPr>
          <p:spPr>
            <a:xfrm>
              <a:off x="7523021" y="1348199"/>
              <a:ext cx="53565" cy="53565"/>
            </a:xfrm>
            <a:custGeom>
              <a:avLst/>
              <a:gdLst>
                <a:gd name="connsiteX0" fmla="*/ 53565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5"/>
                    <a:pt x="26783" y="53565"/>
                  </a:cubicBezTo>
                  <a:cubicBezTo>
                    <a:pt x="11991" y="53565"/>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97" name="Freeform: Shape 96">
              <a:extLst>
                <a:ext uri="{FF2B5EF4-FFF2-40B4-BE49-F238E27FC236}">
                  <a16:creationId xmlns:a16="http://schemas.microsoft.com/office/drawing/2014/main" id="{48B36222-EA58-406E-A612-5749036792D7}"/>
                </a:ext>
              </a:extLst>
            </p:cNvPr>
            <p:cNvSpPr/>
            <p:nvPr/>
          </p:nvSpPr>
          <p:spPr>
            <a:xfrm>
              <a:off x="7693290" y="1348199"/>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98" name="Freeform: Shape 97">
              <a:extLst>
                <a:ext uri="{FF2B5EF4-FFF2-40B4-BE49-F238E27FC236}">
                  <a16:creationId xmlns:a16="http://schemas.microsoft.com/office/drawing/2014/main" id="{F4DA4F34-A58F-455E-ABE0-DFDF82EFFF32}"/>
                </a:ext>
              </a:extLst>
            </p:cNvPr>
            <p:cNvSpPr/>
            <p:nvPr/>
          </p:nvSpPr>
          <p:spPr>
            <a:xfrm>
              <a:off x="7863560" y="1348199"/>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99" name="Freeform: Shape 98">
              <a:extLst>
                <a:ext uri="{FF2B5EF4-FFF2-40B4-BE49-F238E27FC236}">
                  <a16:creationId xmlns:a16="http://schemas.microsoft.com/office/drawing/2014/main" id="{5D7C92A9-4549-40D3-B366-5BDA037DA33E}"/>
                </a:ext>
              </a:extLst>
            </p:cNvPr>
            <p:cNvSpPr/>
            <p:nvPr/>
          </p:nvSpPr>
          <p:spPr>
            <a:xfrm>
              <a:off x="8033829" y="1348199"/>
              <a:ext cx="53565" cy="53565"/>
            </a:xfrm>
            <a:custGeom>
              <a:avLst/>
              <a:gdLst>
                <a:gd name="connsiteX0" fmla="*/ 53565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5"/>
                    <a:pt x="26783" y="53565"/>
                  </a:cubicBezTo>
                  <a:cubicBezTo>
                    <a:pt x="11991" y="53565"/>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00" name="Freeform: Shape 99">
              <a:extLst>
                <a:ext uri="{FF2B5EF4-FFF2-40B4-BE49-F238E27FC236}">
                  <a16:creationId xmlns:a16="http://schemas.microsoft.com/office/drawing/2014/main" id="{DE9F72DC-D0D3-4A9A-BEE4-78785A082A36}"/>
                </a:ext>
              </a:extLst>
            </p:cNvPr>
            <p:cNvSpPr/>
            <p:nvPr/>
          </p:nvSpPr>
          <p:spPr>
            <a:xfrm>
              <a:off x="8189471" y="1348199"/>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01" name="Freeform: Shape 100">
              <a:extLst>
                <a:ext uri="{FF2B5EF4-FFF2-40B4-BE49-F238E27FC236}">
                  <a16:creationId xmlns:a16="http://schemas.microsoft.com/office/drawing/2014/main" id="{256B6B37-B884-41FF-A0C3-178F91631C44}"/>
                </a:ext>
              </a:extLst>
            </p:cNvPr>
            <p:cNvSpPr/>
            <p:nvPr/>
          </p:nvSpPr>
          <p:spPr>
            <a:xfrm>
              <a:off x="8336830" y="1348199"/>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02" name="Freeform: Shape 101">
              <a:extLst>
                <a:ext uri="{FF2B5EF4-FFF2-40B4-BE49-F238E27FC236}">
                  <a16:creationId xmlns:a16="http://schemas.microsoft.com/office/drawing/2014/main" id="{A739B253-5D3A-49AD-8D50-2900F6CF6800}"/>
                </a:ext>
              </a:extLst>
            </p:cNvPr>
            <p:cNvSpPr/>
            <p:nvPr/>
          </p:nvSpPr>
          <p:spPr>
            <a:xfrm>
              <a:off x="7523021" y="1517070"/>
              <a:ext cx="53565" cy="53565"/>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6"/>
                    <a:pt x="26783" y="53566"/>
                  </a:cubicBezTo>
                  <a:cubicBezTo>
                    <a:pt x="11991" y="53566"/>
                    <a:pt x="0" y="41575"/>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03" name="Freeform: Shape 102">
              <a:extLst>
                <a:ext uri="{FF2B5EF4-FFF2-40B4-BE49-F238E27FC236}">
                  <a16:creationId xmlns:a16="http://schemas.microsoft.com/office/drawing/2014/main" id="{25839726-99C5-4E23-B271-4BCA02F8DBE3}"/>
                </a:ext>
              </a:extLst>
            </p:cNvPr>
            <p:cNvSpPr/>
            <p:nvPr/>
          </p:nvSpPr>
          <p:spPr>
            <a:xfrm>
              <a:off x="7693290" y="1517070"/>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04" name="Freeform: Shape 103">
              <a:extLst>
                <a:ext uri="{FF2B5EF4-FFF2-40B4-BE49-F238E27FC236}">
                  <a16:creationId xmlns:a16="http://schemas.microsoft.com/office/drawing/2014/main" id="{99EF4B31-DC68-4234-A6B0-64E59FAF34CA}"/>
                </a:ext>
              </a:extLst>
            </p:cNvPr>
            <p:cNvSpPr/>
            <p:nvPr/>
          </p:nvSpPr>
          <p:spPr>
            <a:xfrm>
              <a:off x="7863560" y="1517070"/>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05" name="Freeform: Shape 104">
              <a:extLst>
                <a:ext uri="{FF2B5EF4-FFF2-40B4-BE49-F238E27FC236}">
                  <a16:creationId xmlns:a16="http://schemas.microsoft.com/office/drawing/2014/main" id="{FEC0C46A-6892-4855-869C-058B59E4ED2D}"/>
                </a:ext>
              </a:extLst>
            </p:cNvPr>
            <p:cNvSpPr/>
            <p:nvPr/>
          </p:nvSpPr>
          <p:spPr>
            <a:xfrm>
              <a:off x="8033829" y="1517070"/>
              <a:ext cx="53565" cy="53565"/>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6"/>
                    <a:pt x="26783" y="53566"/>
                  </a:cubicBezTo>
                  <a:cubicBezTo>
                    <a:pt x="11991" y="53566"/>
                    <a:pt x="0" y="41575"/>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06" name="Freeform: Shape 105">
              <a:extLst>
                <a:ext uri="{FF2B5EF4-FFF2-40B4-BE49-F238E27FC236}">
                  <a16:creationId xmlns:a16="http://schemas.microsoft.com/office/drawing/2014/main" id="{E59D78CF-0054-4D78-8760-655C7CC645AC}"/>
                </a:ext>
              </a:extLst>
            </p:cNvPr>
            <p:cNvSpPr/>
            <p:nvPr/>
          </p:nvSpPr>
          <p:spPr>
            <a:xfrm>
              <a:off x="8189471" y="1517070"/>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07" name="Freeform: Shape 106">
              <a:extLst>
                <a:ext uri="{FF2B5EF4-FFF2-40B4-BE49-F238E27FC236}">
                  <a16:creationId xmlns:a16="http://schemas.microsoft.com/office/drawing/2014/main" id="{3EF20672-9C9E-49DA-BA23-31F4B8115D5D}"/>
                </a:ext>
              </a:extLst>
            </p:cNvPr>
            <p:cNvSpPr/>
            <p:nvPr/>
          </p:nvSpPr>
          <p:spPr>
            <a:xfrm>
              <a:off x="8336830" y="1517070"/>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08" name="Freeform: Shape 107">
              <a:extLst>
                <a:ext uri="{FF2B5EF4-FFF2-40B4-BE49-F238E27FC236}">
                  <a16:creationId xmlns:a16="http://schemas.microsoft.com/office/drawing/2014/main" id="{88A1F1D1-5656-488B-AA87-41F5331B10FA}"/>
                </a:ext>
              </a:extLst>
            </p:cNvPr>
            <p:cNvSpPr/>
            <p:nvPr/>
          </p:nvSpPr>
          <p:spPr>
            <a:xfrm>
              <a:off x="7523021" y="1685995"/>
              <a:ext cx="53565" cy="53565"/>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6"/>
                    <a:pt x="26783" y="53566"/>
                  </a:cubicBezTo>
                  <a:cubicBezTo>
                    <a:pt x="11991" y="53566"/>
                    <a:pt x="0" y="41575"/>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09" name="Freeform: Shape 108">
              <a:extLst>
                <a:ext uri="{FF2B5EF4-FFF2-40B4-BE49-F238E27FC236}">
                  <a16:creationId xmlns:a16="http://schemas.microsoft.com/office/drawing/2014/main" id="{42657430-F5E1-4B05-8EC5-7F21C01540B9}"/>
                </a:ext>
              </a:extLst>
            </p:cNvPr>
            <p:cNvSpPr/>
            <p:nvPr/>
          </p:nvSpPr>
          <p:spPr>
            <a:xfrm>
              <a:off x="7693290" y="1685995"/>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10" name="Freeform: Shape 109">
              <a:extLst>
                <a:ext uri="{FF2B5EF4-FFF2-40B4-BE49-F238E27FC236}">
                  <a16:creationId xmlns:a16="http://schemas.microsoft.com/office/drawing/2014/main" id="{169E1941-DA17-4A18-B34D-3EC39C4FA8E7}"/>
                </a:ext>
              </a:extLst>
            </p:cNvPr>
            <p:cNvSpPr/>
            <p:nvPr/>
          </p:nvSpPr>
          <p:spPr>
            <a:xfrm>
              <a:off x="7863560" y="1685995"/>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11" name="Freeform: Shape 110">
              <a:extLst>
                <a:ext uri="{FF2B5EF4-FFF2-40B4-BE49-F238E27FC236}">
                  <a16:creationId xmlns:a16="http://schemas.microsoft.com/office/drawing/2014/main" id="{A2F9E09D-0B59-4F82-A486-CC23B62731AD}"/>
                </a:ext>
              </a:extLst>
            </p:cNvPr>
            <p:cNvSpPr/>
            <p:nvPr/>
          </p:nvSpPr>
          <p:spPr>
            <a:xfrm>
              <a:off x="8033829" y="1685995"/>
              <a:ext cx="53565" cy="53565"/>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6"/>
                    <a:pt x="26783" y="53566"/>
                  </a:cubicBezTo>
                  <a:cubicBezTo>
                    <a:pt x="11991" y="53566"/>
                    <a:pt x="0" y="41575"/>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12" name="Freeform: Shape 111">
              <a:extLst>
                <a:ext uri="{FF2B5EF4-FFF2-40B4-BE49-F238E27FC236}">
                  <a16:creationId xmlns:a16="http://schemas.microsoft.com/office/drawing/2014/main" id="{5A866612-22AD-4DB8-9EBA-C18CC9318182}"/>
                </a:ext>
              </a:extLst>
            </p:cNvPr>
            <p:cNvSpPr/>
            <p:nvPr/>
          </p:nvSpPr>
          <p:spPr>
            <a:xfrm>
              <a:off x="8189471" y="1685995"/>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13" name="Freeform: Shape 112">
              <a:extLst>
                <a:ext uri="{FF2B5EF4-FFF2-40B4-BE49-F238E27FC236}">
                  <a16:creationId xmlns:a16="http://schemas.microsoft.com/office/drawing/2014/main" id="{DEBE4CAA-92DE-4742-B7B9-283E08D836B7}"/>
                </a:ext>
              </a:extLst>
            </p:cNvPr>
            <p:cNvSpPr/>
            <p:nvPr/>
          </p:nvSpPr>
          <p:spPr>
            <a:xfrm>
              <a:off x="8336830" y="1685995"/>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grpSp>
      <p:pic>
        <p:nvPicPr>
          <p:cNvPr id="54" name="Picture 53">
            <a:extLst>
              <a:ext uri="{FF2B5EF4-FFF2-40B4-BE49-F238E27FC236}">
                <a16:creationId xmlns:a16="http://schemas.microsoft.com/office/drawing/2014/main" id="{8C3FB82B-223B-4E63-AB75-38EB8DBEA83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2729" y="1523512"/>
            <a:ext cx="589468" cy="776158"/>
          </a:xfrm>
          <a:custGeom>
            <a:avLst/>
            <a:gdLst>
              <a:gd name="connsiteX0" fmla="*/ 0 w 2876073"/>
              <a:gd name="connsiteY0" fmla="*/ 0 h 3786947"/>
              <a:gd name="connsiteX1" fmla="*/ 2876074 w 2876073"/>
              <a:gd name="connsiteY1" fmla="*/ 0 h 3786947"/>
              <a:gd name="connsiteX2" fmla="*/ 2876074 w 2876073"/>
              <a:gd name="connsiteY2" fmla="*/ 3786947 h 3786947"/>
              <a:gd name="connsiteX3" fmla="*/ 0 w 2876073"/>
              <a:gd name="connsiteY3" fmla="*/ 3786947 h 3786947"/>
            </a:gdLst>
            <a:ahLst/>
            <a:cxnLst>
              <a:cxn ang="0">
                <a:pos x="connsiteX0" y="connsiteY0"/>
              </a:cxn>
              <a:cxn ang="0">
                <a:pos x="connsiteX1" y="connsiteY1"/>
              </a:cxn>
              <a:cxn ang="0">
                <a:pos x="connsiteX2" y="connsiteY2"/>
              </a:cxn>
              <a:cxn ang="0">
                <a:pos x="connsiteX3" y="connsiteY3"/>
              </a:cxn>
            </a:cxnLst>
            <a:rect l="l" t="t" r="r" b="b"/>
            <a:pathLst>
              <a:path w="2876073" h="3786947">
                <a:moveTo>
                  <a:pt x="0" y="0"/>
                </a:moveTo>
                <a:lnTo>
                  <a:pt x="2876074" y="0"/>
                </a:lnTo>
                <a:lnTo>
                  <a:pt x="2876074" y="3786947"/>
                </a:lnTo>
                <a:lnTo>
                  <a:pt x="0" y="3786947"/>
                </a:lnTo>
                <a:close/>
              </a:path>
            </a:pathLst>
          </a:custGeom>
        </p:spPr>
      </p:pic>
      <p:sp>
        <p:nvSpPr>
          <p:cNvPr id="4" name="Title 3">
            <a:extLst>
              <a:ext uri="{FF2B5EF4-FFF2-40B4-BE49-F238E27FC236}">
                <a16:creationId xmlns:a16="http://schemas.microsoft.com/office/drawing/2014/main" id="{E70CB007-04CB-4806-8DFA-76CC5E2FF9C8}"/>
              </a:ext>
            </a:extLst>
          </p:cNvPr>
          <p:cNvSpPr>
            <a:spLocks noGrp="1"/>
          </p:cNvSpPr>
          <p:nvPr>
            <p:ph type="title"/>
          </p:nvPr>
        </p:nvSpPr>
        <p:spPr/>
        <p:txBody>
          <a:bodyPr/>
          <a:lstStyle/>
          <a:p>
            <a:r>
              <a:rPr lang="en-US"/>
              <a:t>You need your business to move at the speed</a:t>
            </a:r>
            <a:br>
              <a:rPr lang="en-US"/>
            </a:br>
            <a:r>
              <a:rPr lang="en-US"/>
              <a:t>of the cloud </a:t>
            </a:r>
          </a:p>
        </p:txBody>
      </p:sp>
      <p:sp>
        <p:nvSpPr>
          <p:cNvPr id="6" name="TextBox 5">
            <a:extLst>
              <a:ext uri="{FF2B5EF4-FFF2-40B4-BE49-F238E27FC236}">
                <a16:creationId xmlns:a16="http://schemas.microsoft.com/office/drawing/2014/main" id="{27D1EA0F-6482-4E24-A735-4D3C7FB1554A}"/>
              </a:ext>
            </a:extLst>
          </p:cNvPr>
          <p:cNvSpPr txBox="1"/>
          <p:nvPr/>
        </p:nvSpPr>
        <p:spPr>
          <a:xfrm>
            <a:off x="579120" y="3091633"/>
            <a:ext cx="1874824" cy="757130"/>
          </a:xfrm>
          <a:prstGeom prst="rect">
            <a:avLst/>
          </a:prstGeom>
          <a:noFill/>
          <a:ln>
            <a:noFill/>
          </a:ln>
        </p:spPr>
        <p:txBody>
          <a:bodyPr wrap="square" rtlCol="0">
            <a:noAutofit/>
          </a:bodyPr>
          <a:lstStyle/>
          <a:p>
            <a:pPr algn="ctr" defTabSz="684213">
              <a:lnSpc>
                <a:spcPct val="90000"/>
              </a:lnSpc>
              <a:defRPr/>
            </a:pPr>
            <a:r>
              <a:rPr lang="en-US" sz="1600">
                <a:solidFill>
                  <a:schemeClr val="bg2"/>
                </a:solidFill>
                <a:latin typeface="CiscoSansTT ExtraLight"/>
              </a:rPr>
              <a:t>Connect users to the internet, wherever they are </a:t>
            </a:r>
          </a:p>
        </p:txBody>
      </p:sp>
      <p:sp>
        <p:nvSpPr>
          <p:cNvPr id="7" name="TextBox 6">
            <a:extLst>
              <a:ext uri="{FF2B5EF4-FFF2-40B4-BE49-F238E27FC236}">
                <a16:creationId xmlns:a16="http://schemas.microsoft.com/office/drawing/2014/main" id="{F1B4688F-681E-494A-B779-87BFD932D54A}"/>
              </a:ext>
            </a:extLst>
          </p:cNvPr>
          <p:cNvSpPr txBox="1"/>
          <p:nvPr/>
        </p:nvSpPr>
        <p:spPr>
          <a:xfrm>
            <a:off x="2522358" y="3091633"/>
            <a:ext cx="2062306" cy="757130"/>
          </a:xfrm>
          <a:prstGeom prst="rect">
            <a:avLst/>
          </a:prstGeom>
          <a:noFill/>
          <a:ln>
            <a:noFill/>
          </a:ln>
        </p:spPr>
        <p:txBody>
          <a:bodyPr wrap="square" rtlCol="0">
            <a:noAutofit/>
          </a:bodyPr>
          <a:lstStyle/>
          <a:p>
            <a:pPr marL="0" marR="0" lvl="0" indent="0" algn="ctr" defTabSz="684213" eaLnBrk="1" latinLnBrk="0" hangingPunct="1">
              <a:lnSpc>
                <a:spcPct val="90000"/>
              </a:lnSpc>
              <a:buClrTx/>
              <a:buSzTx/>
              <a:buFontTx/>
              <a:buNone/>
              <a:tabLst/>
              <a:defRPr/>
            </a:pPr>
            <a:r>
              <a:rPr lang="en-US" sz="1600">
                <a:solidFill>
                  <a:schemeClr val="bg2"/>
                </a:solidFill>
                <a:latin typeface="CiscoSansTT ExtraLight"/>
              </a:rPr>
              <a:t>Empower teams with security that doesn’t add friction </a:t>
            </a:r>
          </a:p>
        </p:txBody>
      </p:sp>
      <p:sp>
        <p:nvSpPr>
          <p:cNvPr id="8" name="TextBox 7">
            <a:extLst>
              <a:ext uri="{FF2B5EF4-FFF2-40B4-BE49-F238E27FC236}">
                <a16:creationId xmlns:a16="http://schemas.microsoft.com/office/drawing/2014/main" id="{36FDDF4B-735C-455E-A232-19D456273E65}"/>
              </a:ext>
            </a:extLst>
          </p:cNvPr>
          <p:cNvSpPr txBox="1"/>
          <p:nvPr/>
        </p:nvSpPr>
        <p:spPr>
          <a:xfrm>
            <a:off x="6690057" y="3091633"/>
            <a:ext cx="1874824" cy="757130"/>
          </a:xfrm>
          <a:prstGeom prst="rect">
            <a:avLst/>
          </a:prstGeom>
          <a:noFill/>
          <a:ln>
            <a:noFill/>
          </a:ln>
        </p:spPr>
        <p:txBody>
          <a:bodyPr wrap="square" rtlCol="0">
            <a:noAutofit/>
          </a:bodyPr>
          <a:lstStyle/>
          <a:p>
            <a:pPr algn="ctr" defTabSz="684213">
              <a:lnSpc>
                <a:spcPct val="90000"/>
              </a:lnSpc>
              <a:defRPr/>
            </a:pPr>
            <a:r>
              <a:rPr lang="en-US" sz="1600">
                <a:solidFill>
                  <a:schemeClr val="bg2"/>
                </a:solidFill>
                <a:latin typeface="CiscoSansTT ExtraLight"/>
              </a:rPr>
              <a:t>Give users the performance they need to succeed</a:t>
            </a:r>
          </a:p>
        </p:txBody>
      </p:sp>
      <p:sp>
        <p:nvSpPr>
          <p:cNvPr id="9" name="TextBox 8">
            <a:extLst>
              <a:ext uri="{FF2B5EF4-FFF2-40B4-BE49-F238E27FC236}">
                <a16:creationId xmlns:a16="http://schemas.microsoft.com/office/drawing/2014/main" id="{00F7EC21-6A87-4F1A-88EC-1AF4DE1E135C}"/>
              </a:ext>
            </a:extLst>
          </p:cNvPr>
          <p:cNvSpPr txBox="1"/>
          <p:nvPr/>
        </p:nvSpPr>
        <p:spPr>
          <a:xfrm>
            <a:off x="4653078" y="3091633"/>
            <a:ext cx="1874824" cy="757130"/>
          </a:xfrm>
          <a:prstGeom prst="rect">
            <a:avLst/>
          </a:prstGeom>
          <a:noFill/>
          <a:ln>
            <a:noFill/>
          </a:ln>
        </p:spPr>
        <p:txBody>
          <a:bodyPr wrap="square" rtlCol="0">
            <a:noAutofit/>
          </a:bodyPr>
          <a:lstStyle/>
          <a:p>
            <a:pPr algn="ctr" defTabSz="684213">
              <a:lnSpc>
                <a:spcPct val="90000"/>
              </a:lnSpc>
              <a:defRPr/>
            </a:pPr>
            <a:r>
              <a:rPr lang="en-US" sz="1600">
                <a:solidFill>
                  <a:schemeClr val="bg2"/>
                </a:solidFill>
                <a:latin typeface="CiscoSansTT ExtraLight"/>
              </a:rPr>
              <a:t>Quickly detect and remediate threats at scale</a:t>
            </a:r>
          </a:p>
        </p:txBody>
      </p:sp>
      <p:sp>
        <p:nvSpPr>
          <p:cNvPr id="11" name="Arc 10">
            <a:extLst>
              <a:ext uri="{FF2B5EF4-FFF2-40B4-BE49-F238E27FC236}">
                <a16:creationId xmlns:a16="http://schemas.microsoft.com/office/drawing/2014/main" id="{F9D74C3F-2B5F-4507-BD3F-E07255773DBC}"/>
              </a:ext>
            </a:extLst>
          </p:cNvPr>
          <p:cNvSpPr/>
          <p:nvPr/>
        </p:nvSpPr>
        <p:spPr>
          <a:xfrm>
            <a:off x="1017098" y="1979885"/>
            <a:ext cx="1005930" cy="1005930"/>
          </a:xfrm>
          <a:prstGeom prst="arc">
            <a:avLst>
              <a:gd name="adj1" fmla="val 16200000"/>
              <a:gd name="adj2" fmla="val 12964021"/>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2" name="Freeform: Shape 61">
            <a:extLst>
              <a:ext uri="{FF2B5EF4-FFF2-40B4-BE49-F238E27FC236}">
                <a16:creationId xmlns:a16="http://schemas.microsoft.com/office/drawing/2014/main" id="{07E2E4EE-25BE-4D9B-A97F-2323D3261832}"/>
              </a:ext>
            </a:extLst>
          </p:cNvPr>
          <p:cNvSpPr/>
          <p:nvPr/>
        </p:nvSpPr>
        <p:spPr>
          <a:xfrm flipH="1">
            <a:off x="1497202" y="1957341"/>
            <a:ext cx="45720" cy="45720"/>
          </a:xfrm>
          <a:custGeom>
            <a:avLst/>
            <a:gdLst>
              <a:gd name="connsiteX0" fmla="*/ 159449 w 152400"/>
              <a:gd name="connsiteY0" fmla="*/ 79724 h 152400"/>
              <a:gd name="connsiteX1" fmla="*/ 79724 w 152400"/>
              <a:gd name="connsiteY1" fmla="*/ 159449 h 152400"/>
              <a:gd name="connsiteX2" fmla="*/ 0 w 152400"/>
              <a:gd name="connsiteY2" fmla="*/ 79724 h 152400"/>
              <a:gd name="connsiteX3" fmla="*/ 79724 w 152400"/>
              <a:gd name="connsiteY3" fmla="*/ 0 h 152400"/>
              <a:gd name="connsiteX4" fmla="*/ 159449 w 152400"/>
              <a:gd name="connsiteY4" fmla="*/ 79724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159449" y="79724"/>
                </a:moveTo>
                <a:cubicBezTo>
                  <a:pt x="159449" y="123755"/>
                  <a:pt x="123755" y="159449"/>
                  <a:pt x="79724" y="159449"/>
                </a:cubicBezTo>
                <a:cubicBezTo>
                  <a:pt x="35694" y="159449"/>
                  <a:pt x="0" y="123755"/>
                  <a:pt x="0" y="79724"/>
                </a:cubicBezTo>
                <a:cubicBezTo>
                  <a:pt x="0" y="35694"/>
                  <a:pt x="35694" y="0"/>
                  <a:pt x="79724" y="0"/>
                </a:cubicBezTo>
                <a:cubicBezTo>
                  <a:pt x="123755" y="0"/>
                  <a:pt x="159449" y="35694"/>
                  <a:pt x="159449" y="79724"/>
                </a:cubicBezTo>
                <a:close/>
              </a:path>
            </a:pathLst>
          </a:custGeom>
          <a:solidFill>
            <a:schemeClr val="accent2"/>
          </a:solidFill>
          <a:ln w="9525" cap="flat">
            <a:noFill/>
            <a:prstDash val="solid"/>
            <a:miter/>
          </a:ln>
        </p:spPr>
        <p:txBody>
          <a:bodyPr rtlCol="0" anchor="ctr"/>
          <a:lstStyle/>
          <a:p>
            <a:endParaRPr lang="en-US"/>
          </a:p>
        </p:txBody>
      </p:sp>
      <p:sp>
        <p:nvSpPr>
          <p:cNvPr id="64" name="Freeform 17">
            <a:extLst>
              <a:ext uri="{FF2B5EF4-FFF2-40B4-BE49-F238E27FC236}">
                <a16:creationId xmlns:a16="http://schemas.microsoft.com/office/drawing/2014/main" id="{D32AB9D8-B69B-4EC8-9B0F-87061F59D2E9}"/>
              </a:ext>
            </a:extLst>
          </p:cNvPr>
          <p:cNvSpPr>
            <a:spLocks noEditPoints="1"/>
          </p:cNvSpPr>
          <p:nvPr/>
        </p:nvSpPr>
        <p:spPr bwMode="auto">
          <a:xfrm rot="2384426">
            <a:off x="1086194" y="2097277"/>
            <a:ext cx="118288" cy="104623"/>
          </a:xfrm>
          <a:custGeom>
            <a:avLst/>
            <a:gdLst>
              <a:gd name="T0" fmla="*/ 134 w 148"/>
              <a:gd name="T1" fmla="*/ 131 h 131"/>
              <a:gd name="T2" fmla="*/ 14 w 148"/>
              <a:gd name="T3" fmla="*/ 131 h 131"/>
              <a:gd name="T4" fmla="*/ 2 w 148"/>
              <a:gd name="T5" fmla="*/ 124 h 131"/>
              <a:gd name="T6" fmla="*/ 2 w 148"/>
              <a:gd name="T7" fmla="*/ 111 h 131"/>
              <a:gd name="T8" fmla="*/ 62 w 148"/>
              <a:gd name="T9" fmla="*/ 6 h 131"/>
              <a:gd name="T10" fmla="*/ 74 w 148"/>
              <a:gd name="T11" fmla="*/ 0 h 131"/>
              <a:gd name="T12" fmla="*/ 86 w 148"/>
              <a:gd name="T13" fmla="*/ 6 h 131"/>
              <a:gd name="T14" fmla="*/ 146 w 148"/>
              <a:gd name="T15" fmla="*/ 111 h 131"/>
              <a:gd name="T16" fmla="*/ 146 w 148"/>
              <a:gd name="T17" fmla="*/ 124 h 131"/>
              <a:gd name="T18" fmla="*/ 134 w 148"/>
              <a:gd name="T19" fmla="*/ 131 h 131"/>
              <a:gd name="T20" fmla="*/ 74 w 148"/>
              <a:gd name="T21" fmla="*/ 4 h 131"/>
              <a:gd name="T22" fmla="*/ 66 w 148"/>
              <a:gd name="T23" fmla="*/ 8 h 131"/>
              <a:gd name="T24" fmla="*/ 5 w 148"/>
              <a:gd name="T25" fmla="*/ 113 h 131"/>
              <a:gd name="T26" fmla="*/ 5 w 148"/>
              <a:gd name="T27" fmla="*/ 122 h 131"/>
              <a:gd name="T28" fmla="*/ 14 w 148"/>
              <a:gd name="T29" fmla="*/ 127 h 131"/>
              <a:gd name="T30" fmla="*/ 134 w 148"/>
              <a:gd name="T31" fmla="*/ 127 h 131"/>
              <a:gd name="T32" fmla="*/ 143 w 148"/>
              <a:gd name="T33" fmla="*/ 122 h 131"/>
              <a:gd name="T34" fmla="*/ 143 w 148"/>
              <a:gd name="T35" fmla="*/ 113 h 131"/>
              <a:gd name="T36" fmla="*/ 82 w 148"/>
              <a:gd name="T37" fmla="*/ 8 h 131"/>
              <a:gd name="T38" fmla="*/ 74 w 148"/>
              <a:gd name="T39" fmla="*/ 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 h="131">
                <a:moveTo>
                  <a:pt x="134" y="131"/>
                </a:moveTo>
                <a:cubicBezTo>
                  <a:pt x="14" y="131"/>
                  <a:pt x="14" y="131"/>
                  <a:pt x="14" y="131"/>
                </a:cubicBezTo>
                <a:cubicBezTo>
                  <a:pt x="9" y="131"/>
                  <a:pt x="4" y="129"/>
                  <a:pt x="2" y="124"/>
                </a:cubicBezTo>
                <a:cubicBezTo>
                  <a:pt x="0" y="120"/>
                  <a:pt x="0" y="115"/>
                  <a:pt x="2" y="111"/>
                </a:cubicBezTo>
                <a:cubicBezTo>
                  <a:pt x="62" y="6"/>
                  <a:pt x="62" y="6"/>
                  <a:pt x="62" y="6"/>
                </a:cubicBezTo>
                <a:cubicBezTo>
                  <a:pt x="65" y="2"/>
                  <a:pt x="69" y="0"/>
                  <a:pt x="74" y="0"/>
                </a:cubicBezTo>
                <a:cubicBezTo>
                  <a:pt x="79" y="0"/>
                  <a:pt x="83" y="2"/>
                  <a:pt x="86" y="6"/>
                </a:cubicBezTo>
                <a:cubicBezTo>
                  <a:pt x="146" y="111"/>
                  <a:pt x="146" y="111"/>
                  <a:pt x="146" y="111"/>
                </a:cubicBezTo>
                <a:cubicBezTo>
                  <a:pt x="148" y="115"/>
                  <a:pt x="148" y="120"/>
                  <a:pt x="146" y="124"/>
                </a:cubicBezTo>
                <a:cubicBezTo>
                  <a:pt x="144" y="129"/>
                  <a:pt x="139" y="131"/>
                  <a:pt x="134" y="131"/>
                </a:cubicBezTo>
                <a:close/>
                <a:moveTo>
                  <a:pt x="74" y="4"/>
                </a:moveTo>
                <a:cubicBezTo>
                  <a:pt x="71" y="4"/>
                  <a:pt x="68" y="5"/>
                  <a:pt x="66" y="8"/>
                </a:cubicBezTo>
                <a:cubicBezTo>
                  <a:pt x="5" y="113"/>
                  <a:pt x="5" y="113"/>
                  <a:pt x="5" y="113"/>
                </a:cubicBezTo>
                <a:cubicBezTo>
                  <a:pt x="4" y="116"/>
                  <a:pt x="4" y="120"/>
                  <a:pt x="5" y="122"/>
                </a:cubicBezTo>
                <a:cubicBezTo>
                  <a:pt x="7" y="125"/>
                  <a:pt x="10" y="127"/>
                  <a:pt x="14" y="127"/>
                </a:cubicBezTo>
                <a:cubicBezTo>
                  <a:pt x="134" y="127"/>
                  <a:pt x="134" y="127"/>
                  <a:pt x="134" y="127"/>
                </a:cubicBezTo>
                <a:cubicBezTo>
                  <a:pt x="138" y="127"/>
                  <a:pt x="141" y="125"/>
                  <a:pt x="143" y="122"/>
                </a:cubicBezTo>
                <a:cubicBezTo>
                  <a:pt x="144" y="120"/>
                  <a:pt x="144" y="116"/>
                  <a:pt x="143" y="113"/>
                </a:cubicBezTo>
                <a:cubicBezTo>
                  <a:pt x="82" y="8"/>
                  <a:pt x="82" y="8"/>
                  <a:pt x="82" y="8"/>
                </a:cubicBezTo>
                <a:cubicBezTo>
                  <a:pt x="80" y="5"/>
                  <a:pt x="77" y="4"/>
                  <a:pt x="74" y="4"/>
                </a:cubicBezTo>
                <a:close/>
              </a:path>
            </a:pathLst>
          </a:custGeom>
          <a:solidFill>
            <a:schemeClr val="accent1"/>
          </a:solidFill>
          <a:ln w="9525">
            <a:solidFill>
              <a:schemeClr val="accent2"/>
            </a:solid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41" name="Group 40">
            <a:extLst>
              <a:ext uri="{FF2B5EF4-FFF2-40B4-BE49-F238E27FC236}">
                <a16:creationId xmlns:a16="http://schemas.microsoft.com/office/drawing/2014/main" id="{F7BF9B12-4298-40CA-90C1-FF7E30DC3370}"/>
              </a:ext>
            </a:extLst>
          </p:cNvPr>
          <p:cNvGrpSpPr/>
          <p:nvPr/>
        </p:nvGrpSpPr>
        <p:grpSpPr>
          <a:xfrm>
            <a:off x="2886652" y="1819766"/>
            <a:ext cx="1227199" cy="1099641"/>
            <a:chOff x="2886652" y="1819766"/>
            <a:chExt cx="1227199" cy="1099641"/>
          </a:xfrm>
        </p:grpSpPr>
        <p:grpSp>
          <p:nvGrpSpPr>
            <p:cNvPr id="122" name="Graphic 37">
              <a:extLst>
                <a:ext uri="{FF2B5EF4-FFF2-40B4-BE49-F238E27FC236}">
                  <a16:creationId xmlns:a16="http://schemas.microsoft.com/office/drawing/2014/main" id="{99A4BA00-8408-48F4-B64D-425762317C1B}"/>
                </a:ext>
              </a:extLst>
            </p:cNvPr>
            <p:cNvGrpSpPr/>
            <p:nvPr/>
          </p:nvGrpSpPr>
          <p:grpSpPr>
            <a:xfrm>
              <a:off x="2886652" y="2045180"/>
              <a:ext cx="474663" cy="491468"/>
              <a:chOff x="7523021" y="841478"/>
              <a:chExt cx="867374" cy="898082"/>
            </a:xfrm>
            <a:solidFill>
              <a:schemeClr val="accent1"/>
            </a:solidFill>
          </p:grpSpPr>
          <p:sp>
            <p:nvSpPr>
              <p:cNvPr id="123" name="Freeform: Shape 122">
                <a:extLst>
                  <a:ext uri="{FF2B5EF4-FFF2-40B4-BE49-F238E27FC236}">
                    <a16:creationId xmlns:a16="http://schemas.microsoft.com/office/drawing/2014/main" id="{C3C4BC43-2DDA-4010-A016-23E36D204FA4}"/>
                  </a:ext>
                </a:extLst>
              </p:cNvPr>
              <p:cNvSpPr/>
              <p:nvPr/>
            </p:nvSpPr>
            <p:spPr>
              <a:xfrm>
                <a:off x="7523021" y="841478"/>
                <a:ext cx="53565" cy="53565"/>
              </a:xfrm>
              <a:custGeom>
                <a:avLst/>
                <a:gdLst>
                  <a:gd name="connsiteX0" fmla="*/ 53565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5"/>
                      <a:pt x="26783" y="53565"/>
                    </a:cubicBezTo>
                    <a:cubicBezTo>
                      <a:pt x="11991" y="53565"/>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24" name="Freeform: Shape 123">
                <a:extLst>
                  <a:ext uri="{FF2B5EF4-FFF2-40B4-BE49-F238E27FC236}">
                    <a16:creationId xmlns:a16="http://schemas.microsoft.com/office/drawing/2014/main" id="{48C25E48-9299-4F2F-9F1E-261B543D646F}"/>
                  </a:ext>
                </a:extLst>
              </p:cNvPr>
              <p:cNvSpPr/>
              <p:nvPr/>
            </p:nvSpPr>
            <p:spPr>
              <a:xfrm>
                <a:off x="7693290" y="841478"/>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25" name="Freeform: Shape 124">
                <a:extLst>
                  <a:ext uri="{FF2B5EF4-FFF2-40B4-BE49-F238E27FC236}">
                    <a16:creationId xmlns:a16="http://schemas.microsoft.com/office/drawing/2014/main" id="{7D960E0F-6121-4DC9-A57C-74C3BA9B59AA}"/>
                  </a:ext>
                </a:extLst>
              </p:cNvPr>
              <p:cNvSpPr/>
              <p:nvPr/>
            </p:nvSpPr>
            <p:spPr>
              <a:xfrm>
                <a:off x="7863560" y="841478"/>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26" name="Freeform: Shape 125">
                <a:extLst>
                  <a:ext uri="{FF2B5EF4-FFF2-40B4-BE49-F238E27FC236}">
                    <a16:creationId xmlns:a16="http://schemas.microsoft.com/office/drawing/2014/main" id="{3841A686-B30B-4020-939B-CF2E62822439}"/>
                  </a:ext>
                </a:extLst>
              </p:cNvPr>
              <p:cNvSpPr/>
              <p:nvPr/>
            </p:nvSpPr>
            <p:spPr>
              <a:xfrm>
                <a:off x="8033829" y="841478"/>
                <a:ext cx="53565" cy="53565"/>
              </a:xfrm>
              <a:custGeom>
                <a:avLst/>
                <a:gdLst>
                  <a:gd name="connsiteX0" fmla="*/ 53565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5"/>
                      <a:pt x="26783" y="53565"/>
                    </a:cubicBezTo>
                    <a:cubicBezTo>
                      <a:pt x="11991" y="53565"/>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27" name="Freeform: Shape 126">
                <a:extLst>
                  <a:ext uri="{FF2B5EF4-FFF2-40B4-BE49-F238E27FC236}">
                    <a16:creationId xmlns:a16="http://schemas.microsoft.com/office/drawing/2014/main" id="{4D61009E-F04E-4140-A041-49B8DD5D6318}"/>
                  </a:ext>
                </a:extLst>
              </p:cNvPr>
              <p:cNvSpPr/>
              <p:nvPr/>
            </p:nvSpPr>
            <p:spPr>
              <a:xfrm>
                <a:off x="8189471" y="841478"/>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28" name="Freeform: Shape 127">
                <a:extLst>
                  <a:ext uri="{FF2B5EF4-FFF2-40B4-BE49-F238E27FC236}">
                    <a16:creationId xmlns:a16="http://schemas.microsoft.com/office/drawing/2014/main" id="{B9F8DE8F-3F86-4112-AE01-431BC5E9BED0}"/>
                  </a:ext>
                </a:extLst>
              </p:cNvPr>
              <p:cNvSpPr/>
              <p:nvPr/>
            </p:nvSpPr>
            <p:spPr>
              <a:xfrm>
                <a:off x="8336830" y="841478"/>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29" name="Freeform: Shape 128">
                <a:extLst>
                  <a:ext uri="{FF2B5EF4-FFF2-40B4-BE49-F238E27FC236}">
                    <a16:creationId xmlns:a16="http://schemas.microsoft.com/office/drawing/2014/main" id="{5675256C-FD52-4A08-82BE-A65D1156D03D}"/>
                  </a:ext>
                </a:extLst>
              </p:cNvPr>
              <p:cNvSpPr/>
              <p:nvPr/>
            </p:nvSpPr>
            <p:spPr>
              <a:xfrm>
                <a:off x="7523021" y="1010403"/>
                <a:ext cx="53565" cy="53565"/>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5"/>
                      <a:pt x="41574" y="53566"/>
                      <a:pt x="26783" y="53566"/>
                    </a:cubicBezTo>
                    <a:cubicBezTo>
                      <a:pt x="11991" y="53566"/>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30" name="Freeform: Shape 129">
                <a:extLst>
                  <a:ext uri="{FF2B5EF4-FFF2-40B4-BE49-F238E27FC236}">
                    <a16:creationId xmlns:a16="http://schemas.microsoft.com/office/drawing/2014/main" id="{9A156CB7-AB4D-4720-8829-B49277726868}"/>
                  </a:ext>
                </a:extLst>
              </p:cNvPr>
              <p:cNvSpPr/>
              <p:nvPr/>
            </p:nvSpPr>
            <p:spPr>
              <a:xfrm>
                <a:off x="7693290" y="1010403"/>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5"/>
                      <a:pt x="41575" y="53566"/>
                      <a:pt x="26783" y="53566"/>
                    </a:cubicBezTo>
                    <a:cubicBezTo>
                      <a:pt x="11991" y="53566"/>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31" name="Freeform: Shape 130">
                <a:extLst>
                  <a:ext uri="{FF2B5EF4-FFF2-40B4-BE49-F238E27FC236}">
                    <a16:creationId xmlns:a16="http://schemas.microsoft.com/office/drawing/2014/main" id="{A8E5E3F8-E049-4182-B708-547D76E2AE30}"/>
                  </a:ext>
                </a:extLst>
              </p:cNvPr>
              <p:cNvSpPr/>
              <p:nvPr/>
            </p:nvSpPr>
            <p:spPr>
              <a:xfrm>
                <a:off x="7863560" y="1010403"/>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5"/>
                      <a:pt x="41575" y="53566"/>
                      <a:pt x="26783" y="53566"/>
                    </a:cubicBezTo>
                    <a:cubicBezTo>
                      <a:pt x="11991" y="53566"/>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32" name="Freeform: Shape 131">
                <a:extLst>
                  <a:ext uri="{FF2B5EF4-FFF2-40B4-BE49-F238E27FC236}">
                    <a16:creationId xmlns:a16="http://schemas.microsoft.com/office/drawing/2014/main" id="{BE025C9D-B423-4B01-B0A8-1B13B6C061E5}"/>
                  </a:ext>
                </a:extLst>
              </p:cNvPr>
              <p:cNvSpPr/>
              <p:nvPr/>
            </p:nvSpPr>
            <p:spPr>
              <a:xfrm>
                <a:off x="8033829" y="1010403"/>
                <a:ext cx="53565" cy="53565"/>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5"/>
                      <a:pt x="41574" y="53566"/>
                      <a:pt x="26783" y="53566"/>
                    </a:cubicBezTo>
                    <a:cubicBezTo>
                      <a:pt x="11991" y="53566"/>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33" name="Freeform: Shape 132">
                <a:extLst>
                  <a:ext uri="{FF2B5EF4-FFF2-40B4-BE49-F238E27FC236}">
                    <a16:creationId xmlns:a16="http://schemas.microsoft.com/office/drawing/2014/main" id="{95E9457A-8BCA-4B28-B587-69644F774408}"/>
                  </a:ext>
                </a:extLst>
              </p:cNvPr>
              <p:cNvSpPr/>
              <p:nvPr/>
            </p:nvSpPr>
            <p:spPr>
              <a:xfrm>
                <a:off x="8189471" y="1010403"/>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5"/>
                      <a:pt x="41575" y="53566"/>
                      <a:pt x="26783" y="53566"/>
                    </a:cubicBezTo>
                    <a:cubicBezTo>
                      <a:pt x="11991" y="53566"/>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34" name="Freeform: Shape 133">
                <a:extLst>
                  <a:ext uri="{FF2B5EF4-FFF2-40B4-BE49-F238E27FC236}">
                    <a16:creationId xmlns:a16="http://schemas.microsoft.com/office/drawing/2014/main" id="{E8B0E54D-0D9F-4E48-A08E-0F935D4F820B}"/>
                  </a:ext>
                </a:extLst>
              </p:cNvPr>
              <p:cNvSpPr/>
              <p:nvPr/>
            </p:nvSpPr>
            <p:spPr>
              <a:xfrm>
                <a:off x="8336830" y="1010403"/>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5"/>
                      <a:pt x="41575" y="53566"/>
                      <a:pt x="26783" y="53566"/>
                    </a:cubicBezTo>
                    <a:cubicBezTo>
                      <a:pt x="11991" y="53566"/>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35" name="Freeform: Shape 134">
                <a:extLst>
                  <a:ext uri="{FF2B5EF4-FFF2-40B4-BE49-F238E27FC236}">
                    <a16:creationId xmlns:a16="http://schemas.microsoft.com/office/drawing/2014/main" id="{3AEE7D75-F72F-48B0-9424-299415DF0495}"/>
                  </a:ext>
                </a:extLst>
              </p:cNvPr>
              <p:cNvSpPr/>
              <p:nvPr/>
            </p:nvSpPr>
            <p:spPr>
              <a:xfrm>
                <a:off x="7523021" y="1179274"/>
                <a:ext cx="53565" cy="53565"/>
              </a:xfrm>
              <a:custGeom>
                <a:avLst/>
                <a:gdLst>
                  <a:gd name="connsiteX0" fmla="*/ 53565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5"/>
                      <a:pt x="26783" y="53565"/>
                    </a:cubicBezTo>
                    <a:cubicBezTo>
                      <a:pt x="11991" y="53565"/>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36" name="Freeform: Shape 135">
                <a:extLst>
                  <a:ext uri="{FF2B5EF4-FFF2-40B4-BE49-F238E27FC236}">
                    <a16:creationId xmlns:a16="http://schemas.microsoft.com/office/drawing/2014/main" id="{974FC80B-680E-45EC-8C54-F0A704BC5151}"/>
                  </a:ext>
                </a:extLst>
              </p:cNvPr>
              <p:cNvSpPr/>
              <p:nvPr/>
            </p:nvSpPr>
            <p:spPr>
              <a:xfrm>
                <a:off x="7693290" y="1179274"/>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37" name="Freeform: Shape 136">
                <a:extLst>
                  <a:ext uri="{FF2B5EF4-FFF2-40B4-BE49-F238E27FC236}">
                    <a16:creationId xmlns:a16="http://schemas.microsoft.com/office/drawing/2014/main" id="{22B1E2C0-4A9C-4623-96D9-1470F4D31AF0}"/>
                  </a:ext>
                </a:extLst>
              </p:cNvPr>
              <p:cNvSpPr/>
              <p:nvPr/>
            </p:nvSpPr>
            <p:spPr>
              <a:xfrm>
                <a:off x="7863560" y="1179274"/>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38" name="Freeform: Shape 137">
                <a:extLst>
                  <a:ext uri="{FF2B5EF4-FFF2-40B4-BE49-F238E27FC236}">
                    <a16:creationId xmlns:a16="http://schemas.microsoft.com/office/drawing/2014/main" id="{5B20F09D-A4D7-49CB-93D0-88FF3FF0A5BE}"/>
                  </a:ext>
                </a:extLst>
              </p:cNvPr>
              <p:cNvSpPr/>
              <p:nvPr/>
            </p:nvSpPr>
            <p:spPr>
              <a:xfrm>
                <a:off x="8033829" y="1179274"/>
                <a:ext cx="53565" cy="53565"/>
              </a:xfrm>
              <a:custGeom>
                <a:avLst/>
                <a:gdLst>
                  <a:gd name="connsiteX0" fmla="*/ 53565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5"/>
                      <a:pt x="26783" y="53565"/>
                    </a:cubicBezTo>
                    <a:cubicBezTo>
                      <a:pt x="11991" y="53565"/>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39" name="Freeform: Shape 138">
                <a:extLst>
                  <a:ext uri="{FF2B5EF4-FFF2-40B4-BE49-F238E27FC236}">
                    <a16:creationId xmlns:a16="http://schemas.microsoft.com/office/drawing/2014/main" id="{BCFE8D0A-743F-4192-8CA9-53FB86C93C70}"/>
                  </a:ext>
                </a:extLst>
              </p:cNvPr>
              <p:cNvSpPr/>
              <p:nvPr/>
            </p:nvSpPr>
            <p:spPr>
              <a:xfrm>
                <a:off x="8189471" y="1179274"/>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40" name="Freeform: Shape 139">
                <a:extLst>
                  <a:ext uri="{FF2B5EF4-FFF2-40B4-BE49-F238E27FC236}">
                    <a16:creationId xmlns:a16="http://schemas.microsoft.com/office/drawing/2014/main" id="{52160D92-4827-4BFC-AD5A-F03E3736131D}"/>
                  </a:ext>
                </a:extLst>
              </p:cNvPr>
              <p:cNvSpPr/>
              <p:nvPr/>
            </p:nvSpPr>
            <p:spPr>
              <a:xfrm>
                <a:off x="8336830" y="1179274"/>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41" name="Freeform: Shape 140">
                <a:extLst>
                  <a:ext uri="{FF2B5EF4-FFF2-40B4-BE49-F238E27FC236}">
                    <a16:creationId xmlns:a16="http://schemas.microsoft.com/office/drawing/2014/main" id="{B6AC755B-4A39-4FEF-83C4-568CDF5AAA76}"/>
                  </a:ext>
                </a:extLst>
              </p:cNvPr>
              <p:cNvSpPr/>
              <p:nvPr/>
            </p:nvSpPr>
            <p:spPr>
              <a:xfrm>
                <a:off x="7523021" y="1348199"/>
                <a:ext cx="53565" cy="53565"/>
              </a:xfrm>
              <a:custGeom>
                <a:avLst/>
                <a:gdLst>
                  <a:gd name="connsiteX0" fmla="*/ 53565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5"/>
                      <a:pt x="26783" y="53565"/>
                    </a:cubicBezTo>
                    <a:cubicBezTo>
                      <a:pt x="11991" y="53565"/>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42" name="Freeform: Shape 141">
                <a:extLst>
                  <a:ext uri="{FF2B5EF4-FFF2-40B4-BE49-F238E27FC236}">
                    <a16:creationId xmlns:a16="http://schemas.microsoft.com/office/drawing/2014/main" id="{9C0C39A3-14DE-4E99-97B1-48A16A879AED}"/>
                  </a:ext>
                </a:extLst>
              </p:cNvPr>
              <p:cNvSpPr/>
              <p:nvPr/>
            </p:nvSpPr>
            <p:spPr>
              <a:xfrm>
                <a:off x="7693290" y="1348199"/>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43" name="Freeform: Shape 142">
                <a:extLst>
                  <a:ext uri="{FF2B5EF4-FFF2-40B4-BE49-F238E27FC236}">
                    <a16:creationId xmlns:a16="http://schemas.microsoft.com/office/drawing/2014/main" id="{0905D5F7-8BB4-4C89-B025-A45090E7CF3E}"/>
                  </a:ext>
                </a:extLst>
              </p:cNvPr>
              <p:cNvSpPr/>
              <p:nvPr/>
            </p:nvSpPr>
            <p:spPr>
              <a:xfrm>
                <a:off x="7863560" y="1348199"/>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44" name="Freeform: Shape 143">
                <a:extLst>
                  <a:ext uri="{FF2B5EF4-FFF2-40B4-BE49-F238E27FC236}">
                    <a16:creationId xmlns:a16="http://schemas.microsoft.com/office/drawing/2014/main" id="{9625633D-713B-445C-91BF-37E92B1E08DA}"/>
                  </a:ext>
                </a:extLst>
              </p:cNvPr>
              <p:cNvSpPr/>
              <p:nvPr/>
            </p:nvSpPr>
            <p:spPr>
              <a:xfrm>
                <a:off x="8033829" y="1348199"/>
                <a:ext cx="53565" cy="53565"/>
              </a:xfrm>
              <a:custGeom>
                <a:avLst/>
                <a:gdLst>
                  <a:gd name="connsiteX0" fmla="*/ 53565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5"/>
                      <a:pt x="26783" y="53565"/>
                    </a:cubicBezTo>
                    <a:cubicBezTo>
                      <a:pt x="11991" y="53565"/>
                      <a:pt x="0" y="41574"/>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45" name="Freeform: Shape 144">
                <a:extLst>
                  <a:ext uri="{FF2B5EF4-FFF2-40B4-BE49-F238E27FC236}">
                    <a16:creationId xmlns:a16="http://schemas.microsoft.com/office/drawing/2014/main" id="{52E4FB31-D7D7-4A59-B022-FC6DEC996BC9}"/>
                  </a:ext>
                </a:extLst>
              </p:cNvPr>
              <p:cNvSpPr/>
              <p:nvPr/>
            </p:nvSpPr>
            <p:spPr>
              <a:xfrm>
                <a:off x="8189471" y="1348199"/>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46" name="Freeform: Shape 145">
                <a:extLst>
                  <a:ext uri="{FF2B5EF4-FFF2-40B4-BE49-F238E27FC236}">
                    <a16:creationId xmlns:a16="http://schemas.microsoft.com/office/drawing/2014/main" id="{10BB1D42-8987-4AAE-AF7E-35176FFE7E40}"/>
                  </a:ext>
                </a:extLst>
              </p:cNvPr>
              <p:cNvSpPr/>
              <p:nvPr/>
            </p:nvSpPr>
            <p:spPr>
              <a:xfrm>
                <a:off x="8336830" y="1348199"/>
                <a:ext cx="53565" cy="53565"/>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47" name="Freeform: Shape 146">
                <a:extLst>
                  <a:ext uri="{FF2B5EF4-FFF2-40B4-BE49-F238E27FC236}">
                    <a16:creationId xmlns:a16="http://schemas.microsoft.com/office/drawing/2014/main" id="{5429DEBF-404B-498A-8124-FFF3454DE5AB}"/>
                  </a:ext>
                </a:extLst>
              </p:cNvPr>
              <p:cNvSpPr/>
              <p:nvPr/>
            </p:nvSpPr>
            <p:spPr>
              <a:xfrm>
                <a:off x="7523021" y="1517070"/>
                <a:ext cx="53565" cy="53565"/>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6"/>
                      <a:pt x="26783" y="53566"/>
                    </a:cubicBezTo>
                    <a:cubicBezTo>
                      <a:pt x="11991" y="53566"/>
                      <a:pt x="0" y="41575"/>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48" name="Freeform: Shape 147">
                <a:extLst>
                  <a:ext uri="{FF2B5EF4-FFF2-40B4-BE49-F238E27FC236}">
                    <a16:creationId xmlns:a16="http://schemas.microsoft.com/office/drawing/2014/main" id="{068D6742-FC24-474C-99BC-652B78ABCD74}"/>
                  </a:ext>
                </a:extLst>
              </p:cNvPr>
              <p:cNvSpPr/>
              <p:nvPr/>
            </p:nvSpPr>
            <p:spPr>
              <a:xfrm>
                <a:off x="7693290" y="1517070"/>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49" name="Freeform: Shape 148">
                <a:extLst>
                  <a:ext uri="{FF2B5EF4-FFF2-40B4-BE49-F238E27FC236}">
                    <a16:creationId xmlns:a16="http://schemas.microsoft.com/office/drawing/2014/main" id="{2C3EEBC6-C7EC-4359-B0F6-205AE1FAB70F}"/>
                  </a:ext>
                </a:extLst>
              </p:cNvPr>
              <p:cNvSpPr/>
              <p:nvPr/>
            </p:nvSpPr>
            <p:spPr>
              <a:xfrm>
                <a:off x="7863560" y="1517070"/>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50" name="Freeform: Shape 149">
                <a:extLst>
                  <a:ext uri="{FF2B5EF4-FFF2-40B4-BE49-F238E27FC236}">
                    <a16:creationId xmlns:a16="http://schemas.microsoft.com/office/drawing/2014/main" id="{3CF53B25-672B-48A0-A1A6-09576EC5B540}"/>
                  </a:ext>
                </a:extLst>
              </p:cNvPr>
              <p:cNvSpPr/>
              <p:nvPr/>
            </p:nvSpPr>
            <p:spPr>
              <a:xfrm>
                <a:off x="8033829" y="1517070"/>
                <a:ext cx="53565" cy="53565"/>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6"/>
                      <a:pt x="26783" y="53566"/>
                    </a:cubicBezTo>
                    <a:cubicBezTo>
                      <a:pt x="11991" y="53566"/>
                      <a:pt x="0" y="41575"/>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51" name="Freeform: Shape 150">
                <a:extLst>
                  <a:ext uri="{FF2B5EF4-FFF2-40B4-BE49-F238E27FC236}">
                    <a16:creationId xmlns:a16="http://schemas.microsoft.com/office/drawing/2014/main" id="{053011AA-3AF9-4A85-88D0-1DFFA4F9F2DC}"/>
                  </a:ext>
                </a:extLst>
              </p:cNvPr>
              <p:cNvSpPr/>
              <p:nvPr/>
            </p:nvSpPr>
            <p:spPr>
              <a:xfrm>
                <a:off x="8189471" y="1517070"/>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52" name="Freeform: Shape 151">
                <a:extLst>
                  <a:ext uri="{FF2B5EF4-FFF2-40B4-BE49-F238E27FC236}">
                    <a16:creationId xmlns:a16="http://schemas.microsoft.com/office/drawing/2014/main" id="{EEDCAB7A-E5D8-4916-93AF-89B4CF700C60}"/>
                  </a:ext>
                </a:extLst>
              </p:cNvPr>
              <p:cNvSpPr/>
              <p:nvPr/>
            </p:nvSpPr>
            <p:spPr>
              <a:xfrm>
                <a:off x="8336830" y="1517070"/>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53" name="Freeform: Shape 152">
                <a:extLst>
                  <a:ext uri="{FF2B5EF4-FFF2-40B4-BE49-F238E27FC236}">
                    <a16:creationId xmlns:a16="http://schemas.microsoft.com/office/drawing/2014/main" id="{4C3A9441-7414-43FB-8E03-4A3D290C54DF}"/>
                  </a:ext>
                </a:extLst>
              </p:cNvPr>
              <p:cNvSpPr/>
              <p:nvPr/>
            </p:nvSpPr>
            <p:spPr>
              <a:xfrm>
                <a:off x="7523021" y="1685995"/>
                <a:ext cx="53565" cy="53565"/>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6"/>
                      <a:pt x="26783" y="53566"/>
                    </a:cubicBezTo>
                    <a:cubicBezTo>
                      <a:pt x="11991" y="53566"/>
                      <a:pt x="0" y="41575"/>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54" name="Freeform: Shape 153">
                <a:extLst>
                  <a:ext uri="{FF2B5EF4-FFF2-40B4-BE49-F238E27FC236}">
                    <a16:creationId xmlns:a16="http://schemas.microsoft.com/office/drawing/2014/main" id="{6EABD692-92DC-463A-AD04-3AE18A16FB9D}"/>
                  </a:ext>
                </a:extLst>
              </p:cNvPr>
              <p:cNvSpPr/>
              <p:nvPr/>
            </p:nvSpPr>
            <p:spPr>
              <a:xfrm>
                <a:off x="7693290" y="1685995"/>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55" name="Freeform: Shape 154">
                <a:extLst>
                  <a:ext uri="{FF2B5EF4-FFF2-40B4-BE49-F238E27FC236}">
                    <a16:creationId xmlns:a16="http://schemas.microsoft.com/office/drawing/2014/main" id="{23CC20E5-1685-4B4E-A481-A5F5FFD90B04}"/>
                  </a:ext>
                </a:extLst>
              </p:cNvPr>
              <p:cNvSpPr/>
              <p:nvPr/>
            </p:nvSpPr>
            <p:spPr>
              <a:xfrm>
                <a:off x="7863560" y="1685995"/>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56" name="Freeform: Shape 155">
                <a:extLst>
                  <a:ext uri="{FF2B5EF4-FFF2-40B4-BE49-F238E27FC236}">
                    <a16:creationId xmlns:a16="http://schemas.microsoft.com/office/drawing/2014/main" id="{44CB02C6-52F3-4392-8D2E-97E3080ADC74}"/>
                  </a:ext>
                </a:extLst>
              </p:cNvPr>
              <p:cNvSpPr/>
              <p:nvPr/>
            </p:nvSpPr>
            <p:spPr>
              <a:xfrm>
                <a:off x="8033829" y="1685995"/>
                <a:ext cx="53565" cy="53565"/>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6"/>
                      <a:pt x="26783" y="53566"/>
                    </a:cubicBezTo>
                    <a:cubicBezTo>
                      <a:pt x="11991" y="53566"/>
                      <a:pt x="0" y="41575"/>
                      <a:pt x="0" y="26783"/>
                    </a:cubicBezTo>
                    <a:cubicBezTo>
                      <a:pt x="0" y="11991"/>
                      <a:pt x="11991" y="0"/>
                      <a:pt x="26783" y="0"/>
                    </a:cubicBezTo>
                    <a:cubicBezTo>
                      <a:pt x="41574" y="0"/>
                      <a:pt x="53565" y="11991"/>
                      <a:pt x="53565" y="26783"/>
                    </a:cubicBezTo>
                    <a:close/>
                  </a:path>
                </a:pathLst>
              </a:custGeom>
              <a:grpFill/>
              <a:ln w="5377" cap="flat">
                <a:noFill/>
                <a:prstDash val="solid"/>
                <a:miter/>
              </a:ln>
            </p:spPr>
            <p:txBody>
              <a:bodyPr rtlCol="0" anchor="ctr"/>
              <a:lstStyle/>
              <a:p>
                <a:endParaRPr lang="en-IN"/>
              </a:p>
            </p:txBody>
          </p:sp>
          <p:sp>
            <p:nvSpPr>
              <p:cNvPr id="157" name="Freeform: Shape 156">
                <a:extLst>
                  <a:ext uri="{FF2B5EF4-FFF2-40B4-BE49-F238E27FC236}">
                    <a16:creationId xmlns:a16="http://schemas.microsoft.com/office/drawing/2014/main" id="{6462870F-88A2-46EF-B6A2-000CC0F2782E}"/>
                  </a:ext>
                </a:extLst>
              </p:cNvPr>
              <p:cNvSpPr/>
              <p:nvPr/>
            </p:nvSpPr>
            <p:spPr>
              <a:xfrm>
                <a:off x="8189471" y="1685995"/>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sp>
            <p:nvSpPr>
              <p:cNvPr id="158" name="Freeform: Shape 157">
                <a:extLst>
                  <a:ext uri="{FF2B5EF4-FFF2-40B4-BE49-F238E27FC236}">
                    <a16:creationId xmlns:a16="http://schemas.microsoft.com/office/drawing/2014/main" id="{005EA0EE-DEBF-47C4-AC41-8D18BDCA16A3}"/>
                  </a:ext>
                </a:extLst>
              </p:cNvPr>
              <p:cNvSpPr/>
              <p:nvPr/>
            </p:nvSpPr>
            <p:spPr>
              <a:xfrm>
                <a:off x="8336830" y="1685995"/>
                <a:ext cx="53565" cy="53565"/>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grpFill/>
              <a:ln w="5377" cap="flat">
                <a:noFill/>
                <a:prstDash val="solid"/>
                <a:miter/>
              </a:ln>
            </p:spPr>
            <p:txBody>
              <a:bodyPr rtlCol="0" anchor="ctr"/>
              <a:lstStyle/>
              <a:p>
                <a:endParaRPr lang="en-IN"/>
              </a:p>
            </p:txBody>
          </p:sp>
        </p:grpSp>
        <p:sp>
          <p:nvSpPr>
            <p:cNvPr id="52" name="Rectangle: Rounded Corners 51">
              <a:extLst>
                <a:ext uri="{FF2B5EF4-FFF2-40B4-BE49-F238E27FC236}">
                  <a16:creationId xmlns:a16="http://schemas.microsoft.com/office/drawing/2014/main" id="{E98C0396-7F92-41A6-9EE9-84B81DBB8292}"/>
                </a:ext>
              </a:extLst>
            </p:cNvPr>
            <p:cNvSpPr/>
            <p:nvPr/>
          </p:nvSpPr>
          <p:spPr>
            <a:xfrm>
              <a:off x="3466769" y="2108286"/>
              <a:ext cx="647082" cy="605660"/>
            </a:xfrm>
            <a:prstGeom prst="roundRect">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64D946F0-4AE3-4696-AC97-BE1B3F546E01}"/>
                </a:ext>
              </a:extLst>
            </p:cNvPr>
            <p:cNvSpPr/>
            <p:nvPr/>
          </p:nvSpPr>
          <p:spPr>
            <a:xfrm>
              <a:off x="3063532" y="2377900"/>
              <a:ext cx="431287" cy="431287"/>
            </a:xfrm>
            <a:prstGeom prst="ellipse">
              <a:avLst/>
            </a:prstGeom>
            <a:solidFill>
              <a:schemeClr val="bg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8" name="Group 337">
              <a:extLst>
                <a:ext uri="{FF2B5EF4-FFF2-40B4-BE49-F238E27FC236}">
                  <a16:creationId xmlns:a16="http://schemas.microsoft.com/office/drawing/2014/main" id="{B3D9F1D5-EA98-4A57-8121-F3226F3F0EAE}"/>
                </a:ext>
              </a:extLst>
            </p:cNvPr>
            <p:cNvGrpSpPr/>
            <p:nvPr/>
          </p:nvGrpSpPr>
          <p:grpSpPr>
            <a:xfrm>
              <a:off x="3150492" y="2562036"/>
              <a:ext cx="843526" cy="79718"/>
              <a:chOff x="3175631" y="2562036"/>
              <a:chExt cx="724824" cy="79718"/>
            </a:xfrm>
          </p:grpSpPr>
          <p:cxnSp>
            <p:nvCxnSpPr>
              <p:cNvPr id="61" name="Straight Connector 60">
                <a:extLst>
                  <a:ext uri="{FF2B5EF4-FFF2-40B4-BE49-F238E27FC236}">
                    <a16:creationId xmlns:a16="http://schemas.microsoft.com/office/drawing/2014/main" id="{8B5F6646-1AA9-4200-B501-1918E3B91EDB}"/>
                  </a:ext>
                </a:extLst>
              </p:cNvPr>
              <p:cNvCxnSpPr>
                <a:cxnSpLocks/>
              </p:cNvCxnSpPr>
              <p:nvPr/>
            </p:nvCxnSpPr>
            <p:spPr>
              <a:xfrm flipH="1" flipV="1">
                <a:off x="3175631" y="2562036"/>
                <a:ext cx="724824" cy="5512"/>
              </a:xfrm>
              <a:prstGeom prst="line">
                <a:avLst/>
              </a:prstGeom>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DC967B88-C3B0-457F-842F-CF580A6E4D25}"/>
                  </a:ext>
                </a:extLst>
              </p:cNvPr>
              <p:cNvCxnSpPr>
                <a:cxnSpLocks/>
              </p:cNvCxnSpPr>
              <p:nvPr/>
            </p:nvCxnSpPr>
            <p:spPr>
              <a:xfrm flipH="1" flipV="1">
                <a:off x="3175631" y="2599139"/>
                <a:ext cx="724824" cy="5512"/>
              </a:xfrm>
              <a:prstGeom prst="line">
                <a:avLst/>
              </a:prstGeom>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F5120A6E-250D-4C03-BB67-6AA56B1A6D53}"/>
                  </a:ext>
                </a:extLst>
              </p:cNvPr>
              <p:cNvCxnSpPr>
                <a:cxnSpLocks/>
              </p:cNvCxnSpPr>
              <p:nvPr/>
            </p:nvCxnSpPr>
            <p:spPr>
              <a:xfrm flipH="1" flipV="1">
                <a:off x="3175631" y="2636242"/>
                <a:ext cx="724824" cy="5512"/>
              </a:xfrm>
              <a:prstGeom prst="line">
                <a:avLst/>
              </a:prstGeom>
            </p:spPr>
            <p:style>
              <a:lnRef idx="1">
                <a:schemeClr val="accent1"/>
              </a:lnRef>
              <a:fillRef idx="0">
                <a:schemeClr val="accent1"/>
              </a:fillRef>
              <a:effectRef idx="0">
                <a:schemeClr val="accent1"/>
              </a:effectRef>
              <a:fontRef idx="minor">
                <a:schemeClr val="tx1"/>
              </a:fontRef>
            </p:style>
          </p:cxnSp>
        </p:grpSp>
        <p:sp>
          <p:nvSpPr>
            <p:cNvPr id="115" name="Freeform: Shape 114">
              <a:extLst>
                <a:ext uri="{FF2B5EF4-FFF2-40B4-BE49-F238E27FC236}">
                  <a16:creationId xmlns:a16="http://schemas.microsoft.com/office/drawing/2014/main" id="{5CE1E0A5-2D55-47F4-9111-E3C5994ED553}"/>
                </a:ext>
              </a:extLst>
            </p:cNvPr>
            <p:cNvSpPr/>
            <p:nvPr/>
          </p:nvSpPr>
          <p:spPr>
            <a:xfrm>
              <a:off x="3039183" y="1819766"/>
              <a:ext cx="892923" cy="1099641"/>
            </a:xfrm>
            <a:custGeom>
              <a:avLst/>
              <a:gdLst>
                <a:gd name="connsiteX0" fmla="*/ 902260 w 1804520"/>
                <a:gd name="connsiteY0" fmla="*/ 2222279 h 2222278"/>
                <a:gd name="connsiteX1" fmla="*/ 871233 w 1804520"/>
                <a:gd name="connsiteY1" fmla="*/ 2209773 h 2222278"/>
                <a:gd name="connsiteX2" fmla="*/ 5732 w 1804520"/>
                <a:gd name="connsiteY2" fmla="*/ 1378236 h 2222278"/>
                <a:gd name="connsiteX3" fmla="*/ 0 w 1804520"/>
                <a:gd name="connsiteY3" fmla="*/ 1363599 h 2222278"/>
                <a:gd name="connsiteX4" fmla="*/ 1184 w 1804520"/>
                <a:gd name="connsiteY4" fmla="*/ 273089 h 2222278"/>
                <a:gd name="connsiteX5" fmla="*/ 73329 w 1804520"/>
                <a:gd name="connsiteY5" fmla="*/ 263710 h 2222278"/>
                <a:gd name="connsiteX6" fmla="*/ 862896 w 1804520"/>
                <a:gd name="connsiteY6" fmla="*/ 21269 h 2222278"/>
                <a:gd name="connsiteX7" fmla="*/ 902260 w 1804520"/>
                <a:gd name="connsiteY7" fmla="*/ 0 h 2222278"/>
                <a:gd name="connsiteX8" fmla="*/ 941625 w 1804520"/>
                <a:gd name="connsiteY8" fmla="*/ 21222 h 2222278"/>
                <a:gd name="connsiteX9" fmla="*/ 1731192 w 1804520"/>
                <a:gd name="connsiteY9" fmla="*/ 263663 h 2222278"/>
                <a:gd name="connsiteX10" fmla="*/ 1803336 w 1804520"/>
                <a:gd name="connsiteY10" fmla="*/ 273042 h 2222278"/>
                <a:gd name="connsiteX11" fmla="*/ 1804521 w 1804520"/>
                <a:gd name="connsiteY11" fmla="*/ 1363552 h 2222278"/>
                <a:gd name="connsiteX12" fmla="*/ 1798789 w 1804520"/>
                <a:gd name="connsiteY12" fmla="*/ 1378189 h 2222278"/>
                <a:gd name="connsiteX13" fmla="*/ 933288 w 1804520"/>
                <a:gd name="connsiteY13" fmla="*/ 2209726 h 2222278"/>
                <a:gd name="connsiteX14" fmla="*/ 902260 w 1804520"/>
                <a:gd name="connsiteY14" fmla="*/ 2222279 h 2222278"/>
                <a:gd name="connsiteX15" fmla="*/ 165843 w 1804520"/>
                <a:gd name="connsiteY15" fmla="*/ 1332098 h 2222278"/>
                <a:gd name="connsiteX16" fmla="*/ 902260 w 1804520"/>
                <a:gd name="connsiteY16" fmla="*/ 2043125 h 2222278"/>
                <a:gd name="connsiteX17" fmla="*/ 1638677 w 1804520"/>
                <a:gd name="connsiteY17" fmla="*/ 1332098 h 2222278"/>
                <a:gd name="connsiteX18" fmla="*/ 1637683 w 1804520"/>
                <a:gd name="connsiteY18" fmla="*/ 417853 h 2222278"/>
                <a:gd name="connsiteX19" fmla="*/ 902260 w 1804520"/>
                <a:gd name="connsiteY19" fmla="*/ 187870 h 2222278"/>
                <a:gd name="connsiteX20" fmla="*/ 166838 w 1804520"/>
                <a:gd name="connsiteY20" fmla="*/ 417853 h 2222278"/>
                <a:gd name="connsiteX21" fmla="*/ 165843 w 1804520"/>
                <a:gd name="connsiteY21" fmla="*/ 1332098 h 222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04520" h="2222278">
                  <a:moveTo>
                    <a:pt x="902260" y="2222279"/>
                  </a:moveTo>
                  <a:lnTo>
                    <a:pt x="871233" y="2209773"/>
                  </a:lnTo>
                  <a:cubicBezTo>
                    <a:pt x="445801" y="2038056"/>
                    <a:pt x="154616" y="1758288"/>
                    <a:pt x="5732" y="1378236"/>
                  </a:cubicBezTo>
                  <a:lnTo>
                    <a:pt x="0" y="1363599"/>
                  </a:lnTo>
                  <a:lnTo>
                    <a:pt x="1184" y="273089"/>
                  </a:lnTo>
                  <a:lnTo>
                    <a:pt x="73329" y="263710"/>
                  </a:lnTo>
                  <a:cubicBezTo>
                    <a:pt x="370814" y="225009"/>
                    <a:pt x="636466" y="143437"/>
                    <a:pt x="862896" y="21269"/>
                  </a:cubicBezTo>
                  <a:lnTo>
                    <a:pt x="902260" y="0"/>
                  </a:lnTo>
                  <a:lnTo>
                    <a:pt x="941625" y="21222"/>
                  </a:lnTo>
                  <a:cubicBezTo>
                    <a:pt x="1168055" y="143390"/>
                    <a:pt x="1433706" y="224961"/>
                    <a:pt x="1731192" y="263663"/>
                  </a:cubicBezTo>
                  <a:lnTo>
                    <a:pt x="1803336" y="273042"/>
                  </a:lnTo>
                  <a:lnTo>
                    <a:pt x="1804521" y="1363552"/>
                  </a:lnTo>
                  <a:lnTo>
                    <a:pt x="1798789" y="1378189"/>
                  </a:lnTo>
                  <a:cubicBezTo>
                    <a:pt x="1649904" y="1758240"/>
                    <a:pt x="1358720" y="2038009"/>
                    <a:pt x="933288" y="2209726"/>
                  </a:cubicBezTo>
                  <a:lnTo>
                    <a:pt x="902260" y="2222279"/>
                  </a:lnTo>
                  <a:close/>
                  <a:moveTo>
                    <a:pt x="165843" y="1332098"/>
                  </a:moveTo>
                  <a:cubicBezTo>
                    <a:pt x="295448" y="1651610"/>
                    <a:pt x="543052" y="1890640"/>
                    <a:pt x="902260" y="2043125"/>
                  </a:cubicBezTo>
                  <a:cubicBezTo>
                    <a:pt x="1261469" y="1890640"/>
                    <a:pt x="1509073" y="1651610"/>
                    <a:pt x="1638677" y="1332098"/>
                  </a:cubicBezTo>
                  <a:lnTo>
                    <a:pt x="1637683" y="417853"/>
                  </a:lnTo>
                  <a:cubicBezTo>
                    <a:pt x="1365541" y="375741"/>
                    <a:pt x="1118695" y="298527"/>
                    <a:pt x="902260" y="187870"/>
                  </a:cubicBezTo>
                  <a:cubicBezTo>
                    <a:pt x="685826" y="298574"/>
                    <a:pt x="438980" y="375741"/>
                    <a:pt x="166838" y="417853"/>
                  </a:cubicBezTo>
                  <a:lnTo>
                    <a:pt x="165843" y="1332098"/>
                  </a:lnTo>
                  <a:close/>
                </a:path>
              </a:pathLst>
            </a:custGeom>
            <a:solidFill>
              <a:schemeClr val="bg2">
                <a:alpha val="70000"/>
              </a:schemeClr>
            </a:solidFill>
            <a:ln w="4735" cap="flat">
              <a:noFill/>
              <a:prstDash val="solid"/>
              <a:miter/>
            </a:ln>
          </p:spPr>
          <p:txBody>
            <a:bodyPr rtlCol="0" anchor="ctr"/>
            <a:lstStyle/>
            <a:p>
              <a:endParaRPr lang="en-US"/>
            </a:p>
          </p:txBody>
        </p:sp>
        <p:pic>
          <p:nvPicPr>
            <p:cNvPr id="114" name="Picture 113">
              <a:extLst>
                <a:ext uri="{FF2B5EF4-FFF2-40B4-BE49-F238E27FC236}">
                  <a16:creationId xmlns:a16="http://schemas.microsoft.com/office/drawing/2014/main" id="{ECF2B784-089D-45F2-B365-02D6537300CA}"/>
                </a:ext>
              </a:extLst>
            </p:cNvPr>
            <p:cNvPicPr>
              <a:picLocks noChangeAspect="1"/>
            </p:cNvPicPr>
            <p:nvPr/>
          </p:nvPicPr>
          <p:blipFill rotWithShape="1">
            <a:blip r:embed="rId4" cstate="screen">
              <a:alphaModFix/>
              <a:extLst>
                <a:ext uri="{28A0092B-C50C-407E-A947-70E740481C1C}">
                  <a14:useLocalDpi xmlns:a14="http://schemas.microsoft.com/office/drawing/2010/main"/>
                </a:ext>
              </a:extLst>
            </a:blip>
            <a:srcRect/>
            <a:stretch/>
          </p:blipFill>
          <p:spPr>
            <a:xfrm>
              <a:off x="3078056" y="1887817"/>
              <a:ext cx="816696" cy="672588"/>
            </a:xfrm>
            <a:custGeom>
              <a:avLst/>
              <a:gdLst>
                <a:gd name="connsiteX0" fmla="*/ 0 w 3019411"/>
                <a:gd name="connsiteY0" fmla="*/ 0 h 2600086"/>
                <a:gd name="connsiteX1" fmla="*/ 3019412 w 3019411"/>
                <a:gd name="connsiteY1" fmla="*/ 0 h 2600086"/>
                <a:gd name="connsiteX2" fmla="*/ 3019412 w 3019411"/>
                <a:gd name="connsiteY2" fmla="*/ 2600087 h 2600086"/>
                <a:gd name="connsiteX3" fmla="*/ 0 w 3019411"/>
                <a:gd name="connsiteY3" fmla="*/ 2600087 h 2600086"/>
              </a:gdLst>
              <a:ahLst/>
              <a:cxnLst>
                <a:cxn ang="0">
                  <a:pos x="connsiteX0" y="connsiteY0"/>
                </a:cxn>
                <a:cxn ang="0">
                  <a:pos x="connsiteX1" y="connsiteY1"/>
                </a:cxn>
                <a:cxn ang="0">
                  <a:pos x="connsiteX2" y="connsiteY2"/>
                </a:cxn>
                <a:cxn ang="0">
                  <a:pos x="connsiteX3" y="connsiteY3"/>
                </a:cxn>
              </a:cxnLst>
              <a:rect l="l" t="t" r="r" b="b"/>
              <a:pathLst>
                <a:path w="3019411" h="2600086">
                  <a:moveTo>
                    <a:pt x="0" y="0"/>
                  </a:moveTo>
                  <a:lnTo>
                    <a:pt x="3019412" y="0"/>
                  </a:lnTo>
                  <a:lnTo>
                    <a:pt x="3019412" y="2600087"/>
                  </a:lnTo>
                  <a:lnTo>
                    <a:pt x="0" y="2600087"/>
                  </a:lnTo>
                  <a:close/>
                </a:path>
              </a:pathLst>
            </a:custGeom>
          </p:spPr>
        </p:pic>
      </p:grpSp>
      <p:sp>
        <p:nvSpPr>
          <p:cNvPr id="35" name="Freeform: Shape 341">
            <a:extLst>
              <a:ext uri="{FF2B5EF4-FFF2-40B4-BE49-F238E27FC236}">
                <a16:creationId xmlns:a16="http://schemas.microsoft.com/office/drawing/2014/main" id="{23182E66-D8AC-49D1-BCDE-A0ED898AA646}"/>
              </a:ext>
            </a:extLst>
          </p:cNvPr>
          <p:cNvSpPr/>
          <p:nvPr/>
        </p:nvSpPr>
        <p:spPr>
          <a:xfrm>
            <a:off x="5072023" y="1940952"/>
            <a:ext cx="756998" cy="756996"/>
          </a:xfrm>
          <a:custGeom>
            <a:avLst/>
            <a:gdLst>
              <a:gd name="connsiteX0" fmla="*/ 1842817 w 1842816"/>
              <a:gd name="connsiteY0" fmla="*/ 921409 h 1842816"/>
              <a:gd name="connsiteX1" fmla="*/ 921408 w 1842816"/>
              <a:gd name="connsiteY1" fmla="*/ 1842817 h 1842816"/>
              <a:gd name="connsiteX2" fmla="*/ 0 w 1842816"/>
              <a:gd name="connsiteY2" fmla="*/ 921409 h 1842816"/>
              <a:gd name="connsiteX3" fmla="*/ 921408 w 1842816"/>
              <a:gd name="connsiteY3" fmla="*/ 0 h 1842816"/>
              <a:gd name="connsiteX4" fmla="*/ 1842817 w 1842816"/>
              <a:gd name="connsiteY4" fmla="*/ 921409 h 1842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816" h="1842816">
                <a:moveTo>
                  <a:pt x="1842817" y="921409"/>
                </a:moveTo>
                <a:cubicBezTo>
                  <a:pt x="1842817" y="1430288"/>
                  <a:pt x="1430288" y="1842817"/>
                  <a:pt x="921408" y="1842817"/>
                </a:cubicBezTo>
                <a:cubicBezTo>
                  <a:pt x="412529" y="1842817"/>
                  <a:pt x="0" y="1430288"/>
                  <a:pt x="0" y="921409"/>
                </a:cubicBezTo>
                <a:cubicBezTo>
                  <a:pt x="0" y="412529"/>
                  <a:pt x="412529" y="0"/>
                  <a:pt x="921408" y="0"/>
                </a:cubicBezTo>
                <a:cubicBezTo>
                  <a:pt x="1430288" y="0"/>
                  <a:pt x="1842817" y="412529"/>
                  <a:pt x="1842817" y="921409"/>
                </a:cubicBezTo>
                <a:close/>
              </a:path>
            </a:pathLst>
          </a:custGeom>
          <a:solidFill>
            <a:schemeClr val="accent2">
              <a:alpha val="60000"/>
            </a:schemeClr>
          </a:solidFill>
          <a:ln w="4747" cap="flat">
            <a:noFill/>
            <a:prstDash val="solid"/>
            <a:miter/>
          </a:ln>
        </p:spPr>
        <p:txBody>
          <a:bodyPr rtlCol="0" anchor="ctr"/>
          <a:lstStyle/>
          <a:p>
            <a:endParaRPr lang="en-US"/>
          </a:p>
        </p:txBody>
      </p:sp>
      <p:sp>
        <p:nvSpPr>
          <p:cNvPr id="37" name="Freeform: Shape 343">
            <a:extLst>
              <a:ext uri="{FF2B5EF4-FFF2-40B4-BE49-F238E27FC236}">
                <a16:creationId xmlns:a16="http://schemas.microsoft.com/office/drawing/2014/main" id="{8A8CC3CB-F031-4472-A7D7-78BA1DFF0211}"/>
              </a:ext>
            </a:extLst>
          </p:cNvPr>
          <p:cNvSpPr/>
          <p:nvPr/>
        </p:nvSpPr>
        <p:spPr>
          <a:xfrm>
            <a:off x="6076825" y="2558500"/>
            <a:ext cx="129582" cy="154204"/>
          </a:xfrm>
          <a:custGeom>
            <a:avLst/>
            <a:gdLst>
              <a:gd name="connsiteX0" fmla="*/ 24945 w 315451"/>
              <a:gd name="connsiteY0" fmla="*/ 375391 h 375391"/>
              <a:gd name="connsiteX1" fmla="*/ 13067 w 315451"/>
              <a:gd name="connsiteY1" fmla="*/ 371780 h 375391"/>
              <a:gd name="connsiteX2" fmla="*/ 0 w 315451"/>
              <a:gd name="connsiteY2" fmla="*/ 348783 h 375391"/>
              <a:gd name="connsiteX3" fmla="*/ 0 w 315451"/>
              <a:gd name="connsiteY3" fmla="*/ 26632 h 375391"/>
              <a:gd name="connsiteX4" fmla="*/ 13067 w 315451"/>
              <a:gd name="connsiteY4" fmla="*/ 3635 h 375391"/>
              <a:gd name="connsiteX5" fmla="*/ 37964 w 315451"/>
              <a:gd name="connsiteY5" fmla="*/ 3635 h 375391"/>
              <a:gd name="connsiteX6" fmla="*/ 303573 w 315451"/>
              <a:gd name="connsiteY6" fmla="*/ 165898 h 375391"/>
              <a:gd name="connsiteX7" fmla="*/ 315451 w 315451"/>
              <a:gd name="connsiteY7" fmla="*/ 187708 h 375391"/>
              <a:gd name="connsiteX8" fmla="*/ 303573 w 315451"/>
              <a:gd name="connsiteY8" fmla="*/ 209517 h 375391"/>
              <a:gd name="connsiteX9" fmla="*/ 37964 w 315451"/>
              <a:gd name="connsiteY9" fmla="*/ 371780 h 375391"/>
              <a:gd name="connsiteX10" fmla="*/ 24945 w 315451"/>
              <a:gd name="connsiteY10" fmla="*/ 375391 h 375391"/>
              <a:gd name="connsiteX11" fmla="*/ 24945 w 315451"/>
              <a:gd name="connsiteY11" fmla="*/ 375391 h 375391"/>
              <a:gd name="connsiteX12" fmla="*/ 24945 w 315451"/>
              <a:gd name="connsiteY12" fmla="*/ 14516 h 375391"/>
              <a:gd name="connsiteX13" fmla="*/ 20194 w 315451"/>
              <a:gd name="connsiteY13" fmla="*/ 15704 h 375391"/>
              <a:gd name="connsiteX14" fmla="*/ 14254 w 315451"/>
              <a:gd name="connsiteY14" fmla="*/ 26585 h 375391"/>
              <a:gd name="connsiteX15" fmla="*/ 14254 w 315451"/>
              <a:gd name="connsiteY15" fmla="*/ 348736 h 375391"/>
              <a:gd name="connsiteX16" fmla="*/ 20194 w 315451"/>
              <a:gd name="connsiteY16" fmla="*/ 359616 h 375391"/>
              <a:gd name="connsiteX17" fmla="*/ 30885 w 315451"/>
              <a:gd name="connsiteY17" fmla="*/ 358428 h 375391"/>
              <a:gd name="connsiteX18" fmla="*/ 296493 w 315451"/>
              <a:gd name="connsiteY18" fmla="*/ 197353 h 375391"/>
              <a:gd name="connsiteX19" fmla="*/ 301244 w 315451"/>
              <a:gd name="connsiteY19" fmla="*/ 187660 h 375391"/>
              <a:gd name="connsiteX20" fmla="*/ 296493 w 315451"/>
              <a:gd name="connsiteY20" fmla="*/ 177967 h 375391"/>
              <a:gd name="connsiteX21" fmla="*/ 296493 w 315451"/>
              <a:gd name="connsiteY21" fmla="*/ 177967 h 375391"/>
              <a:gd name="connsiteX22" fmla="*/ 30885 w 315451"/>
              <a:gd name="connsiteY22" fmla="*/ 16892 h 375391"/>
              <a:gd name="connsiteX23" fmla="*/ 24945 w 315451"/>
              <a:gd name="connsiteY23" fmla="*/ 14516 h 375391"/>
              <a:gd name="connsiteX24" fmla="*/ 24945 w 315451"/>
              <a:gd name="connsiteY24" fmla="*/ 14516 h 37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5451" h="375391">
                <a:moveTo>
                  <a:pt x="24945" y="375391"/>
                </a:moveTo>
                <a:cubicBezTo>
                  <a:pt x="21382" y="375391"/>
                  <a:pt x="16630" y="374203"/>
                  <a:pt x="13067" y="371780"/>
                </a:cubicBezTo>
                <a:cubicBezTo>
                  <a:pt x="4751" y="366934"/>
                  <a:pt x="0" y="358476"/>
                  <a:pt x="0" y="348783"/>
                </a:cubicBezTo>
                <a:cubicBezTo>
                  <a:pt x="0" y="26632"/>
                  <a:pt x="0" y="26632"/>
                  <a:pt x="0" y="26632"/>
                </a:cubicBezTo>
                <a:cubicBezTo>
                  <a:pt x="0" y="16939"/>
                  <a:pt x="4751" y="8481"/>
                  <a:pt x="13067" y="3635"/>
                </a:cubicBezTo>
                <a:cubicBezTo>
                  <a:pt x="20194" y="-1212"/>
                  <a:pt x="29649" y="-1212"/>
                  <a:pt x="37964" y="3635"/>
                </a:cubicBezTo>
                <a:cubicBezTo>
                  <a:pt x="303573" y="165898"/>
                  <a:pt x="303573" y="165898"/>
                  <a:pt x="303573" y="165898"/>
                </a:cubicBezTo>
                <a:cubicBezTo>
                  <a:pt x="310700" y="170745"/>
                  <a:pt x="315451" y="178014"/>
                  <a:pt x="315451" y="187708"/>
                </a:cubicBezTo>
                <a:cubicBezTo>
                  <a:pt x="315451" y="197401"/>
                  <a:pt x="310700" y="204670"/>
                  <a:pt x="303573" y="209517"/>
                </a:cubicBezTo>
                <a:cubicBezTo>
                  <a:pt x="37964" y="371780"/>
                  <a:pt x="37964" y="371780"/>
                  <a:pt x="37964" y="371780"/>
                </a:cubicBezTo>
                <a:cubicBezTo>
                  <a:pt x="34401" y="374203"/>
                  <a:pt x="29697" y="375391"/>
                  <a:pt x="24945" y="375391"/>
                </a:cubicBezTo>
                <a:lnTo>
                  <a:pt x="24945" y="375391"/>
                </a:lnTo>
                <a:close/>
                <a:moveTo>
                  <a:pt x="24945" y="14516"/>
                </a:moveTo>
                <a:cubicBezTo>
                  <a:pt x="23757" y="14516"/>
                  <a:pt x="21382" y="15704"/>
                  <a:pt x="20194" y="15704"/>
                </a:cubicBezTo>
                <a:cubicBezTo>
                  <a:pt x="16630" y="18127"/>
                  <a:pt x="14254" y="21738"/>
                  <a:pt x="14254" y="26585"/>
                </a:cubicBezTo>
                <a:cubicBezTo>
                  <a:pt x="14254" y="348736"/>
                  <a:pt x="14254" y="348736"/>
                  <a:pt x="14254" y="348736"/>
                </a:cubicBezTo>
                <a:cubicBezTo>
                  <a:pt x="14254" y="353582"/>
                  <a:pt x="16630" y="357193"/>
                  <a:pt x="20194" y="359616"/>
                </a:cubicBezTo>
                <a:cubicBezTo>
                  <a:pt x="23757" y="360804"/>
                  <a:pt x="27321" y="360804"/>
                  <a:pt x="30885" y="358428"/>
                </a:cubicBezTo>
                <a:cubicBezTo>
                  <a:pt x="296493" y="197353"/>
                  <a:pt x="296493" y="197353"/>
                  <a:pt x="296493" y="197353"/>
                </a:cubicBezTo>
                <a:cubicBezTo>
                  <a:pt x="298869" y="194930"/>
                  <a:pt x="301244" y="191319"/>
                  <a:pt x="301244" y="187660"/>
                </a:cubicBezTo>
                <a:cubicBezTo>
                  <a:pt x="301244" y="184049"/>
                  <a:pt x="298869" y="180390"/>
                  <a:pt x="296493" y="177967"/>
                </a:cubicBezTo>
                <a:lnTo>
                  <a:pt x="296493" y="177967"/>
                </a:lnTo>
                <a:cubicBezTo>
                  <a:pt x="30885" y="16892"/>
                  <a:pt x="30885" y="16892"/>
                  <a:pt x="30885" y="16892"/>
                </a:cubicBezTo>
                <a:cubicBezTo>
                  <a:pt x="29697" y="15704"/>
                  <a:pt x="27321" y="14516"/>
                  <a:pt x="24945" y="14516"/>
                </a:cubicBezTo>
                <a:lnTo>
                  <a:pt x="24945" y="14516"/>
                </a:lnTo>
                <a:close/>
              </a:path>
            </a:pathLst>
          </a:custGeom>
          <a:solidFill>
            <a:srgbClr val="6CBD4B"/>
          </a:solidFill>
          <a:ln w="4747" cap="flat">
            <a:noFill/>
            <a:prstDash val="solid"/>
            <a:miter/>
          </a:ln>
        </p:spPr>
        <p:txBody>
          <a:bodyPr rtlCol="0" anchor="ctr"/>
          <a:lstStyle/>
          <a:p>
            <a:endParaRPr lang="en-US"/>
          </a:p>
        </p:txBody>
      </p:sp>
      <p:sp>
        <p:nvSpPr>
          <p:cNvPr id="38" name="Freeform: Shape 344">
            <a:extLst>
              <a:ext uri="{FF2B5EF4-FFF2-40B4-BE49-F238E27FC236}">
                <a16:creationId xmlns:a16="http://schemas.microsoft.com/office/drawing/2014/main" id="{1A79415B-5831-4805-AD80-15AF5BDF2D4B}"/>
              </a:ext>
            </a:extLst>
          </p:cNvPr>
          <p:cNvSpPr/>
          <p:nvPr/>
        </p:nvSpPr>
        <p:spPr>
          <a:xfrm>
            <a:off x="5107020" y="2301669"/>
            <a:ext cx="70773" cy="70773"/>
          </a:xfrm>
          <a:custGeom>
            <a:avLst/>
            <a:gdLst>
              <a:gd name="connsiteX0" fmla="*/ 172289 w 172288"/>
              <a:gd name="connsiteY0" fmla="*/ 86144 h 172288"/>
              <a:gd name="connsiteX1" fmla="*/ 86144 w 172288"/>
              <a:gd name="connsiteY1" fmla="*/ 172289 h 172288"/>
              <a:gd name="connsiteX2" fmla="*/ 0 w 172288"/>
              <a:gd name="connsiteY2" fmla="*/ 86144 h 172288"/>
              <a:gd name="connsiteX3" fmla="*/ 86144 w 172288"/>
              <a:gd name="connsiteY3" fmla="*/ 0 h 172288"/>
              <a:gd name="connsiteX4" fmla="*/ 172289 w 172288"/>
              <a:gd name="connsiteY4" fmla="*/ 86144 h 17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8" h="172288">
                <a:moveTo>
                  <a:pt x="172289" y="86144"/>
                </a:moveTo>
                <a:cubicBezTo>
                  <a:pt x="172289" y="133721"/>
                  <a:pt x="133721" y="172289"/>
                  <a:pt x="86144" y="172289"/>
                </a:cubicBezTo>
                <a:cubicBezTo>
                  <a:pt x="38568" y="172289"/>
                  <a:pt x="0" y="133721"/>
                  <a:pt x="0" y="86144"/>
                </a:cubicBezTo>
                <a:cubicBezTo>
                  <a:pt x="0" y="38568"/>
                  <a:pt x="38568" y="0"/>
                  <a:pt x="86144" y="0"/>
                </a:cubicBezTo>
                <a:cubicBezTo>
                  <a:pt x="133721" y="0"/>
                  <a:pt x="172289" y="38568"/>
                  <a:pt x="172289" y="86144"/>
                </a:cubicBezTo>
                <a:close/>
              </a:path>
            </a:pathLst>
          </a:custGeom>
          <a:solidFill>
            <a:schemeClr val="bg2"/>
          </a:solidFill>
          <a:ln w="4747" cap="flat">
            <a:noFill/>
            <a:prstDash val="solid"/>
            <a:miter/>
          </a:ln>
        </p:spPr>
        <p:txBody>
          <a:bodyPr rtlCol="0" anchor="ctr"/>
          <a:lstStyle/>
          <a:p>
            <a:endParaRPr lang="en-US"/>
          </a:p>
        </p:txBody>
      </p:sp>
      <p:sp>
        <p:nvSpPr>
          <p:cNvPr id="39" name="Freeform: Shape 345">
            <a:extLst>
              <a:ext uri="{FF2B5EF4-FFF2-40B4-BE49-F238E27FC236}">
                <a16:creationId xmlns:a16="http://schemas.microsoft.com/office/drawing/2014/main" id="{E4FBD898-12F4-4F3C-8B2A-887D858F623B}"/>
              </a:ext>
            </a:extLst>
          </p:cNvPr>
          <p:cNvSpPr/>
          <p:nvPr/>
        </p:nvSpPr>
        <p:spPr>
          <a:xfrm>
            <a:off x="5217610" y="2420594"/>
            <a:ext cx="70773" cy="70773"/>
          </a:xfrm>
          <a:custGeom>
            <a:avLst/>
            <a:gdLst>
              <a:gd name="connsiteX0" fmla="*/ 172289 w 172288"/>
              <a:gd name="connsiteY0" fmla="*/ 86144 h 172288"/>
              <a:gd name="connsiteX1" fmla="*/ 86144 w 172288"/>
              <a:gd name="connsiteY1" fmla="*/ 172289 h 172288"/>
              <a:gd name="connsiteX2" fmla="*/ 0 w 172288"/>
              <a:gd name="connsiteY2" fmla="*/ 86144 h 172288"/>
              <a:gd name="connsiteX3" fmla="*/ 86144 w 172288"/>
              <a:gd name="connsiteY3" fmla="*/ 0 h 172288"/>
              <a:gd name="connsiteX4" fmla="*/ 172289 w 172288"/>
              <a:gd name="connsiteY4" fmla="*/ 86144 h 17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8" h="172288">
                <a:moveTo>
                  <a:pt x="172289" y="86144"/>
                </a:moveTo>
                <a:cubicBezTo>
                  <a:pt x="172289" y="133721"/>
                  <a:pt x="133721" y="172289"/>
                  <a:pt x="86144" y="172289"/>
                </a:cubicBezTo>
                <a:cubicBezTo>
                  <a:pt x="38568" y="172289"/>
                  <a:pt x="0" y="133721"/>
                  <a:pt x="0" y="86144"/>
                </a:cubicBezTo>
                <a:cubicBezTo>
                  <a:pt x="0" y="38568"/>
                  <a:pt x="38568" y="0"/>
                  <a:pt x="86144" y="0"/>
                </a:cubicBezTo>
                <a:cubicBezTo>
                  <a:pt x="133721" y="0"/>
                  <a:pt x="172289" y="38568"/>
                  <a:pt x="172289" y="86144"/>
                </a:cubicBezTo>
                <a:close/>
              </a:path>
            </a:pathLst>
          </a:custGeom>
          <a:solidFill>
            <a:schemeClr val="bg2"/>
          </a:solidFill>
          <a:ln w="4747" cap="flat">
            <a:noFill/>
            <a:prstDash val="solid"/>
            <a:miter/>
          </a:ln>
        </p:spPr>
        <p:txBody>
          <a:bodyPr rtlCol="0" anchor="ctr"/>
          <a:lstStyle/>
          <a:p>
            <a:endParaRPr lang="en-US"/>
          </a:p>
        </p:txBody>
      </p:sp>
      <p:sp>
        <p:nvSpPr>
          <p:cNvPr id="40" name="Freeform: Shape 346">
            <a:extLst>
              <a:ext uri="{FF2B5EF4-FFF2-40B4-BE49-F238E27FC236}">
                <a16:creationId xmlns:a16="http://schemas.microsoft.com/office/drawing/2014/main" id="{EB140D09-7F48-4D40-9B4E-81D49C757942}"/>
              </a:ext>
            </a:extLst>
          </p:cNvPr>
          <p:cNvSpPr/>
          <p:nvPr/>
        </p:nvSpPr>
        <p:spPr>
          <a:xfrm>
            <a:off x="5125250" y="2524997"/>
            <a:ext cx="70773" cy="70773"/>
          </a:xfrm>
          <a:custGeom>
            <a:avLst/>
            <a:gdLst>
              <a:gd name="connsiteX0" fmla="*/ 172289 w 172288"/>
              <a:gd name="connsiteY0" fmla="*/ 86144 h 172288"/>
              <a:gd name="connsiteX1" fmla="*/ 86144 w 172288"/>
              <a:gd name="connsiteY1" fmla="*/ 172289 h 172288"/>
              <a:gd name="connsiteX2" fmla="*/ 0 w 172288"/>
              <a:gd name="connsiteY2" fmla="*/ 86144 h 172288"/>
              <a:gd name="connsiteX3" fmla="*/ 86144 w 172288"/>
              <a:gd name="connsiteY3" fmla="*/ 0 h 172288"/>
              <a:gd name="connsiteX4" fmla="*/ 172289 w 172288"/>
              <a:gd name="connsiteY4" fmla="*/ 86144 h 17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8" h="172288">
                <a:moveTo>
                  <a:pt x="172289" y="86144"/>
                </a:moveTo>
                <a:cubicBezTo>
                  <a:pt x="172289" y="133721"/>
                  <a:pt x="133721" y="172289"/>
                  <a:pt x="86144" y="172289"/>
                </a:cubicBezTo>
                <a:cubicBezTo>
                  <a:pt x="38568" y="172289"/>
                  <a:pt x="0" y="133721"/>
                  <a:pt x="0" y="86144"/>
                </a:cubicBezTo>
                <a:cubicBezTo>
                  <a:pt x="0" y="38568"/>
                  <a:pt x="38568" y="0"/>
                  <a:pt x="86144" y="0"/>
                </a:cubicBezTo>
                <a:cubicBezTo>
                  <a:pt x="133721" y="0"/>
                  <a:pt x="172289" y="38568"/>
                  <a:pt x="172289" y="86144"/>
                </a:cubicBezTo>
                <a:close/>
              </a:path>
            </a:pathLst>
          </a:custGeom>
          <a:solidFill>
            <a:schemeClr val="bg2"/>
          </a:solidFill>
          <a:ln w="4747" cap="flat">
            <a:noFill/>
            <a:prstDash val="solid"/>
            <a:miter/>
          </a:ln>
        </p:spPr>
        <p:txBody>
          <a:bodyPr rtlCol="0" anchor="ctr"/>
          <a:lstStyle/>
          <a:p>
            <a:endParaRPr lang="en-US"/>
          </a:p>
        </p:txBody>
      </p:sp>
      <p:sp>
        <p:nvSpPr>
          <p:cNvPr id="2" name="Freeform: Shape 347">
            <a:extLst>
              <a:ext uri="{FF2B5EF4-FFF2-40B4-BE49-F238E27FC236}">
                <a16:creationId xmlns:a16="http://schemas.microsoft.com/office/drawing/2014/main" id="{91338EB9-FD57-4297-8BDD-335659FF0DE2}"/>
              </a:ext>
            </a:extLst>
          </p:cNvPr>
          <p:cNvSpPr/>
          <p:nvPr/>
        </p:nvSpPr>
        <p:spPr>
          <a:xfrm>
            <a:off x="5262307" y="2612361"/>
            <a:ext cx="70773" cy="70773"/>
          </a:xfrm>
          <a:custGeom>
            <a:avLst/>
            <a:gdLst>
              <a:gd name="connsiteX0" fmla="*/ 172289 w 172288"/>
              <a:gd name="connsiteY0" fmla="*/ 86144 h 172288"/>
              <a:gd name="connsiteX1" fmla="*/ 86144 w 172288"/>
              <a:gd name="connsiteY1" fmla="*/ 172289 h 172288"/>
              <a:gd name="connsiteX2" fmla="*/ 0 w 172288"/>
              <a:gd name="connsiteY2" fmla="*/ 86144 h 172288"/>
              <a:gd name="connsiteX3" fmla="*/ 86144 w 172288"/>
              <a:gd name="connsiteY3" fmla="*/ 0 h 172288"/>
              <a:gd name="connsiteX4" fmla="*/ 172289 w 172288"/>
              <a:gd name="connsiteY4" fmla="*/ 86144 h 17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8" h="172288">
                <a:moveTo>
                  <a:pt x="172289" y="86144"/>
                </a:moveTo>
                <a:cubicBezTo>
                  <a:pt x="172289" y="133721"/>
                  <a:pt x="133721" y="172289"/>
                  <a:pt x="86144" y="172289"/>
                </a:cubicBezTo>
                <a:cubicBezTo>
                  <a:pt x="38568" y="172289"/>
                  <a:pt x="0" y="133721"/>
                  <a:pt x="0" y="86144"/>
                </a:cubicBezTo>
                <a:cubicBezTo>
                  <a:pt x="0" y="38568"/>
                  <a:pt x="38568" y="0"/>
                  <a:pt x="86144" y="0"/>
                </a:cubicBezTo>
                <a:cubicBezTo>
                  <a:pt x="133721" y="0"/>
                  <a:pt x="172289" y="38568"/>
                  <a:pt x="172289" y="86144"/>
                </a:cubicBezTo>
                <a:close/>
              </a:path>
            </a:pathLst>
          </a:custGeom>
          <a:solidFill>
            <a:schemeClr val="bg2"/>
          </a:solidFill>
          <a:ln w="4747" cap="flat">
            <a:noFill/>
            <a:prstDash val="solid"/>
            <a:miter/>
          </a:ln>
        </p:spPr>
        <p:txBody>
          <a:bodyPr rtlCol="0" anchor="ctr"/>
          <a:lstStyle/>
          <a:p>
            <a:endParaRPr lang="en-US"/>
          </a:p>
        </p:txBody>
      </p:sp>
      <p:grpSp>
        <p:nvGrpSpPr>
          <p:cNvPr id="3" name="Group 348">
            <a:extLst>
              <a:ext uri="{FF2B5EF4-FFF2-40B4-BE49-F238E27FC236}">
                <a16:creationId xmlns:a16="http://schemas.microsoft.com/office/drawing/2014/main" id="{BA7D2193-BD39-4601-ABB3-B28BE3FF096A}"/>
              </a:ext>
            </a:extLst>
          </p:cNvPr>
          <p:cNvGrpSpPr/>
          <p:nvPr/>
        </p:nvGrpSpPr>
        <p:grpSpPr>
          <a:xfrm>
            <a:off x="5495512" y="1837135"/>
            <a:ext cx="607800" cy="580141"/>
            <a:chOff x="5345901" y="605910"/>
            <a:chExt cx="1479613" cy="1412284"/>
          </a:xfrm>
        </p:grpSpPr>
        <p:sp>
          <p:nvSpPr>
            <p:cNvPr id="12" name="Freeform: Shape 350">
              <a:extLst>
                <a:ext uri="{FF2B5EF4-FFF2-40B4-BE49-F238E27FC236}">
                  <a16:creationId xmlns:a16="http://schemas.microsoft.com/office/drawing/2014/main" id="{400E1770-9049-4BD2-8373-F204605E2B6D}"/>
                </a:ext>
              </a:extLst>
            </p:cNvPr>
            <p:cNvSpPr/>
            <p:nvPr/>
          </p:nvSpPr>
          <p:spPr>
            <a:xfrm>
              <a:off x="5345901" y="605910"/>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3"/>
                    <a:pt x="10402" y="0"/>
                    <a:pt x="23235" y="0"/>
                  </a:cubicBezTo>
                  <a:cubicBezTo>
                    <a:pt x="36067" y="0"/>
                    <a:pt x="46469" y="10403"/>
                    <a:pt x="46469" y="23235"/>
                  </a:cubicBezTo>
                  <a:close/>
                </a:path>
              </a:pathLst>
            </a:custGeom>
            <a:solidFill>
              <a:schemeClr val="accent4"/>
            </a:solidFill>
            <a:ln w="4747" cap="flat">
              <a:noFill/>
              <a:prstDash val="solid"/>
              <a:miter/>
            </a:ln>
          </p:spPr>
          <p:txBody>
            <a:bodyPr rtlCol="0" anchor="ctr"/>
            <a:lstStyle/>
            <a:p>
              <a:endParaRPr lang="en-US"/>
            </a:p>
          </p:txBody>
        </p:sp>
        <p:sp>
          <p:nvSpPr>
            <p:cNvPr id="13" name="Freeform: Shape 351">
              <a:extLst>
                <a:ext uri="{FF2B5EF4-FFF2-40B4-BE49-F238E27FC236}">
                  <a16:creationId xmlns:a16="http://schemas.microsoft.com/office/drawing/2014/main" id="{FBE564AF-632A-4F34-B4C0-C37847C8B04F}"/>
                </a:ext>
              </a:extLst>
            </p:cNvPr>
            <p:cNvSpPr/>
            <p:nvPr/>
          </p:nvSpPr>
          <p:spPr>
            <a:xfrm>
              <a:off x="5704211" y="605910"/>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3"/>
                    <a:pt x="10402"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14" name="Freeform: Shape 352">
              <a:extLst>
                <a:ext uri="{FF2B5EF4-FFF2-40B4-BE49-F238E27FC236}">
                  <a16:creationId xmlns:a16="http://schemas.microsoft.com/office/drawing/2014/main" id="{AA3AFF7F-C875-4492-93A0-70A8D56880E4}"/>
                </a:ext>
              </a:extLst>
            </p:cNvPr>
            <p:cNvSpPr/>
            <p:nvPr/>
          </p:nvSpPr>
          <p:spPr>
            <a:xfrm>
              <a:off x="5345901" y="947209"/>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3"/>
                    <a:pt x="10402" y="0"/>
                    <a:pt x="23235" y="0"/>
                  </a:cubicBezTo>
                  <a:cubicBezTo>
                    <a:pt x="36067" y="0"/>
                    <a:pt x="46469" y="10403"/>
                    <a:pt x="46469" y="23235"/>
                  </a:cubicBezTo>
                  <a:close/>
                </a:path>
              </a:pathLst>
            </a:custGeom>
            <a:solidFill>
              <a:schemeClr val="accent4"/>
            </a:solidFill>
            <a:ln w="4747" cap="flat">
              <a:noFill/>
              <a:prstDash val="solid"/>
              <a:miter/>
            </a:ln>
          </p:spPr>
          <p:txBody>
            <a:bodyPr rtlCol="0" anchor="ctr"/>
            <a:lstStyle/>
            <a:p>
              <a:endParaRPr lang="en-US"/>
            </a:p>
          </p:txBody>
        </p:sp>
        <p:sp>
          <p:nvSpPr>
            <p:cNvPr id="15" name="Freeform: Shape 353">
              <a:extLst>
                <a:ext uri="{FF2B5EF4-FFF2-40B4-BE49-F238E27FC236}">
                  <a16:creationId xmlns:a16="http://schemas.microsoft.com/office/drawing/2014/main" id="{682DE732-7826-4901-B7CB-F4F087982A05}"/>
                </a:ext>
              </a:extLst>
            </p:cNvPr>
            <p:cNvSpPr/>
            <p:nvPr/>
          </p:nvSpPr>
          <p:spPr>
            <a:xfrm>
              <a:off x="5704211" y="947209"/>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3"/>
                    <a:pt x="10402"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16" name="Freeform: Shape 354">
              <a:extLst>
                <a:ext uri="{FF2B5EF4-FFF2-40B4-BE49-F238E27FC236}">
                  <a16:creationId xmlns:a16="http://schemas.microsoft.com/office/drawing/2014/main" id="{9F3DD600-5FD8-4658-80D0-397EC51495D1}"/>
                </a:ext>
              </a:extLst>
            </p:cNvPr>
            <p:cNvSpPr/>
            <p:nvPr/>
          </p:nvSpPr>
          <p:spPr>
            <a:xfrm>
              <a:off x="6062473" y="605910"/>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3"/>
                    <a:pt x="10402" y="0"/>
                    <a:pt x="23235" y="0"/>
                  </a:cubicBezTo>
                  <a:cubicBezTo>
                    <a:pt x="36067" y="0"/>
                    <a:pt x="46469" y="10403"/>
                    <a:pt x="46469" y="23235"/>
                  </a:cubicBezTo>
                  <a:close/>
                </a:path>
              </a:pathLst>
            </a:custGeom>
            <a:solidFill>
              <a:schemeClr val="accent4"/>
            </a:solidFill>
            <a:ln w="4747" cap="flat">
              <a:noFill/>
              <a:prstDash val="solid"/>
              <a:miter/>
            </a:ln>
          </p:spPr>
          <p:txBody>
            <a:bodyPr rtlCol="0" anchor="ctr"/>
            <a:lstStyle/>
            <a:p>
              <a:endParaRPr lang="en-US"/>
            </a:p>
          </p:txBody>
        </p:sp>
        <p:sp>
          <p:nvSpPr>
            <p:cNvPr id="17" name="Freeform: Shape 355">
              <a:extLst>
                <a:ext uri="{FF2B5EF4-FFF2-40B4-BE49-F238E27FC236}">
                  <a16:creationId xmlns:a16="http://schemas.microsoft.com/office/drawing/2014/main" id="{44D3209B-7BD2-47EF-9235-E4FE2C55B3BA}"/>
                </a:ext>
              </a:extLst>
            </p:cNvPr>
            <p:cNvSpPr/>
            <p:nvPr/>
          </p:nvSpPr>
          <p:spPr>
            <a:xfrm>
              <a:off x="6420783" y="605910"/>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3"/>
                    <a:pt x="10402"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18" name="Freeform: Shape 356">
              <a:extLst>
                <a:ext uri="{FF2B5EF4-FFF2-40B4-BE49-F238E27FC236}">
                  <a16:creationId xmlns:a16="http://schemas.microsoft.com/office/drawing/2014/main" id="{5DF166D5-6415-4B5C-B97F-CF2169387897}"/>
                </a:ext>
              </a:extLst>
            </p:cNvPr>
            <p:cNvSpPr/>
            <p:nvPr/>
          </p:nvSpPr>
          <p:spPr>
            <a:xfrm>
              <a:off x="6779045" y="605910"/>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3" y="46470"/>
                    <a:pt x="0" y="36067"/>
                    <a:pt x="0" y="23235"/>
                  </a:cubicBezTo>
                  <a:cubicBezTo>
                    <a:pt x="0" y="10403"/>
                    <a:pt x="10403"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19" name="Freeform: Shape 357">
              <a:extLst>
                <a:ext uri="{FF2B5EF4-FFF2-40B4-BE49-F238E27FC236}">
                  <a16:creationId xmlns:a16="http://schemas.microsoft.com/office/drawing/2014/main" id="{68F71763-3CC6-449C-9E45-BC87A6A110A0}"/>
                </a:ext>
              </a:extLst>
            </p:cNvPr>
            <p:cNvSpPr/>
            <p:nvPr/>
          </p:nvSpPr>
          <p:spPr>
            <a:xfrm>
              <a:off x="5345901" y="1630853"/>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3"/>
                    <a:pt x="10402" y="0"/>
                    <a:pt x="23235" y="0"/>
                  </a:cubicBezTo>
                  <a:cubicBezTo>
                    <a:pt x="36067" y="0"/>
                    <a:pt x="46469" y="10403"/>
                    <a:pt x="46469" y="23235"/>
                  </a:cubicBezTo>
                  <a:close/>
                </a:path>
              </a:pathLst>
            </a:custGeom>
            <a:solidFill>
              <a:schemeClr val="accent4"/>
            </a:solidFill>
            <a:ln w="4747" cap="flat">
              <a:noFill/>
              <a:prstDash val="solid"/>
              <a:miter/>
            </a:ln>
          </p:spPr>
          <p:txBody>
            <a:bodyPr rtlCol="0" anchor="ctr"/>
            <a:lstStyle/>
            <a:p>
              <a:endParaRPr lang="en-US"/>
            </a:p>
          </p:txBody>
        </p:sp>
        <p:sp>
          <p:nvSpPr>
            <p:cNvPr id="20" name="Freeform: Shape 358">
              <a:extLst>
                <a:ext uri="{FF2B5EF4-FFF2-40B4-BE49-F238E27FC236}">
                  <a16:creationId xmlns:a16="http://schemas.microsoft.com/office/drawing/2014/main" id="{39A4D96F-BC3A-497B-B60D-7E433146F5C2}"/>
                </a:ext>
              </a:extLst>
            </p:cNvPr>
            <p:cNvSpPr/>
            <p:nvPr/>
          </p:nvSpPr>
          <p:spPr>
            <a:xfrm>
              <a:off x="5704211" y="1630853"/>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3"/>
                    <a:pt x="10402"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21" name="Freeform: Shape 359">
              <a:extLst>
                <a:ext uri="{FF2B5EF4-FFF2-40B4-BE49-F238E27FC236}">
                  <a16:creationId xmlns:a16="http://schemas.microsoft.com/office/drawing/2014/main" id="{4BB86E34-CB0D-4650-8240-9C96E46AEC70}"/>
                </a:ext>
              </a:extLst>
            </p:cNvPr>
            <p:cNvSpPr/>
            <p:nvPr/>
          </p:nvSpPr>
          <p:spPr>
            <a:xfrm>
              <a:off x="6062473" y="1630853"/>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3"/>
                    <a:pt x="10402" y="0"/>
                    <a:pt x="23235" y="0"/>
                  </a:cubicBezTo>
                  <a:cubicBezTo>
                    <a:pt x="36067" y="0"/>
                    <a:pt x="46469" y="10403"/>
                    <a:pt x="46469" y="23235"/>
                  </a:cubicBezTo>
                  <a:close/>
                </a:path>
              </a:pathLst>
            </a:custGeom>
            <a:solidFill>
              <a:schemeClr val="accent4"/>
            </a:solidFill>
            <a:ln w="4747" cap="flat">
              <a:noFill/>
              <a:prstDash val="solid"/>
              <a:miter/>
            </a:ln>
          </p:spPr>
          <p:txBody>
            <a:bodyPr rtlCol="0" anchor="ctr"/>
            <a:lstStyle/>
            <a:p>
              <a:endParaRPr lang="en-US"/>
            </a:p>
          </p:txBody>
        </p:sp>
        <p:sp>
          <p:nvSpPr>
            <p:cNvPr id="22" name="Freeform: Shape 360">
              <a:extLst>
                <a:ext uri="{FF2B5EF4-FFF2-40B4-BE49-F238E27FC236}">
                  <a16:creationId xmlns:a16="http://schemas.microsoft.com/office/drawing/2014/main" id="{F728D541-E83A-4EB6-8562-B459F343BFF1}"/>
                </a:ext>
              </a:extLst>
            </p:cNvPr>
            <p:cNvSpPr/>
            <p:nvPr/>
          </p:nvSpPr>
          <p:spPr>
            <a:xfrm>
              <a:off x="6420783" y="1630853"/>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3"/>
                    <a:pt x="10402"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23" name="Freeform: Shape 361">
              <a:extLst>
                <a:ext uri="{FF2B5EF4-FFF2-40B4-BE49-F238E27FC236}">
                  <a16:creationId xmlns:a16="http://schemas.microsoft.com/office/drawing/2014/main" id="{9ADA36C2-0E29-4266-AB03-F8826070CA08}"/>
                </a:ext>
              </a:extLst>
            </p:cNvPr>
            <p:cNvSpPr/>
            <p:nvPr/>
          </p:nvSpPr>
          <p:spPr>
            <a:xfrm>
              <a:off x="6779045" y="1630853"/>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3" y="46470"/>
                    <a:pt x="0" y="36067"/>
                    <a:pt x="0" y="23235"/>
                  </a:cubicBezTo>
                  <a:cubicBezTo>
                    <a:pt x="0" y="10403"/>
                    <a:pt x="10403"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24" name="Freeform: Shape 362">
              <a:extLst>
                <a:ext uri="{FF2B5EF4-FFF2-40B4-BE49-F238E27FC236}">
                  <a16:creationId xmlns:a16="http://schemas.microsoft.com/office/drawing/2014/main" id="{32E926F5-26D2-44F1-9F79-2093CB7AAAFB}"/>
                </a:ext>
              </a:extLst>
            </p:cNvPr>
            <p:cNvSpPr/>
            <p:nvPr/>
          </p:nvSpPr>
          <p:spPr>
            <a:xfrm>
              <a:off x="5345901" y="1971725"/>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2"/>
                    <a:pt x="10402" y="0"/>
                    <a:pt x="23235" y="0"/>
                  </a:cubicBezTo>
                  <a:cubicBezTo>
                    <a:pt x="36067" y="0"/>
                    <a:pt x="46469" y="10402"/>
                    <a:pt x="46469" y="23235"/>
                  </a:cubicBezTo>
                  <a:close/>
                </a:path>
              </a:pathLst>
            </a:custGeom>
            <a:solidFill>
              <a:schemeClr val="accent4"/>
            </a:solidFill>
            <a:ln w="4747" cap="flat">
              <a:noFill/>
              <a:prstDash val="solid"/>
              <a:miter/>
            </a:ln>
          </p:spPr>
          <p:txBody>
            <a:bodyPr rtlCol="0" anchor="ctr"/>
            <a:lstStyle/>
            <a:p>
              <a:endParaRPr lang="en-US"/>
            </a:p>
          </p:txBody>
        </p:sp>
        <p:sp>
          <p:nvSpPr>
            <p:cNvPr id="25" name="Freeform: Shape 363">
              <a:extLst>
                <a:ext uri="{FF2B5EF4-FFF2-40B4-BE49-F238E27FC236}">
                  <a16:creationId xmlns:a16="http://schemas.microsoft.com/office/drawing/2014/main" id="{968C4080-89D2-44DD-B3FF-9E0838771770}"/>
                </a:ext>
              </a:extLst>
            </p:cNvPr>
            <p:cNvSpPr/>
            <p:nvPr/>
          </p:nvSpPr>
          <p:spPr>
            <a:xfrm>
              <a:off x="5704211" y="1971725"/>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2"/>
                    <a:pt x="10402" y="0"/>
                    <a:pt x="23235" y="0"/>
                  </a:cubicBezTo>
                  <a:cubicBezTo>
                    <a:pt x="36067" y="0"/>
                    <a:pt x="46470" y="10402"/>
                    <a:pt x="46470" y="23235"/>
                  </a:cubicBezTo>
                  <a:close/>
                </a:path>
              </a:pathLst>
            </a:custGeom>
            <a:solidFill>
              <a:schemeClr val="accent4"/>
            </a:solidFill>
            <a:ln w="4747" cap="flat">
              <a:noFill/>
              <a:prstDash val="solid"/>
              <a:miter/>
            </a:ln>
          </p:spPr>
          <p:txBody>
            <a:bodyPr rtlCol="0" anchor="ctr"/>
            <a:lstStyle/>
            <a:p>
              <a:endParaRPr lang="en-US"/>
            </a:p>
          </p:txBody>
        </p:sp>
        <p:sp>
          <p:nvSpPr>
            <p:cNvPr id="26" name="Freeform: Shape 364">
              <a:extLst>
                <a:ext uri="{FF2B5EF4-FFF2-40B4-BE49-F238E27FC236}">
                  <a16:creationId xmlns:a16="http://schemas.microsoft.com/office/drawing/2014/main" id="{3D0BFFE5-A79E-4969-B381-5B0690CE4EEB}"/>
                </a:ext>
              </a:extLst>
            </p:cNvPr>
            <p:cNvSpPr/>
            <p:nvPr/>
          </p:nvSpPr>
          <p:spPr>
            <a:xfrm>
              <a:off x="6062473" y="1971725"/>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2"/>
                    <a:pt x="10402" y="0"/>
                    <a:pt x="23235" y="0"/>
                  </a:cubicBezTo>
                  <a:cubicBezTo>
                    <a:pt x="36067" y="0"/>
                    <a:pt x="46469" y="10402"/>
                    <a:pt x="46469" y="23235"/>
                  </a:cubicBezTo>
                  <a:close/>
                </a:path>
              </a:pathLst>
            </a:custGeom>
            <a:solidFill>
              <a:schemeClr val="accent4"/>
            </a:solidFill>
            <a:ln w="4747" cap="flat">
              <a:noFill/>
              <a:prstDash val="solid"/>
              <a:miter/>
            </a:ln>
          </p:spPr>
          <p:txBody>
            <a:bodyPr rtlCol="0" anchor="ctr"/>
            <a:lstStyle/>
            <a:p>
              <a:endParaRPr lang="en-US"/>
            </a:p>
          </p:txBody>
        </p:sp>
        <p:sp>
          <p:nvSpPr>
            <p:cNvPr id="27" name="Freeform: Shape 365">
              <a:extLst>
                <a:ext uri="{FF2B5EF4-FFF2-40B4-BE49-F238E27FC236}">
                  <a16:creationId xmlns:a16="http://schemas.microsoft.com/office/drawing/2014/main" id="{E8CF46F9-38B7-4BE6-B977-99E161CFAEE2}"/>
                </a:ext>
              </a:extLst>
            </p:cNvPr>
            <p:cNvSpPr/>
            <p:nvPr/>
          </p:nvSpPr>
          <p:spPr>
            <a:xfrm>
              <a:off x="6420783" y="1971725"/>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2"/>
                    <a:pt x="10402" y="0"/>
                    <a:pt x="23235" y="0"/>
                  </a:cubicBezTo>
                  <a:cubicBezTo>
                    <a:pt x="36067" y="0"/>
                    <a:pt x="46470" y="10402"/>
                    <a:pt x="46470" y="23235"/>
                  </a:cubicBezTo>
                  <a:close/>
                </a:path>
              </a:pathLst>
            </a:custGeom>
            <a:solidFill>
              <a:schemeClr val="accent4"/>
            </a:solidFill>
            <a:ln w="4747" cap="flat">
              <a:noFill/>
              <a:prstDash val="solid"/>
              <a:miter/>
            </a:ln>
          </p:spPr>
          <p:txBody>
            <a:bodyPr rtlCol="0" anchor="ctr"/>
            <a:lstStyle/>
            <a:p>
              <a:endParaRPr lang="en-US"/>
            </a:p>
          </p:txBody>
        </p:sp>
        <p:sp>
          <p:nvSpPr>
            <p:cNvPr id="28" name="Freeform: Shape 366">
              <a:extLst>
                <a:ext uri="{FF2B5EF4-FFF2-40B4-BE49-F238E27FC236}">
                  <a16:creationId xmlns:a16="http://schemas.microsoft.com/office/drawing/2014/main" id="{86577B25-AB0B-46F0-A72F-C7ADC4C5875F}"/>
                </a:ext>
              </a:extLst>
            </p:cNvPr>
            <p:cNvSpPr/>
            <p:nvPr/>
          </p:nvSpPr>
          <p:spPr>
            <a:xfrm>
              <a:off x="6779045" y="1971725"/>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3" y="46470"/>
                    <a:pt x="0" y="36067"/>
                    <a:pt x="0" y="23235"/>
                  </a:cubicBezTo>
                  <a:cubicBezTo>
                    <a:pt x="0" y="10402"/>
                    <a:pt x="10403" y="0"/>
                    <a:pt x="23235" y="0"/>
                  </a:cubicBezTo>
                  <a:cubicBezTo>
                    <a:pt x="36067" y="0"/>
                    <a:pt x="46470" y="10402"/>
                    <a:pt x="46470" y="23235"/>
                  </a:cubicBezTo>
                  <a:close/>
                </a:path>
              </a:pathLst>
            </a:custGeom>
            <a:solidFill>
              <a:schemeClr val="accent4"/>
            </a:solidFill>
            <a:ln w="4747" cap="flat">
              <a:noFill/>
              <a:prstDash val="solid"/>
              <a:miter/>
            </a:ln>
          </p:spPr>
          <p:txBody>
            <a:bodyPr rtlCol="0" anchor="ctr"/>
            <a:lstStyle/>
            <a:p>
              <a:endParaRPr lang="en-US"/>
            </a:p>
          </p:txBody>
        </p:sp>
        <p:sp>
          <p:nvSpPr>
            <p:cNvPr id="29" name="Freeform: Shape 367">
              <a:extLst>
                <a:ext uri="{FF2B5EF4-FFF2-40B4-BE49-F238E27FC236}">
                  <a16:creationId xmlns:a16="http://schemas.microsoft.com/office/drawing/2014/main" id="{BD916F83-33BE-49CD-8980-77CFB90A4753}"/>
                </a:ext>
              </a:extLst>
            </p:cNvPr>
            <p:cNvSpPr/>
            <p:nvPr/>
          </p:nvSpPr>
          <p:spPr>
            <a:xfrm>
              <a:off x="6062473" y="1284374"/>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3"/>
                    <a:pt x="10402" y="0"/>
                    <a:pt x="23235" y="0"/>
                  </a:cubicBezTo>
                  <a:cubicBezTo>
                    <a:pt x="36067" y="0"/>
                    <a:pt x="46469" y="10403"/>
                    <a:pt x="46469" y="23235"/>
                  </a:cubicBezTo>
                  <a:close/>
                </a:path>
              </a:pathLst>
            </a:custGeom>
            <a:solidFill>
              <a:schemeClr val="accent4"/>
            </a:solidFill>
            <a:ln w="4747" cap="flat">
              <a:noFill/>
              <a:prstDash val="solid"/>
              <a:miter/>
            </a:ln>
          </p:spPr>
          <p:txBody>
            <a:bodyPr rtlCol="0" anchor="ctr"/>
            <a:lstStyle/>
            <a:p>
              <a:endParaRPr lang="en-US"/>
            </a:p>
          </p:txBody>
        </p:sp>
        <p:sp>
          <p:nvSpPr>
            <p:cNvPr id="30" name="Freeform: Shape 368">
              <a:extLst>
                <a:ext uri="{FF2B5EF4-FFF2-40B4-BE49-F238E27FC236}">
                  <a16:creationId xmlns:a16="http://schemas.microsoft.com/office/drawing/2014/main" id="{24E9B403-4DAC-4975-8205-BAE347BD4E6E}"/>
                </a:ext>
              </a:extLst>
            </p:cNvPr>
            <p:cNvSpPr/>
            <p:nvPr/>
          </p:nvSpPr>
          <p:spPr>
            <a:xfrm>
              <a:off x="6420783" y="1284374"/>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3"/>
                    <a:pt x="10402"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32" name="Freeform: Shape 369">
              <a:extLst>
                <a:ext uri="{FF2B5EF4-FFF2-40B4-BE49-F238E27FC236}">
                  <a16:creationId xmlns:a16="http://schemas.microsoft.com/office/drawing/2014/main" id="{50D1F663-6202-4784-B931-4118B33A6DC3}"/>
                </a:ext>
              </a:extLst>
            </p:cNvPr>
            <p:cNvSpPr/>
            <p:nvPr/>
          </p:nvSpPr>
          <p:spPr>
            <a:xfrm>
              <a:off x="6779045" y="1284374"/>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3" y="46470"/>
                    <a:pt x="0" y="36067"/>
                    <a:pt x="0" y="23235"/>
                  </a:cubicBezTo>
                  <a:cubicBezTo>
                    <a:pt x="0" y="10403"/>
                    <a:pt x="10403"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grpSp>
      <p:sp>
        <p:nvSpPr>
          <p:cNvPr id="503" name="Freeform: Shape 343">
            <a:extLst>
              <a:ext uri="{FF2B5EF4-FFF2-40B4-BE49-F238E27FC236}">
                <a16:creationId xmlns:a16="http://schemas.microsoft.com/office/drawing/2014/main" id="{8A8CC3CB-F031-4472-A7D7-78BA1DFF0211}"/>
              </a:ext>
            </a:extLst>
          </p:cNvPr>
          <p:cNvSpPr/>
          <p:nvPr/>
        </p:nvSpPr>
        <p:spPr>
          <a:xfrm>
            <a:off x="6076818" y="2558502"/>
            <a:ext cx="129582" cy="154204"/>
          </a:xfrm>
          <a:custGeom>
            <a:avLst/>
            <a:gdLst>
              <a:gd name="connsiteX0" fmla="*/ 24945 w 315451"/>
              <a:gd name="connsiteY0" fmla="*/ 375391 h 375391"/>
              <a:gd name="connsiteX1" fmla="*/ 13067 w 315451"/>
              <a:gd name="connsiteY1" fmla="*/ 371780 h 375391"/>
              <a:gd name="connsiteX2" fmla="*/ 0 w 315451"/>
              <a:gd name="connsiteY2" fmla="*/ 348783 h 375391"/>
              <a:gd name="connsiteX3" fmla="*/ 0 w 315451"/>
              <a:gd name="connsiteY3" fmla="*/ 26632 h 375391"/>
              <a:gd name="connsiteX4" fmla="*/ 13067 w 315451"/>
              <a:gd name="connsiteY4" fmla="*/ 3635 h 375391"/>
              <a:gd name="connsiteX5" fmla="*/ 37964 w 315451"/>
              <a:gd name="connsiteY5" fmla="*/ 3635 h 375391"/>
              <a:gd name="connsiteX6" fmla="*/ 303573 w 315451"/>
              <a:gd name="connsiteY6" fmla="*/ 165898 h 375391"/>
              <a:gd name="connsiteX7" fmla="*/ 315451 w 315451"/>
              <a:gd name="connsiteY7" fmla="*/ 187708 h 375391"/>
              <a:gd name="connsiteX8" fmla="*/ 303573 w 315451"/>
              <a:gd name="connsiteY8" fmla="*/ 209517 h 375391"/>
              <a:gd name="connsiteX9" fmla="*/ 37964 w 315451"/>
              <a:gd name="connsiteY9" fmla="*/ 371780 h 375391"/>
              <a:gd name="connsiteX10" fmla="*/ 24945 w 315451"/>
              <a:gd name="connsiteY10" fmla="*/ 375391 h 375391"/>
              <a:gd name="connsiteX11" fmla="*/ 24945 w 315451"/>
              <a:gd name="connsiteY11" fmla="*/ 375391 h 375391"/>
              <a:gd name="connsiteX12" fmla="*/ 24945 w 315451"/>
              <a:gd name="connsiteY12" fmla="*/ 14516 h 375391"/>
              <a:gd name="connsiteX13" fmla="*/ 20194 w 315451"/>
              <a:gd name="connsiteY13" fmla="*/ 15704 h 375391"/>
              <a:gd name="connsiteX14" fmla="*/ 14254 w 315451"/>
              <a:gd name="connsiteY14" fmla="*/ 26585 h 375391"/>
              <a:gd name="connsiteX15" fmla="*/ 14254 w 315451"/>
              <a:gd name="connsiteY15" fmla="*/ 348736 h 375391"/>
              <a:gd name="connsiteX16" fmla="*/ 20194 w 315451"/>
              <a:gd name="connsiteY16" fmla="*/ 359616 h 375391"/>
              <a:gd name="connsiteX17" fmla="*/ 30885 w 315451"/>
              <a:gd name="connsiteY17" fmla="*/ 358428 h 375391"/>
              <a:gd name="connsiteX18" fmla="*/ 296493 w 315451"/>
              <a:gd name="connsiteY18" fmla="*/ 197353 h 375391"/>
              <a:gd name="connsiteX19" fmla="*/ 301244 w 315451"/>
              <a:gd name="connsiteY19" fmla="*/ 187660 h 375391"/>
              <a:gd name="connsiteX20" fmla="*/ 296493 w 315451"/>
              <a:gd name="connsiteY20" fmla="*/ 177967 h 375391"/>
              <a:gd name="connsiteX21" fmla="*/ 296493 w 315451"/>
              <a:gd name="connsiteY21" fmla="*/ 177967 h 375391"/>
              <a:gd name="connsiteX22" fmla="*/ 30885 w 315451"/>
              <a:gd name="connsiteY22" fmla="*/ 16892 h 375391"/>
              <a:gd name="connsiteX23" fmla="*/ 24945 w 315451"/>
              <a:gd name="connsiteY23" fmla="*/ 14516 h 375391"/>
              <a:gd name="connsiteX24" fmla="*/ 24945 w 315451"/>
              <a:gd name="connsiteY24" fmla="*/ 14516 h 37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5451" h="375391">
                <a:moveTo>
                  <a:pt x="24945" y="375391"/>
                </a:moveTo>
                <a:cubicBezTo>
                  <a:pt x="21382" y="375391"/>
                  <a:pt x="16630" y="374203"/>
                  <a:pt x="13067" y="371780"/>
                </a:cubicBezTo>
                <a:cubicBezTo>
                  <a:pt x="4751" y="366934"/>
                  <a:pt x="0" y="358476"/>
                  <a:pt x="0" y="348783"/>
                </a:cubicBezTo>
                <a:cubicBezTo>
                  <a:pt x="0" y="26632"/>
                  <a:pt x="0" y="26632"/>
                  <a:pt x="0" y="26632"/>
                </a:cubicBezTo>
                <a:cubicBezTo>
                  <a:pt x="0" y="16939"/>
                  <a:pt x="4751" y="8481"/>
                  <a:pt x="13067" y="3635"/>
                </a:cubicBezTo>
                <a:cubicBezTo>
                  <a:pt x="20194" y="-1212"/>
                  <a:pt x="29649" y="-1212"/>
                  <a:pt x="37964" y="3635"/>
                </a:cubicBezTo>
                <a:cubicBezTo>
                  <a:pt x="303573" y="165898"/>
                  <a:pt x="303573" y="165898"/>
                  <a:pt x="303573" y="165898"/>
                </a:cubicBezTo>
                <a:cubicBezTo>
                  <a:pt x="310700" y="170745"/>
                  <a:pt x="315451" y="178014"/>
                  <a:pt x="315451" y="187708"/>
                </a:cubicBezTo>
                <a:cubicBezTo>
                  <a:pt x="315451" y="197401"/>
                  <a:pt x="310700" y="204670"/>
                  <a:pt x="303573" y="209517"/>
                </a:cubicBezTo>
                <a:cubicBezTo>
                  <a:pt x="37964" y="371780"/>
                  <a:pt x="37964" y="371780"/>
                  <a:pt x="37964" y="371780"/>
                </a:cubicBezTo>
                <a:cubicBezTo>
                  <a:pt x="34401" y="374203"/>
                  <a:pt x="29697" y="375391"/>
                  <a:pt x="24945" y="375391"/>
                </a:cubicBezTo>
                <a:lnTo>
                  <a:pt x="24945" y="375391"/>
                </a:lnTo>
                <a:close/>
                <a:moveTo>
                  <a:pt x="24945" y="14516"/>
                </a:moveTo>
                <a:cubicBezTo>
                  <a:pt x="23757" y="14516"/>
                  <a:pt x="21382" y="15704"/>
                  <a:pt x="20194" y="15704"/>
                </a:cubicBezTo>
                <a:cubicBezTo>
                  <a:pt x="16630" y="18127"/>
                  <a:pt x="14254" y="21738"/>
                  <a:pt x="14254" y="26585"/>
                </a:cubicBezTo>
                <a:cubicBezTo>
                  <a:pt x="14254" y="348736"/>
                  <a:pt x="14254" y="348736"/>
                  <a:pt x="14254" y="348736"/>
                </a:cubicBezTo>
                <a:cubicBezTo>
                  <a:pt x="14254" y="353582"/>
                  <a:pt x="16630" y="357193"/>
                  <a:pt x="20194" y="359616"/>
                </a:cubicBezTo>
                <a:cubicBezTo>
                  <a:pt x="23757" y="360804"/>
                  <a:pt x="27321" y="360804"/>
                  <a:pt x="30885" y="358428"/>
                </a:cubicBezTo>
                <a:cubicBezTo>
                  <a:pt x="296493" y="197353"/>
                  <a:pt x="296493" y="197353"/>
                  <a:pt x="296493" y="197353"/>
                </a:cubicBezTo>
                <a:cubicBezTo>
                  <a:pt x="298869" y="194930"/>
                  <a:pt x="301244" y="191319"/>
                  <a:pt x="301244" y="187660"/>
                </a:cubicBezTo>
                <a:cubicBezTo>
                  <a:pt x="301244" y="184049"/>
                  <a:pt x="298869" y="180390"/>
                  <a:pt x="296493" y="177967"/>
                </a:cubicBezTo>
                <a:lnTo>
                  <a:pt x="296493" y="177967"/>
                </a:lnTo>
                <a:cubicBezTo>
                  <a:pt x="30885" y="16892"/>
                  <a:pt x="30885" y="16892"/>
                  <a:pt x="30885" y="16892"/>
                </a:cubicBezTo>
                <a:cubicBezTo>
                  <a:pt x="29697" y="15704"/>
                  <a:pt x="27321" y="14516"/>
                  <a:pt x="24945" y="14516"/>
                </a:cubicBezTo>
                <a:lnTo>
                  <a:pt x="24945" y="14516"/>
                </a:lnTo>
                <a:close/>
              </a:path>
            </a:pathLst>
          </a:custGeom>
          <a:solidFill>
            <a:srgbClr val="6CBD4B"/>
          </a:solidFill>
          <a:ln w="4747" cap="flat">
            <a:noFill/>
            <a:prstDash val="solid"/>
            <a:miter/>
          </a:ln>
        </p:spPr>
        <p:txBody>
          <a:bodyPr rtlCol="0" anchor="ctr"/>
          <a:lstStyle/>
          <a:p>
            <a:endParaRPr lang="en-US"/>
          </a:p>
        </p:txBody>
      </p:sp>
      <p:sp>
        <p:nvSpPr>
          <p:cNvPr id="504" name="Freeform: Shape 344">
            <a:extLst>
              <a:ext uri="{FF2B5EF4-FFF2-40B4-BE49-F238E27FC236}">
                <a16:creationId xmlns:a16="http://schemas.microsoft.com/office/drawing/2014/main" id="{1A79415B-5831-4805-AD80-15AF5BDF2D4B}"/>
              </a:ext>
            </a:extLst>
          </p:cNvPr>
          <p:cNvSpPr/>
          <p:nvPr/>
        </p:nvSpPr>
        <p:spPr>
          <a:xfrm>
            <a:off x="5107014" y="2301671"/>
            <a:ext cx="70773" cy="70773"/>
          </a:xfrm>
          <a:custGeom>
            <a:avLst/>
            <a:gdLst>
              <a:gd name="connsiteX0" fmla="*/ 172289 w 172288"/>
              <a:gd name="connsiteY0" fmla="*/ 86144 h 172288"/>
              <a:gd name="connsiteX1" fmla="*/ 86144 w 172288"/>
              <a:gd name="connsiteY1" fmla="*/ 172289 h 172288"/>
              <a:gd name="connsiteX2" fmla="*/ 0 w 172288"/>
              <a:gd name="connsiteY2" fmla="*/ 86144 h 172288"/>
              <a:gd name="connsiteX3" fmla="*/ 86144 w 172288"/>
              <a:gd name="connsiteY3" fmla="*/ 0 h 172288"/>
              <a:gd name="connsiteX4" fmla="*/ 172289 w 172288"/>
              <a:gd name="connsiteY4" fmla="*/ 86144 h 17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8" h="172288">
                <a:moveTo>
                  <a:pt x="172289" y="86144"/>
                </a:moveTo>
                <a:cubicBezTo>
                  <a:pt x="172289" y="133721"/>
                  <a:pt x="133721" y="172289"/>
                  <a:pt x="86144" y="172289"/>
                </a:cubicBezTo>
                <a:cubicBezTo>
                  <a:pt x="38568" y="172289"/>
                  <a:pt x="0" y="133721"/>
                  <a:pt x="0" y="86144"/>
                </a:cubicBezTo>
                <a:cubicBezTo>
                  <a:pt x="0" y="38568"/>
                  <a:pt x="38568" y="0"/>
                  <a:pt x="86144" y="0"/>
                </a:cubicBezTo>
                <a:cubicBezTo>
                  <a:pt x="133721" y="0"/>
                  <a:pt x="172289" y="38568"/>
                  <a:pt x="172289" y="86144"/>
                </a:cubicBezTo>
                <a:close/>
              </a:path>
            </a:pathLst>
          </a:custGeom>
          <a:solidFill>
            <a:schemeClr val="bg2"/>
          </a:solidFill>
          <a:ln w="4747" cap="flat">
            <a:noFill/>
            <a:prstDash val="solid"/>
            <a:miter/>
          </a:ln>
        </p:spPr>
        <p:txBody>
          <a:bodyPr rtlCol="0" anchor="ctr"/>
          <a:lstStyle/>
          <a:p>
            <a:endParaRPr lang="en-US"/>
          </a:p>
        </p:txBody>
      </p:sp>
      <p:sp>
        <p:nvSpPr>
          <p:cNvPr id="505" name="Freeform: Shape 345">
            <a:extLst>
              <a:ext uri="{FF2B5EF4-FFF2-40B4-BE49-F238E27FC236}">
                <a16:creationId xmlns:a16="http://schemas.microsoft.com/office/drawing/2014/main" id="{E4FBD898-12F4-4F3C-8B2A-887D858F623B}"/>
              </a:ext>
            </a:extLst>
          </p:cNvPr>
          <p:cNvSpPr/>
          <p:nvPr/>
        </p:nvSpPr>
        <p:spPr>
          <a:xfrm>
            <a:off x="5217604" y="2420596"/>
            <a:ext cx="70773" cy="70773"/>
          </a:xfrm>
          <a:custGeom>
            <a:avLst/>
            <a:gdLst>
              <a:gd name="connsiteX0" fmla="*/ 172289 w 172288"/>
              <a:gd name="connsiteY0" fmla="*/ 86144 h 172288"/>
              <a:gd name="connsiteX1" fmla="*/ 86144 w 172288"/>
              <a:gd name="connsiteY1" fmla="*/ 172289 h 172288"/>
              <a:gd name="connsiteX2" fmla="*/ 0 w 172288"/>
              <a:gd name="connsiteY2" fmla="*/ 86144 h 172288"/>
              <a:gd name="connsiteX3" fmla="*/ 86144 w 172288"/>
              <a:gd name="connsiteY3" fmla="*/ 0 h 172288"/>
              <a:gd name="connsiteX4" fmla="*/ 172289 w 172288"/>
              <a:gd name="connsiteY4" fmla="*/ 86144 h 17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8" h="172288">
                <a:moveTo>
                  <a:pt x="172289" y="86144"/>
                </a:moveTo>
                <a:cubicBezTo>
                  <a:pt x="172289" y="133721"/>
                  <a:pt x="133721" y="172289"/>
                  <a:pt x="86144" y="172289"/>
                </a:cubicBezTo>
                <a:cubicBezTo>
                  <a:pt x="38568" y="172289"/>
                  <a:pt x="0" y="133721"/>
                  <a:pt x="0" y="86144"/>
                </a:cubicBezTo>
                <a:cubicBezTo>
                  <a:pt x="0" y="38568"/>
                  <a:pt x="38568" y="0"/>
                  <a:pt x="86144" y="0"/>
                </a:cubicBezTo>
                <a:cubicBezTo>
                  <a:pt x="133721" y="0"/>
                  <a:pt x="172289" y="38568"/>
                  <a:pt x="172289" y="86144"/>
                </a:cubicBezTo>
                <a:close/>
              </a:path>
            </a:pathLst>
          </a:custGeom>
          <a:solidFill>
            <a:schemeClr val="bg2"/>
          </a:solidFill>
          <a:ln w="4747" cap="flat">
            <a:noFill/>
            <a:prstDash val="solid"/>
            <a:miter/>
          </a:ln>
        </p:spPr>
        <p:txBody>
          <a:bodyPr rtlCol="0" anchor="ctr"/>
          <a:lstStyle/>
          <a:p>
            <a:endParaRPr lang="en-US"/>
          </a:p>
        </p:txBody>
      </p:sp>
      <p:sp>
        <p:nvSpPr>
          <p:cNvPr id="506" name="Freeform: Shape 346">
            <a:extLst>
              <a:ext uri="{FF2B5EF4-FFF2-40B4-BE49-F238E27FC236}">
                <a16:creationId xmlns:a16="http://schemas.microsoft.com/office/drawing/2014/main" id="{EB140D09-7F48-4D40-9B4E-81D49C757942}"/>
              </a:ext>
            </a:extLst>
          </p:cNvPr>
          <p:cNvSpPr/>
          <p:nvPr/>
        </p:nvSpPr>
        <p:spPr>
          <a:xfrm>
            <a:off x="5125244" y="2524999"/>
            <a:ext cx="70773" cy="70773"/>
          </a:xfrm>
          <a:custGeom>
            <a:avLst/>
            <a:gdLst>
              <a:gd name="connsiteX0" fmla="*/ 172289 w 172288"/>
              <a:gd name="connsiteY0" fmla="*/ 86144 h 172288"/>
              <a:gd name="connsiteX1" fmla="*/ 86144 w 172288"/>
              <a:gd name="connsiteY1" fmla="*/ 172289 h 172288"/>
              <a:gd name="connsiteX2" fmla="*/ 0 w 172288"/>
              <a:gd name="connsiteY2" fmla="*/ 86144 h 172288"/>
              <a:gd name="connsiteX3" fmla="*/ 86144 w 172288"/>
              <a:gd name="connsiteY3" fmla="*/ 0 h 172288"/>
              <a:gd name="connsiteX4" fmla="*/ 172289 w 172288"/>
              <a:gd name="connsiteY4" fmla="*/ 86144 h 17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8" h="172288">
                <a:moveTo>
                  <a:pt x="172289" y="86144"/>
                </a:moveTo>
                <a:cubicBezTo>
                  <a:pt x="172289" y="133721"/>
                  <a:pt x="133721" y="172289"/>
                  <a:pt x="86144" y="172289"/>
                </a:cubicBezTo>
                <a:cubicBezTo>
                  <a:pt x="38568" y="172289"/>
                  <a:pt x="0" y="133721"/>
                  <a:pt x="0" y="86144"/>
                </a:cubicBezTo>
                <a:cubicBezTo>
                  <a:pt x="0" y="38568"/>
                  <a:pt x="38568" y="0"/>
                  <a:pt x="86144" y="0"/>
                </a:cubicBezTo>
                <a:cubicBezTo>
                  <a:pt x="133721" y="0"/>
                  <a:pt x="172289" y="38568"/>
                  <a:pt x="172289" y="86144"/>
                </a:cubicBezTo>
                <a:close/>
              </a:path>
            </a:pathLst>
          </a:custGeom>
          <a:solidFill>
            <a:schemeClr val="bg2"/>
          </a:solidFill>
          <a:ln w="4747" cap="flat">
            <a:noFill/>
            <a:prstDash val="solid"/>
            <a:miter/>
          </a:ln>
        </p:spPr>
        <p:txBody>
          <a:bodyPr rtlCol="0" anchor="ctr"/>
          <a:lstStyle/>
          <a:p>
            <a:endParaRPr lang="en-US"/>
          </a:p>
        </p:txBody>
      </p:sp>
      <p:sp>
        <p:nvSpPr>
          <p:cNvPr id="477" name="Freeform: Shape 347">
            <a:extLst>
              <a:ext uri="{FF2B5EF4-FFF2-40B4-BE49-F238E27FC236}">
                <a16:creationId xmlns:a16="http://schemas.microsoft.com/office/drawing/2014/main" id="{91338EB9-FD57-4297-8BDD-335659FF0DE2}"/>
              </a:ext>
            </a:extLst>
          </p:cNvPr>
          <p:cNvSpPr/>
          <p:nvPr/>
        </p:nvSpPr>
        <p:spPr>
          <a:xfrm>
            <a:off x="5262301" y="2612363"/>
            <a:ext cx="70773" cy="70773"/>
          </a:xfrm>
          <a:custGeom>
            <a:avLst/>
            <a:gdLst>
              <a:gd name="connsiteX0" fmla="*/ 172289 w 172288"/>
              <a:gd name="connsiteY0" fmla="*/ 86144 h 172288"/>
              <a:gd name="connsiteX1" fmla="*/ 86144 w 172288"/>
              <a:gd name="connsiteY1" fmla="*/ 172289 h 172288"/>
              <a:gd name="connsiteX2" fmla="*/ 0 w 172288"/>
              <a:gd name="connsiteY2" fmla="*/ 86144 h 172288"/>
              <a:gd name="connsiteX3" fmla="*/ 86144 w 172288"/>
              <a:gd name="connsiteY3" fmla="*/ 0 h 172288"/>
              <a:gd name="connsiteX4" fmla="*/ 172289 w 172288"/>
              <a:gd name="connsiteY4" fmla="*/ 86144 h 172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88" h="172288">
                <a:moveTo>
                  <a:pt x="172289" y="86144"/>
                </a:moveTo>
                <a:cubicBezTo>
                  <a:pt x="172289" y="133721"/>
                  <a:pt x="133721" y="172289"/>
                  <a:pt x="86144" y="172289"/>
                </a:cubicBezTo>
                <a:cubicBezTo>
                  <a:pt x="38568" y="172289"/>
                  <a:pt x="0" y="133721"/>
                  <a:pt x="0" y="86144"/>
                </a:cubicBezTo>
                <a:cubicBezTo>
                  <a:pt x="0" y="38568"/>
                  <a:pt x="38568" y="0"/>
                  <a:pt x="86144" y="0"/>
                </a:cubicBezTo>
                <a:cubicBezTo>
                  <a:pt x="133721" y="0"/>
                  <a:pt x="172289" y="38568"/>
                  <a:pt x="172289" y="86144"/>
                </a:cubicBezTo>
                <a:close/>
              </a:path>
            </a:pathLst>
          </a:custGeom>
          <a:solidFill>
            <a:schemeClr val="bg2"/>
          </a:solidFill>
          <a:ln w="4747" cap="flat">
            <a:noFill/>
            <a:prstDash val="solid"/>
            <a:miter/>
          </a:ln>
        </p:spPr>
        <p:txBody>
          <a:bodyPr rtlCol="0" anchor="ctr"/>
          <a:lstStyle/>
          <a:p>
            <a:endParaRPr lang="en-US"/>
          </a:p>
        </p:txBody>
      </p:sp>
      <p:grpSp>
        <p:nvGrpSpPr>
          <p:cNvPr id="478" name="Group 348">
            <a:extLst>
              <a:ext uri="{FF2B5EF4-FFF2-40B4-BE49-F238E27FC236}">
                <a16:creationId xmlns:a16="http://schemas.microsoft.com/office/drawing/2014/main" id="{BA7D2193-BD39-4601-ABB3-B28BE3FF096A}"/>
              </a:ext>
            </a:extLst>
          </p:cNvPr>
          <p:cNvGrpSpPr/>
          <p:nvPr/>
        </p:nvGrpSpPr>
        <p:grpSpPr>
          <a:xfrm>
            <a:off x="5495541" y="1837141"/>
            <a:ext cx="607809" cy="580152"/>
            <a:chOff x="5345901" y="605910"/>
            <a:chExt cx="1479613" cy="1412284"/>
          </a:xfrm>
        </p:grpSpPr>
        <p:sp>
          <p:nvSpPr>
            <p:cNvPr id="480" name="Freeform: Shape 350">
              <a:extLst>
                <a:ext uri="{FF2B5EF4-FFF2-40B4-BE49-F238E27FC236}">
                  <a16:creationId xmlns:a16="http://schemas.microsoft.com/office/drawing/2014/main" id="{400E1770-9049-4BD2-8373-F204605E2B6D}"/>
                </a:ext>
              </a:extLst>
            </p:cNvPr>
            <p:cNvSpPr/>
            <p:nvPr/>
          </p:nvSpPr>
          <p:spPr>
            <a:xfrm>
              <a:off x="5345901" y="605910"/>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3"/>
                    <a:pt x="10402" y="0"/>
                    <a:pt x="23235" y="0"/>
                  </a:cubicBezTo>
                  <a:cubicBezTo>
                    <a:pt x="36067" y="0"/>
                    <a:pt x="46469" y="10403"/>
                    <a:pt x="46469" y="23235"/>
                  </a:cubicBezTo>
                  <a:close/>
                </a:path>
              </a:pathLst>
            </a:custGeom>
            <a:solidFill>
              <a:schemeClr val="accent4"/>
            </a:solidFill>
            <a:ln w="4747" cap="flat">
              <a:noFill/>
              <a:prstDash val="solid"/>
              <a:miter/>
            </a:ln>
          </p:spPr>
          <p:txBody>
            <a:bodyPr rtlCol="0" anchor="ctr"/>
            <a:lstStyle/>
            <a:p>
              <a:endParaRPr lang="en-US"/>
            </a:p>
          </p:txBody>
        </p:sp>
        <p:sp>
          <p:nvSpPr>
            <p:cNvPr id="481" name="Freeform: Shape 351">
              <a:extLst>
                <a:ext uri="{FF2B5EF4-FFF2-40B4-BE49-F238E27FC236}">
                  <a16:creationId xmlns:a16="http://schemas.microsoft.com/office/drawing/2014/main" id="{FBE564AF-632A-4F34-B4C0-C37847C8B04F}"/>
                </a:ext>
              </a:extLst>
            </p:cNvPr>
            <p:cNvSpPr/>
            <p:nvPr/>
          </p:nvSpPr>
          <p:spPr>
            <a:xfrm>
              <a:off x="5704211" y="605910"/>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3"/>
                    <a:pt x="10402"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482" name="Freeform: Shape 352">
              <a:extLst>
                <a:ext uri="{FF2B5EF4-FFF2-40B4-BE49-F238E27FC236}">
                  <a16:creationId xmlns:a16="http://schemas.microsoft.com/office/drawing/2014/main" id="{AA3AFF7F-C875-4492-93A0-70A8D56880E4}"/>
                </a:ext>
              </a:extLst>
            </p:cNvPr>
            <p:cNvSpPr/>
            <p:nvPr/>
          </p:nvSpPr>
          <p:spPr>
            <a:xfrm>
              <a:off x="5345901" y="947209"/>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3"/>
                    <a:pt x="10402" y="0"/>
                    <a:pt x="23235" y="0"/>
                  </a:cubicBezTo>
                  <a:cubicBezTo>
                    <a:pt x="36067" y="0"/>
                    <a:pt x="46469" y="10403"/>
                    <a:pt x="46469" y="23235"/>
                  </a:cubicBezTo>
                  <a:close/>
                </a:path>
              </a:pathLst>
            </a:custGeom>
            <a:solidFill>
              <a:schemeClr val="accent4"/>
            </a:solidFill>
            <a:ln w="4747" cap="flat">
              <a:noFill/>
              <a:prstDash val="solid"/>
              <a:miter/>
            </a:ln>
          </p:spPr>
          <p:txBody>
            <a:bodyPr rtlCol="0" anchor="ctr"/>
            <a:lstStyle/>
            <a:p>
              <a:endParaRPr lang="en-US"/>
            </a:p>
          </p:txBody>
        </p:sp>
        <p:sp>
          <p:nvSpPr>
            <p:cNvPr id="483" name="Freeform: Shape 353">
              <a:extLst>
                <a:ext uri="{FF2B5EF4-FFF2-40B4-BE49-F238E27FC236}">
                  <a16:creationId xmlns:a16="http://schemas.microsoft.com/office/drawing/2014/main" id="{682DE732-7826-4901-B7CB-F4F087982A05}"/>
                </a:ext>
              </a:extLst>
            </p:cNvPr>
            <p:cNvSpPr/>
            <p:nvPr/>
          </p:nvSpPr>
          <p:spPr>
            <a:xfrm>
              <a:off x="5704211" y="947209"/>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3"/>
                    <a:pt x="10402"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484" name="Freeform: Shape 354">
              <a:extLst>
                <a:ext uri="{FF2B5EF4-FFF2-40B4-BE49-F238E27FC236}">
                  <a16:creationId xmlns:a16="http://schemas.microsoft.com/office/drawing/2014/main" id="{9F3DD600-5FD8-4658-80D0-397EC51495D1}"/>
                </a:ext>
              </a:extLst>
            </p:cNvPr>
            <p:cNvSpPr/>
            <p:nvPr/>
          </p:nvSpPr>
          <p:spPr>
            <a:xfrm>
              <a:off x="6062473" y="605910"/>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3"/>
                    <a:pt x="10402" y="0"/>
                    <a:pt x="23235" y="0"/>
                  </a:cubicBezTo>
                  <a:cubicBezTo>
                    <a:pt x="36067" y="0"/>
                    <a:pt x="46469" y="10403"/>
                    <a:pt x="46469" y="23235"/>
                  </a:cubicBezTo>
                  <a:close/>
                </a:path>
              </a:pathLst>
            </a:custGeom>
            <a:solidFill>
              <a:schemeClr val="accent4"/>
            </a:solidFill>
            <a:ln w="4747" cap="flat">
              <a:noFill/>
              <a:prstDash val="solid"/>
              <a:miter/>
            </a:ln>
          </p:spPr>
          <p:txBody>
            <a:bodyPr rtlCol="0" anchor="ctr"/>
            <a:lstStyle/>
            <a:p>
              <a:endParaRPr lang="en-US"/>
            </a:p>
          </p:txBody>
        </p:sp>
        <p:sp>
          <p:nvSpPr>
            <p:cNvPr id="485" name="Freeform: Shape 355">
              <a:extLst>
                <a:ext uri="{FF2B5EF4-FFF2-40B4-BE49-F238E27FC236}">
                  <a16:creationId xmlns:a16="http://schemas.microsoft.com/office/drawing/2014/main" id="{44D3209B-7BD2-47EF-9235-E4FE2C55B3BA}"/>
                </a:ext>
              </a:extLst>
            </p:cNvPr>
            <p:cNvSpPr/>
            <p:nvPr/>
          </p:nvSpPr>
          <p:spPr>
            <a:xfrm>
              <a:off x="6420783" y="605910"/>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3"/>
                    <a:pt x="10402"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486" name="Freeform: Shape 356">
              <a:extLst>
                <a:ext uri="{FF2B5EF4-FFF2-40B4-BE49-F238E27FC236}">
                  <a16:creationId xmlns:a16="http://schemas.microsoft.com/office/drawing/2014/main" id="{5DF166D5-6415-4B5C-B97F-CF2169387897}"/>
                </a:ext>
              </a:extLst>
            </p:cNvPr>
            <p:cNvSpPr/>
            <p:nvPr/>
          </p:nvSpPr>
          <p:spPr>
            <a:xfrm>
              <a:off x="6779045" y="605910"/>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3" y="46470"/>
                    <a:pt x="0" y="36067"/>
                    <a:pt x="0" y="23235"/>
                  </a:cubicBezTo>
                  <a:cubicBezTo>
                    <a:pt x="0" y="10403"/>
                    <a:pt x="10403"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487" name="Freeform: Shape 357">
              <a:extLst>
                <a:ext uri="{FF2B5EF4-FFF2-40B4-BE49-F238E27FC236}">
                  <a16:creationId xmlns:a16="http://schemas.microsoft.com/office/drawing/2014/main" id="{68F71763-3CC6-449C-9E45-BC87A6A110A0}"/>
                </a:ext>
              </a:extLst>
            </p:cNvPr>
            <p:cNvSpPr/>
            <p:nvPr/>
          </p:nvSpPr>
          <p:spPr>
            <a:xfrm>
              <a:off x="5345901" y="1630853"/>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3"/>
                    <a:pt x="10402" y="0"/>
                    <a:pt x="23235" y="0"/>
                  </a:cubicBezTo>
                  <a:cubicBezTo>
                    <a:pt x="36067" y="0"/>
                    <a:pt x="46469" y="10403"/>
                    <a:pt x="46469" y="23235"/>
                  </a:cubicBezTo>
                  <a:close/>
                </a:path>
              </a:pathLst>
            </a:custGeom>
            <a:solidFill>
              <a:schemeClr val="accent4"/>
            </a:solidFill>
            <a:ln w="4747" cap="flat">
              <a:noFill/>
              <a:prstDash val="solid"/>
              <a:miter/>
            </a:ln>
          </p:spPr>
          <p:txBody>
            <a:bodyPr rtlCol="0" anchor="ctr"/>
            <a:lstStyle/>
            <a:p>
              <a:endParaRPr lang="en-US"/>
            </a:p>
          </p:txBody>
        </p:sp>
        <p:sp>
          <p:nvSpPr>
            <p:cNvPr id="488" name="Freeform: Shape 358">
              <a:extLst>
                <a:ext uri="{FF2B5EF4-FFF2-40B4-BE49-F238E27FC236}">
                  <a16:creationId xmlns:a16="http://schemas.microsoft.com/office/drawing/2014/main" id="{39A4D96F-BC3A-497B-B60D-7E433146F5C2}"/>
                </a:ext>
              </a:extLst>
            </p:cNvPr>
            <p:cNvSpPr/>
            <p:nvPr/>
          </p:nvSpPr>
          <p:spPr>
            <a:xfrm>
              <a:off x="5704211" y="1630853"/>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3"/>
                    <a:pt x="10402"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489" name="Freeform: Shape 359">
              <a:extLst>
                <a:ext uri="{FF2B5EF4-FFF2-40B4-BE49-F238E27FC236}">
                  <a16:creationId xmlns:a16="http://schemas.microsoft.com/office/drawing/2014/main" id="{4BB86E34-CB0D-4650-8240-9C96E46AEC70}"/>
                </a:ext>
              </a:extLst>
            </p:cNvPr>
            <p:cNvSpPr/>
            <p:nvPr/>
          </p:nvSpPr>
          <p:spPr>
            <a:xfrm>
              <a:off x="6062473" y="1630853"/>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3"/>
                    <a:pt x="10402" y="0"/>
                    <a:pt x="23235" y="0"/>
                  </a:cubicBezTo>
                  <a:cubicBezTo>
                    <a:pt x="36067" y="0"/>
                    <a:pt x="46469" y="10403"/>
                    <a:pt x="46469" y="23235"/>
                  </a:cubicBezTo>
                  <a:close/>
                </a:path>
              </a:pathLst>
            </a:custGeom>
            <a:solidFill>
              <a:schemeClr val="accent4"/>
            </a:solidFill>
            <a:ln w="4747" cap="flat">
              <a:noFill/>
              <a:prstDash val="solid"/>
              <a:miter/>
            </a:ln>
          </p:spPr>
          <p:txBody>
            <a:bodyPr rtlCol="0" anchor="ctr"/>
            <a:lstStyle/>
            <a:p>
              <a:endParaRPr lang="en-US"/>
            </a:p>
          </p:txBody>
        </p:sp>
        <p:sp>
          <p:nvSpPr>
            <p:cNvPr id="490" name="Freeform: Shape 360">
              <a:extLst>
                <a:ext uri="{FF2B5EF4-FFF2-40B4-BE49-F238E27FC236}">
                  <a16:creationId xmlns:a16="http://schemas.microsoft.com/office/drawing/2014/main" id="{F728D541-E83A-4EB6-8562-B459F343BFF1}"/>
                </a:ext>
              </a:extLst>
            </p:cNvPr>
            <p:cNvSpPr/>
            <p:nvPr/>
          </p:nvSpPr>
          <p:spPr>
            <a:xfrm>
              <a:off x="6420783" y="1630853"/>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3"/>
                    <a:pt x="10402"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491" name="Freeform: Shape 361">
              <a:extLst>
                <a:ext uri="{FF2B5EF4-FFF2-40B4-BE49-F238E27FC236}">
                  <a16:creationId xmlns:a16="http://schemas.microsoft.com/office/drawing/2014/main" id="{9ADA36C2-0E29-4266-AB03-F8826070CA08}"/>
                </a:ext>
              </a:extLst>
            </p:cNvPr>
            <p:cNvSpPr/>
            <p:nvPr/>
          </p:nvSpPr>
          <p:spPr>
            <a:xfrm>
              <a:off x="6779045" y="1630853"/>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3" y="46470"/>
                    <a:pt x="0" y="36067"/>
                    <a:pt x="0" y="23235"/>
                  </a:cubicBezTo>
                  <a:cubicBezTo>
                    <a:pt x="0" y="10403"/>
                    <a:pt x="10403"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492" name="Freeform: Shape 362">
              <a:extLst>
                <a:ext uri="{FF2B5EF4-FFF2-40B4-BE49-F238E27FC236}">
                  <a16:creationId xmlns:a16="http://schemas.microsoft.com/office/drawing/2014/main" id="{32E926F5-26D2-44F1-9F79-2093CB7AAAFB}"/>
                </a:ext>
              </a:extLst>
            </p:cNvPr>
            <p:cNvSpPr/>
            <p:nvPr/>
          </p:nvSpPr>
          <p:spPr>
            <a:xfrm>
              <a:off x="5345901" y="1971725"/>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2"/>
                    <a:pt x="10402" y="0"/>
                    <a:pt x="23235" y="0"/>
                  </a:cubicBezTo>
                  <a:cubicBezTo>
                    <a:pt x="36067" y="0"/>
                    <a:pt x="46469" y="10402"/>
                    <a:pt x="46469" y="23235"/>
                  </a:cubicBezTo>
                  <a:close/>
                </a:path>
              </a:pathLst>
            </a:custGeom>
            <a:solidFill>
              <a:schemeClr val="accent4"/>
            </a:solidFill>
            <a:ln w="4747" cap="flat">
              <a:noFill/>
              <a:prstDash val="solid"/>
              <a:miter/>
            </a:ln>
          </p:spPr>
          <p:txBody>
            <a:bodyPr rtlCol="0" anchor="ctr"/>
            <a:lstStyle/>
            <a:p>
              <a:endParaRPr lang="en-US"/>
            </a:p>
          </p:txBody>
        </p:sp>
        <p:sp>
          <p:nvSpPr>
            <p:cNvPr id="493" name="Freeform: Shape 363">
              <a:extLst>
                <a:ext uri="{FF2B5EF4-FFF2-40B4-BE49-F238E27FC236}">
                  <a16:creationId xmlns:a16="http://schemas.microsoft.com/office/drawing/2014/main" id="{968C4080-89D2-44DD-B3FF-9E0838771770}"/>
                </a:ext>
              </a:extLst>
            </p:cNvPr>
            <p:cNvSpPr/>
            <p:nvPr/>
          </p:nvSpPr>
          <p:spPr>
            <a:xfrm>
              <a:off x="5704211" y="1971725"/>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2"/>
                    <a:pt x="10402" y="0"/>
                    <a:pt x="23235" y="0"/>
                  </a:cubicBezTo>
                  <a:cubicBezTo>
                    <a:pt x="36067" y="0"/>
                    <a:pt x="46470" y="10402"/>
                    <a:pt x="46470" y="23235"/>
                  </a:cubicBezTo>
                  <a:close/>
                </a:path>
              </a:pathLst>
            </a:custGeom>
            <a:solidFill>
              <a:schemeClr val="accent4"/>
            </a:solidFill>
            <a:ln w="4747" cap="flat">
              <a:noFill/>
              <a:prstDash val="solid"/>
              <a:miter/>
            </a:ln>
          </p:spPr>
          <p:txBody>
            <a:bodyPr rtlCol="0" anchor="ctr"/>
            <a:lstStyle/>
            <a:p>
              <a:endParaRPr lang="en-US"/>
            </a:p>
          </p:txBody>
        </p:sp>
        <p:sp>
          <p:nvSpPr>
            <p:cNvPr id="494" name="Freeform: Shape 364">
              <a:extLst>
                <a:ext uri="{FF2B5EF4-FFF2-40B4-BE49-F238E27FC236}">
                  <a16:creationId xmlns:a16="http://schemas.microsoft.com/office/drawing/2014/main" id="{3D0BFFE5-A79E-4969-B381-5B0690CE4EEB}"/>
                </a:ext>
              </a:extLst>
            </p:cNvPr>
            <p:cNvSpPr/>
            <p:nvPr/>
          </p:nvSpPr>
          <p:spPr>
            <a:xfrm>
              <a:off x="6062473" y="1971725"/>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2"/>
                    <a:pt x="10402" y="0"/>
                    <a:pt x="23235" y="0"/>
                  </a:cubicBezTo>
                  <a:cubicBezTo>
                    <a:pt x="36067" y="0"/>
                    <a:pt x="46469" y="10402"/>
                    <a:pt x="46469" y="23235"/>
                  </a:cubicBezTo>
                  <a:close/>
                </a:path>
              </a:pathLst>
            </a:custGeom>
            <a:solidFill>
              <a:schemeClr val="accent4"/>
            </a:solidFill>
            <a:ln w="4747" cap="flat">
              <a:noFill/>
              <a:prstDash val="solid"/>
              <a:miter/>
            </a:ln>
          </p:spPr>
          <p:txBody>
            <a:bodyPr rtlCol="0" anchor="ctr"/>
            <a:lstStyle/>
            <a:p>
              <a:endParaRPr lang="en-US"/>
            </a:p>
          </p:txBody>
        </p:sp>
        <p:sp>
          <p:nvSpPr>
            <p:cNvPr id="495" name="Freeform: Shape 365">
              <a:extLst>
                <a:ext uri="{FF2B5EF4-FFF2-40B4-BE49-F238E27FC236}">
                  <a16:creationId xmlns:a16="http://schemas.microsoft.com/office/drawing/2014/main" id="{E8CF46F9-38B7-4BE6-B977-99E161CFAEE2}"/>
                </a:ext>
              </a:extLst>
            </p:cNvPr>
            <p:cNvSpPr/>
            <p:nvPr/>
          </p:nvSpPr>
          <p:spPr>
            <a:xfrm>
              <a:off x="6420783" y="1971725"/>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2"/>
                    <a:pt x="10402" y="0"/>
                    <a:pt x="23235" y="0"/>
                  </a:cubicBezTo>
                  <a:cubicBezTo>
                    <a:pt x="36067" y="0"/>
                    <a:pt x="46470" y="10402"/>
                    <a:pt x="46470" y="23235"/>
                  </a:cubicBezTo>
                  <a:close/>
                </a:path>
              </a:pathLst>
            </a:custGeom>
            <a:solidFill>
              <a:schemeClr val="accent4"/>
            </a:solidFill>
            <a:ln w="4747" cap="flat">
              <a:noFill/>
              <a:prstDash val="solid"/>
              <a:miter/>
            </a:ln>
          </p:spPr>
          <p:txBody>
            <a:bodyPr rtlCol="0" anchor="ctr"/>
            <a:lstStyle/>
            <a:p>
              <a:endParaRPr lang="en-US"/>
            </a:p>
          </p:txBody>
        </p:sp>
        <p:sp>
          <p:nvSpPr>
            <p:cNvPr id="496" name="Freeform: Shape 366">
              <a:extLst>
                <a:ext uri="{FF2B5EF4-FFF2-40B4-BE49-F238E27FC236}">
                  <a16:creationId xmlns:a16="http://schemas.microsoft.com/office/drawing/2014/main" id="{86577B25-AB0B-46F0-A72F-C7ADC4C5875F}"/>
                </a:ext>
              </a:extLst>
            </p:cNvPr>
            <p:cNvSpPr/>
            <p:nvPr/>
          </p:nvSpPr>
          <p:spPr>
            <a:xfrm>
              <a:off x="6779045" y="1971725"/>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3" y="46470"/>
                    <a:pt x="0" y="36067"/>
                    <a:pt x="0" y="23235"/>
                  </a:cubicBezTo>
                  <a:cubicBezTo>
                    <a:pt x="0" y="10402"/>
                    <a:pt x="10403" y="0"/>
                    <a:pt x="23235" y="0"/>
                  </a:cubicBezTo>
                  <a:cubicBezTo>
                    <a:pt x="36067" y="0"/>
                    <a:pt x="46470" y="10402"/>
                    <a:pt x="46470" y="23235"/>
                  </a:cubicBezTo>
                  <a:close/>
                </a:path>
              </a:pathLst>
            </a:custGeom>
            <a:solidFill>
              <a:schemeClr val="accent4"/>
            </a:solidFill>
            <a:ln w="4747" cap="flat">
              <a:noFill/>
              <a:prstDash val="solid"/>
              <a:miter/>
            </a:ln>
          </p:spPr>
          <p:txBody>
            <a:bodyPr rtlCol="0" anchor="ctr"/>
            <a:lstStyle/>
            <a:p>
              <a:endParaRPr lang="en-US"/>
            </a:p>
          </p:txBody>
        </p:sp>
        <p:sp>
          <p:nvSpPr>
            <p:cNvPr id="497" name="Freeform: Shape 367">
              <a:extLst>
                <a:ext uri="{FF2B5EF4-FFF2-40B4-BE49-F238E27FC236}">
                  <a16:creationId xmlns:a16="http://schemas.microsoft.com/office/drawing/2014/main" id="{BD916F83-33BE-49CD-8980-77CFB90A4753}"/>
                </a:ext>
              </a:extLst>
            </p:cNvPr>
            <p:cNvSpPr/>
            <p:nvPr/>
          </p:nvSpPr>
          <p:spPr>
            <a:xfrm>
              <a:off x="6062473" y="1284374"/>
              <a:ext cx="46469" cy="46469"/>
            </a:xfrm>
            <a:custGeom>
              <a:avLst/>
              <a:gdLst>
                <a:gd name="connsiteX0" fmla="*/ 46469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69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69" y="23235"/>
                  </a:moveTo>
                  <a:cubicBezTo>
                    <a:pt x="46469" y="36067"/>
                    <a:pt x="36067" y="46470"/>
                    <a:pt x="23235" y="46470"/>
                  </a:cubicBezTo>
                  <a:cubicBezTo>
                    <a:pt x="10402" y="46470"/>
                    <a:pt x="0" y="36067"/>
                    <a:pt x="0" y="23235"/>
                  </a:cubicBezTo>
                  <a:cubicBezTo>
                    <a:pt x="0" y="10403"/>
                    <a:pt x="10402" y="0"/>
                    <a:pt x="23235" y="0"/>
                  </a:cubicBezTo>
                  <a:cubicBezTo>
                    <a:pt x="36067" y="0"/>
                    <a:pt x="46469" y="10403"/>
                    <a:pt x="46469" y="23235"/>
                  </a:cubicBezTo>
                  <a:close/>
                </a:path>
              </a:pathLst>
            </a:custGeom>
            <a:solidFill>
              <a:schemeClr val="accent4"/>
            </a:solidFill>
            <a:ln w="4747" cap="flat">
              <a:noFill/>
              <a:prstDash val="solid"/>
              <a:miter/>
            </a:ln>
          </p:spPr>
          <p:txBody>
            <a:bodyPr rtlCol="0" anchor="ctr"/>
            <a:lstStyle/>
            <a:p>
              <a:endParaRPr lang="en-US"/>
            </a:p>
          </p:txBody>
        </p:sp>
        <p:sp>
          <p:nvSpPr>
            <p:cNvPr id="498" name="Freeform: Shape 368">
              <a:extLst>
                <a:ext uri="{FF2B5EF4-FFF2-40B4-BE49-F238E27FC236}">
                  <a16:creationId xmlns:a16="http://schemas.microsoft.com/office/drawing/2014/main" id="{24E9B403-4DAC-4975-8205-BAE347BD4E6E}"/>
                </a:ext>
              </a:extLst>
            </p:cNvPr>
            <p:cNvSpPr/>
            <p:nvPr/>
          </p:nvSpPr>
          <p:spPr>
            <a:xfrm>
              <a:off x="6420783" y="1284374"/>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2" y="46470"/>
                    <a:pt x="0" y="36067"/>
                    <a:pt x="0" y="23235"/>
                  </a:cubicBezTo>
                  <a:cubicBezTo>
                    <a:pt x="0" y="10403"/>
                    <a:pt x="10402"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sp>
          <p:nvSpPr>
            <p:cNvPr id="499" name="Freeform: Shape 369">
              <a:extLst>
                <a:ext uri="{FF2B5EF4-FFF2-40B4-BE49-F238E27FC236}">
                  <a16:creationId xmlns:a16="http://schemas.microsoft.com/office/drawing/2014/main" id="{50D1F663-6202-4784-B931-4118B33A6DC3}"/>
                </a:ext>
              </a:extLst>
            </p:cNvPr>
            <p:cNvSpPr/>
            <p:nvPr/>
          </p:nvSpPr>
          <p:spPr>
            <a:xfrm>
              <a:off x="6779045" y="1284374"/>
              <a:ext cx="46469" cy="46469"/>
            </a:xfrm>
            <a:custGeom>
              <a:avLst/>
              <a:gdLst>
                <a:gd name="connsiteX0" fmla="*/ 46470 w 46469"/>
                <a:gd name="connsiteY0" fmla="*/ 23235 h 46469"/>
                <a:gd name="connsiteX1" fmla="*/ 23235 w 46469"/>
                <a:gd name="connsiteY1" fmla="*/ 46470 h 46469"/>
                <a:gd name="connsiteX2" fmla="*/ 0 w 46469"/>
                <a:gd name="connsiteY2" fmla="*/ 23235 h 46469"/>
                <a:gd name="connsiteX3" fmla="*/ 23235 w 46469"/>
                <a:gd name="connsiteY3" fmla="*/ 0 h 46469"/>
                <a:gd name="connsiteX4" fmla="*/ 46470 w 46469"/>
                <a:gd name="connsiteY4" fmla="*/ 23235 h 4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469" h="46469">
                  <a:moveTo>
                    <a:pt x="46470" y="23235"/>
                  </a:moveTo>
                  <a:cubicBezTo>
                    <a:pt x="46470" y="36067"/>
                    <a:pt x="36067" y="46470"/>
                    <a:pt x="23235" y="46470"/>
                  </a:cubicBezTo>
                  <a:cubicBezTo>
                    <a:pt x="10403" y="46470"/>
                    <a:pt x="0" y="36067"/>
                    <a:pt x="0" y="23235"/>
                  </a:cubicBezTo>
                  <a:cubicBezTo>
                    <a:pt x="0" y="10403"/>
                    <a:pt x="10403" y="0"/>
                    <a:pt x="23235" y="0"/>
                  </a:cubicBezTo>
                  <a:cubicBezTo>
                    <a:pt x="36067" y="0"/>
                    <a:pt x="46470" y="10403"/>
                    <a:pt x="46470" y="23235"/>
                  </a:cubicBezTo>
                  <a:close/>
                </a:path>
              </a:pathLst>
            </a:custGeom>
            <a:solidFill>
              <a:schemeClr val="accent4"/>
            </a:solidFill>
            <a:ln w="4747" cap="flat">
              <a:noFill/>
              <a:prstDash val="solid"/>
              <a:miter/>
            </a:ln>
          </p:spPr>
          <p:txBody>
            <a:bodyPr rtlCol="0" anchor="ctr"/>
            <a:lstStyle/>
            <a:p>
              <a:endParaRPr lang="en-US"/>
            </a:p>
          </p:txBody>
        </p:sp>
      </p:grpSp>
      <p:grpSp>
        <p:nvGrpSpPr>
          <p:cNvPr id="466" name="Group 465">
            <a:extLst>
              <a:ext uri="{FF2B5EF4-FFF2-40B4-BE49-F238E27FC236}">
                <a16:creationId xmlns:a16="http://schemas.microsoft.com/office/drawing/2014/main" id="{51A4C241-3393-4635-9D0C-05A0B615FD46}"/>
              </a:ext>
            </a:extLst>
          </p:cNvPr>
          <p:cNvGrpSpPr/>
          <p:nvPr/>
        </p:nvGrpSpPr>
        <p:grpSpPr>
          <a:xfrm>
            <a:off x="6968213" y="2036577"/>
            <a:ext cx="1341165" cy="883012"/>
            <a:chOff x="6968213" y="2083363"/>
            <a:chExt cx="1341165" cy="883012"/>
          </a:xfrm>
        </p:grpSpPr>
        <p:sp>
          <p:nvSpPr>
            <p:cNvPr id="433" name="Freeform: Shape 432">
              <a:extLst>
                <a:ext uri="{FF2B5EF4-FFF2-40B4-BE49-F238E27FC236}">
                  <a16:creationId xmlns:a16="http://schemas.microsoft.com/office/drawing/2014/main" id="{D0C38EE5-E04A-4885-BA78-719A8A3E42E2}"/>
                </a:ext>
              </a:extLst>
            </p:cNvPr>
            <p:cNvSpPr/>
            <p:nvPr/>
          </p:nvSpPr>
          <p:spPr>
            <a:xfrm>
              <a:off x="8263658" y="2292215"/>
              <a:ext cx="45720" cy="45720"/>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38" name="Freeform: Shape 437">
              <a:extLst>
                <a:ext uri="{FF2B5EF4-FFF2-40B4-BE49-F238E27FC236}">
                  <a16:creationId xmlns:a16="http://schemas.microsoft.com/office/drawing/2014/main" id="{BC797F4E-6744-4021-BE90-DB2AED74F0DB}"/>
                </a:ext>
              </a:extLst>
            </p:cNvPr>
            <p:cNvSpPr/>
            <p:nvPr/>
          </p:nvSpPr>
          <p:spPr>
            <a:xfrm>
              <a:off x="8179027" y="2389233"/>
              <a:ext cx="45720" cy="45720"/>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5"/>
                    <a:pt x="41575" y="53566"/>
                    <a:pt x="26783" y="53566"/>
                  </a:cubicBezTo>
                  <a:cubicBezTo>
                    <a:pt x="11991" y="53566"/>
                    <a:pt x="0" y="41574"/>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39" name="Freeform: Shape 438">
              <a:extLst>
                <a:ext uri="{FF2B5EF4-FFF2-40B4-BE49-F238E27FC236}">
                  <a16:creationId xmlns:a16="http://schemas.microsoft.com/office/drawing/2014/main" id="{DC0CC8AB-D14F-41DF-943C-2886F4BD68D8}"/>
                </a:ext>
              </a:extLst>
            </p:cNvPr>
            <p:cNvSpPr/>
            <p:nvPr/>
          </p:nvSpPr>
          <p:spPr>
            <a:xfrm>
              <a:off x="8263658" y="2389233"/>
              <a:ext cx="45720" cy="45720"/>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5"/>
                    <a:pt x="41575" y="53566"/>
                    <a:pt x="26783" y="53566"/>
                  </a:cubicBezTo>
                  <a:cubicBezTo>
                    <a:pt x="11991" y="53566"/>
                    <a:pt x="0" y="41574"/>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43" name="Freeform: Shape 442">
              <a:extLst>
                <a:ext uri="{FF2B5EF4-FFF2-40B4-BE49-F238E27FC236}">
                  <a16:creationId xmlns:a16="http://schemas.microsoft.com/office/drawing/2014/main" id="{C648800C-C1B6-4E26-9064-90834C342D1C}"/>
                </a:ext>
              </a:extLst>
            </p:cNvPr>
            <p:cNvSpPr/>
            <p:nvPr/>
          </p:nvSpPr>
          <p:spPr>
            <a:xfrm>
              <a:off x="8089638" y="2486220"/>
              <a:ext cx="45720" cy="45720"/>
            </a:xfrm>
            <a:custGeom>
              <a:avLst/>
              <a:gdLst>
                <a:gd name="connsiteX0" fmla="*/ 53565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5"/>
                    <a:pt x="26783" y="53565"/>
                  </a:cubicBezTo>
                  <a:cubicBezTo>
                    <a:pt x="11991" y="53565"/>
                    <a:pt x="0" y="41574"/>
                    <a:pt x="0" y="26783"/>
                  </a:cubicBezTo>
                  <a:cubicBezTo>
                    <a:pt x="0" y="11991"/>
                    <a:pt x="11991" y="0"/>
                    <a:pt x="26783" y="0"/>
                  </a:cubicBezTo>
                  <a:cubicBezTo>
                    <a:pt x="41574" y="0"/>
                    <a:pt x="53565" y="11991"/>
                    <a:pt x="53565" y="26783"/>
                  </a:cubicBezTo>
                  <a:close/>
                </a:path>
              </a:pathLst>
            </a:custGeom>
            <a:solidFill>
              <a:schemeClr val="accent2"/>
            </a:solidFill>
            <a:ln w="5377" cap="flat">
              <a:noFill/>
              <a:prstDash val="solid"/>
              <a:miter/>
            </a:ln>
          </p:spPr>
          <p:txBody>
            <a:bodyPr rtlCol="0" anchor="ctr"/>
            <a:lstStyle/>
            <a:p>
              <a:endParaRPr lang="en-IN"/>
            </a:p>
          </p:txBody>
        </p:sp>
        <p:sp>
          <p:nvSpPr>
            <p:cNvPr id="444" name="Freeform: Shape 443">
              <a:extLst>
                <a:ext uri="{FF2B5EF4-FFF2-40B4-BE49-F238E27FC236}">
                  <a16:creationId xmlns:a16="http://schemas.microsoft.com/office/drawing/2014/main" id="{710C0317-7AB5-44CA-9FD1-D9F27B6035FB}"/>
                </a:ext>
              </a:extLst>
            </p:cNvPr>
            <p:cNvSpPr/>
            <p:nvPr/>
          </p:nvSpPr>
          <p:spPr>
            <a:xfrm>
              <a:off x="8179027" y="2486220"/>
              <a:ext cx="45720" cy="45720"/>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45" name="Freeform: Shape 444">
              <a:extLst>
                <a:ext uri="{FF2B5EF4-FFF2-40B4-BE49-F238E27FC236}">
                  <a16:creationId xmlns:a16="http://schemas.microsoft.com/office/drawing/2014/main" id="{DC928157-27C5-469A-9151-F4B50C44E0BF}"/>
                </a:ext>
              </a:extLst>
            </p:cNvPr>
            <p:cNvSpPr/>
            <p:nvPr/>
          </p:nvSpPr>
          <p:spPr>
            <a:xfrm>
              <a:off x="8263658" y="2486220"/>
              <a:ext cx="45720" cy="45720"/>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48" name="Freeform: Shape 447">
              <a:extLst>
                <a:ext uri="{FF2B5EF4-FFF2-40B4-BE49-F238E27FC236}">
                  <a16:creationId xmlns:a16="http://schemas.microsoft.com/office/drawing/2014/main" id="{6A080FAB-D528-4526-BD0B-8E95EDC32609}"/>
                </a:ext>
              </a:extLst>
            </p:cNvPr>
            <p:cNvSpPr/>
            <p:nvPr/>
          </p:nvSpPr>
          <p:spPr>
            <a:xfrm>
              <a:off x="7991849" y="2583237"/>
              <a:ext cx="45720" cy="45720"/>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49" name="Freeform: Shape 448">
              <a:extLst>
                <a:ext uri="{FF2B5EF4-FFF2-40B4-BE49-F238E27FC236}">
                  <a16:creationId xmlns:a16="http://schemas.microsoft.com/office/drawing/2014/main" id="{D4BD3990-B1EA-4033-95C7-C791F04EF933}"/>
                </a:ext>
              </a:extLst>
            </p:cNvPr>
            <p:cNvSpPr/>
            <p:nvPr/>
          </p:nvSpPr>
          <p:spPr>
            <a:xfrm>
              <a:off x="8089638" y="2583237"/>
              <a:ext cx="45720" cy="45720"/>
            </a:xfrm>
            <a:custGeom>
              <a:avLst/>
              <a:gdLst>
                <a:gd name="connsiteX0" fmla="*/ 53565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5"/>
                    <a:pt x="26783" y="53565"/>
                  </a:cubicBezTo>
                  <a:cubicBezTo>
                    <a:pt x="11991" y="53565"/>
                    <a:pt x="0" y="41574"/>
                    <a:pt x="0" y="26783"/>
                  </a:cubicBezTo>
                  <a:cubicBezTo>
                    <a:pt x="0" y="11991"/>
                    <a:pt x="11991" y="0"/>
                    <a:pt x="26783" y="0"/>
                  </a:cubicBezTo>
                  <a:cubicBezTo>
                    <a:pt x="41574" y="0"/>
                    <a:pt x="53565" y="11991"/>
                    <a:pt x="53565" y="26783"/>
                  </a:cubicBezTo>
                  <a:close/>
                </a:path>
              </a:pathLst>
            </a:custGeom>
            <a:solidFill>
              <a:schemeClr val="accent2"/>
            </a:solidFill>
            <a:ln w="5377" cap="flat">
              <a:noFill/>
              <a:prstDash val="solid"/>
              <a:miter/>
            </a:ln>
          </p:spPr>
          <p:txBody>
            <a:bodyPr rtlCol="0" anchor="ctr"/>
            <a:lstStyle/>
            <a:p>
              <a:endParaRPr lang="en-IN"/>
            </a:p>
          </p:txBody>
        </p:sp>
        <p:sp>
          <p:nvSpPr>
            <p:cNvPr id="450" name="Freeform: Shape 449">
              <a:extLst>
                <a:ext uri="{FF2B5EF4-FFF2-40B4-BE49-F238E27FC236}">
                  <a16:creationId xmlns:a16="http://schemas.microsoft.com/office/drawing/2014/main" id="{2F68B172-BFA7-44AF-BB65-10FB3D9722F1}"/>
                </a:ext>
              </a:extLst>
            </p:cNvPr>
            <p:cNvSpPr/>
            <p:nvPr/>
          </p:nvSpPr>
          <p:spPr>
            <a:xfrm>
              <a:off x="8179027" y="2583237"/>
              <a:ext cx="45720" cy="45720"/>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51" name="Freeform: Shape 450">
              <a:extLst>
                <a:ext uri="{FF2B5EF4-FFF2-40B4-BE49-F238E27FC236}">
                  <a16:creationId xmlns:a16="http://schemas.microsoft.com/office/drawing/2014/main" id="{06A6758F-CEDD-4F01-8170-063A029B4F40}"/>
                </a:ext>
              </a:extLst>
            </p:cNvPr>
            <p:cNvSpPr/>
            <p:nvPr/>
          </p:nvSpPr>
          <p:spPr>
            <a:xfrm>
              <a:off x="8263658" y="2583237"/>
              <a:ext cx="45720" cy="45720"/>
            </a:xfrm>
            <a:custGeom>
              <a:avLst/>
              <a:gdLst>
                <a:gd name="connsiteX0" fmla="*/ 53566 w 53565"/>
                <a:gd name="connsiteY0" fmla="*/ 26783 h 53565"/>
                <a:gd name="connsiteX1" fmla="*/ 26783 w 53565"/>
                <a:gd name="connsiteY1" fmla="*/ 53565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5"/>
                    <a:pt x="26783" y="53565"/>
                  </a:cubicBezTo>
                  <a:cubicBezTo>
                    <a:pt x="11991" y="53565"/>
                    <a:pt x="0" y="41574"/>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53" name="Freeform: Shape 452">
              <a:extLst>
                <a:ext uri="{FF2B5EF4-FFF2-40B4-BE49-F238E27FC236}">
                  <a16:creationId xmlns:a16="http://schemas.microsoft.com/office/drawing/2014/main" id="{A1706802-BC03-4BD2-8516-FF69D465C33A}"/>
                </a:ext>
              </a:extLst>
            </p:cNvPr>
            <p:cNvSpPr/>
            <p:nvPr/>
          </p:nvSpPr>
          <p:spPr>
            <a:xfrm>
              <a:off x="7894058" y="2680224"/>
              <a:ext cx="45720" cy="45720"/>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54" name="Freeform: Shape 453">
              <a:extLst>
                <a:ext uri="{FF2B5EF4-FFF2-40B4-BE49-F238E27FC236}">
                  <a16:creationId xmlns:a16="http://schemas.microsoft.com/office/drawing/2014/main" id="{2B5B1395-366F-4B54-B3E2-B56275E7071C}"/>
                </a:ext>
              </a:extLst>
            </p:cNvPr>
            <p:cNvSpPr/>
            <p:nvPr/>
          </p:nvSpPr>
          <p:spPr>
            <a:xfrm>
              <a:off x="7991849" y="2680224"/>
              <a:ext cx="45720" cy="45720"/>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55" name="Freeform: Shape 454">
              <a:extLst>
                <a:ext uri="{FF2B5EF4-FFF2-40B4-BE49-F238E27FC236}">
                  <a16:creationId xmlns:a16="http://schemas.microsoft.com/office/drawing/2014/main" id="{3973E7A6-16D4-44B3-AE10-BACFB6D4A9F9}"/>
                </a:ext>
              </a:extLst>
            </p:cNvPr>
            <p:cNvSpPr/>
            <p:nvPr/>
          </p:nvSpPr>
          <p:spPr>
            <a:xfrm>
              <a:off x="8089638" y="2680224"/>
              <a:ext cx="45720" cy="45720"/>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6"/>
                    <a:pt x="26783" y="53566"/>
                  </a:cubicBezTo>
                  <a:cubicBezTo>
                    <a:pt x="11991" y="53566"/>
                    <a:pt x="0" y="41575"/>
                    <a:pt x="0" y="26783"/>
                  </a:cubicBezTo>
                  <a:cubicBezTo>
                    <a:pt x="0" y="11991"/>
                    <a:pt x="11991" y="0"/>
                    <a:pt x="26783" y="0"/>
                  </a:cubicBezTo>
                  <a:cubicBezTo>
                    <a:pt x="41574" y="0"/>
                    <a:pt x="53565" y="11991"/>
                    <a:pt x="53565" y="26783"/>
                  </a:cubicBezTo>
                  <a:close/>
                </a:path>
              </a:pathLst>
            </a:custGeom>
            <a:solidFill>
              <a:schemeClr val="accent2"/>
            </a:solidFill>
            <a:ln w="5377" cap="flat">
              <a:noFill/>
              <a:prstDash val="solid"/>
              <a:miter/>
            </a:ln>
          </p:spPr>
          <p:txBody>
            <a:bodyPr rtlCol="0" anchor="ctr"/>
            <a:lstStyle/>
            <a:p>
              <a:endParaRPr lang="en-IN"/>
            </a:p>
          </p:txBody>
        </p:sp>
        <p:sp>
          <p:nvSpPr>
            <p:cNvPr id="456" name="Freeform: Shape 455">
              <a:extLst>
                <a:ext uri="{FF2B5EF4-FFF2-40B4-BE49-F238E27FC236}">
                  <a16:creationId xmlns:a16="http://schemas.microsoft.com/office/drawing/2014/main" id="{A02A6BEE-0B36-4EDE-9D62-5D9BCA848CF9}"/>
                </a:ext>
              </a:extLst>
            </p:cNvPr>
            <p:cNvSpPr/>
            <p:nvPr/>
          </p:nvSpPr>
          <p:spPr>
            <a:xfrm>
              <a:off x="8179027" y="2680224"/>
              <a:ext cx="45720" cy="45720"/>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57" name="Freeform: Shape 456">
              <a:extLst>
                <a:ext uri="{FF2B5EF4-FFF2-40B4-BE49-F238E27FC236}">
                  <a16:creationId xmlns:a16="http://schemas.microsoft.com/office/drawing/2014/main" id="{D3B5447A-DE67-4FFD-B240-9A53AACFB0CF}"/>
                </a:ext>
              </a:extLst>
            </p:cNvPr>
            <p:cNvSpPr/>
            <p:nvPr/>
          </p:nvSpPr>
          <p:spPr>
            <a:xfrm>
              <a:off x="8263658" y="2680224"/>
              <a:ext cx="45720" cy="45720"/>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58" name="Freeform: Shape 457">
              <a:extLst>
                <a:ext uri="{FF2B5EF4-FFF2-40B4-BE49-F238E27FC236}">
                  <a16:creationId xmlns:a16="http://schemas.microsoft.com/office/drawing/2014/main" id="{5B053544-F78C-45DE-A12D-9F2413A41A4E}"/>
                </a:ext>
              </a:extLst>
            </p:cNvPr>
            <p:cNvSpPr/>
            <p:nvPr/>
          </p:nvSpPr>
          <p:spPr>
            <a:xfrm>
              <a:off x="7796269" y="2777241"/>
              <a:ext cx="45720" cy="45720"/>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6"/>
                    <a:pt x="26783" y="53566"/>
                  </a:cubicBezTo>
                  <a:cubicBezTo>
                    <a:pt x="11991" y="53566"/>
                    <a:pt x="0" y="41575"/>
                    <a:pt x="0" y="26783"/>
                  </a:cubicBezTo>
                  <a:cubicBezTo>
                    <a:pt x="0" y="11991"/>
                    <a:pt x="11991" y="0"/>
                    <a:pt x="26783" y="0"/>
                  </a:cubicBezTo>
                  <a:cubicBezTo>
                    <a:pt x="41574" y="0"/>
                    <a:pt x="53565" y="11991"/>
                    <a:pt x="53565" y="26783"/>
                  </a:cubicBezTo>
                  <a:close/>
                </a:path>
              </a:pathLst>
            </a:custGeom>
            <a:solidFill>
              <a:schemeClr val="accent2"/>
            </a:solidFill>
            <a:ln w="5377" cap="flat">
              <a:noFill/>
              <a:prstDash val="solid"/>
              <a:miter/>
            </a:ln>
          </p:spPr>
          <p:txBody>
            <a:bodyPr rtlCol="0" anchor="ctr"/>
            <a:lstStyle/>
            <a:p>
              <a:endParaRPr lang="en-IN"/>
            </a:p>
          </p:txBody>
        </p:sp>
        <p:sp>
          <p:nvSpPr>
            <p:cNvPr id="459" name="Freeform: Shape 458">
              <a:extLst>
                <a:ext uri="{FF2B5EF4-FFF2-40B4-BE49-F238E27FC236}">
                  <a16:creationId xmlns:a16="http://schemas.microsoft.com/office/drawing/2014/main" id="{6FC55605-2BD9-45FF-B402-28DB9FF16EF0}"/>
                </a:ext>
              </a:extLst>
            </p:cNvPr>
            <p:cNvSpPr/>
            <p:nvPr/>
          </p:nvSpPr>
          <p:spPr>
            <a:xfrm>
              <a:off x="7894058" y="2777241"/>
              <a:ext cx="45720" cy="45720"/>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60" name="Freeform: Shape 459">
              <a:extLst>
                <a:ext uri="{FF2B5EF4-FFF2-40B4-BE49-F238E27FC236}">
                  <a16:creationId xmlns:a16="http://schemas.microsoft.com/office/drawing/2014/main" id="{0457D6F6-9CBA-43D8-8F1E-7E2A85B1DA08}"/>
                </a:ext>
              </a:extLst>
            </p:cNvPr>
            <p:cNvSpPr/>
            <p:nvPr/>
          </p:nvSpPr>
          <p:spPr>
            <a:xfrm>
              <a:off x="7991849" y="2777241"/>
              <a:ext cx="45720" cy="45720"/>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61" name="Freeform: Shape 460">
              <a:extLst>
                <a:ext uri="{FF2B5EF4-FFF2-40B4-BE49-F238E27FC236}">
                  <a16:creationId xmlns:a16="http://schemas.microsoft.com/office/drawing/2014/main" id="{3726275E-2A8B-4AD0-B222-335E7ACFC2E7}"/>
                </a:ext>
              </a:extLst>
            </p:cNvPr>
            <p:cNvSpPr/>
            <p:nvPr/>
          </p:nvSpPr>
          <p:spPr>
            <a:xfrm>
              <a:off x="8089638" y="2777241"/>
              <a:ext cx="45720" cy="45720"/>
            </a:xfrm>
            <a:custGeom>
              <a:avLst/>
              <a:gdLst>
                <a:gd name="connsiteX0" fmla="*/ 53565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5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5" y="26783"/>
                  </a:moveTo>
                  <a:cubicBezTo>
                    <a:pt x="53565" y="41574"/>
                    <a:pt x="41574" y="53566"/>
                    <a:pt x="26783" y="53566"/>
                  </a:cubicBezTo>
                  <a:cubicBezTo>
                    <a:pt x="11991" y="53566"/>
                    <a:pt x="0" y="41575"/>
                    <a:pt x="0" y="26783"/>
                  </a:cubicBezTo>
                  <a:cubicBezTo>
                    <a:pt x="0" y="11991"/>
                    <a:pt x="11991" y="0"/>
                    <a:pt x="26783" y="0"/>
                  </a:cubicBezTo>
                  <a:cubicBezTo>
                    <a:pt x="41574" y="0"/>
                    <a:pt x="53565" y="11991"/>
                    <a:pt x="53565" y="26783"/>
                  </a:cubicBezTo>
                  <a:close/>
                </a:path>
              </a:pathLst>
            </a:custGeom>
            <a:solidFill>
              <a:schemeClr val="accent2"/>
            </a:solidFill>
            <a:ln w="5377" cap="flat">
              <a:noFill/>
              <a:prstDash val="solid"/>
              <a:miter/>
            </a:ln>
          </p:spPr>
          <p:txBody>
            <a:bodyPr rtlCol="0" anchor="ctr"/>
            <a:lstStyle/>
            <a:p>
              <a:endParaRPr lang="en-IN"/>
            </a:p>
          </p:txBody>
        </p:sp>
        <p:sp>
          <p:nvSpPr>
            <p:cNvPr id="462" name="Freeform: Shape 461">
              <a:extLst>
                <a:ext uri="{FF2B5EF4-FFF2-40B4-BE49-F238E27FC236}">
                  <a16:creationId xmlns:a16="http://schemas.microsoft.com/office/drawing/2014/main" id="{78862AE2-822B-4DD7-AE78-C7C0D3A1EB53}"/>
                </a:ext>
              </a:extLst>
            </p:cNvPr>
            <p:cNvSpPr/>
            <p:nvPr/>
          </p:nvSpPr>
          <p:spPr>
            <a:xfrm>
              <a:off x="8179027" y="2777241"/>
              <a:ext cx="45720" cy="45720"/>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sp>
          <p:nvSpPr>
            <p:cNvPr id="463" name="Freeform: Shape 462">
              <a:extLst>
                <a:ext uri="{FF2B5EF4-FFF2-40B4-BE49-F238E27FC236}">
                  <a16:creationId xmlns:a16="http://schemas.microsoft.com/office/drawing/2014/main" id="{510AAF7D-DC18-465D-98E1-29473031F1DE}"/>
                </a:ext>
              </a:extLst>
            </p:cNvPr>
            <p:cNvSpPr/>
            <p:nvPr/>
          </p:nvSpPr>
          <p:spPr>
            <a:xfrm>
              <a:off x="8263658" y="2777241"/>
              <a:ext cx="45720" cy="45720"/>
            </a:xfrm>
            <a:custGeom>
              <a:avLst/>
              <a:gdLst>
                <a:gd name="connsiteX0" fmla="*/ 53566 w 53565"/>
                <a:gd name="connsiteY0" fmla="*/ 26783 h 53565"/>
                <a:gd name="connsiteX1" fmla="*/ 26783 w 53565"/>
                <a:gd name="connsiteY1" fmla="*/ 53566 h 53565"/>
                <a:gd name="connsiteX2" fmla="*/ 0 w 53565"/>
                <a:gd name="connsiteY2" fmla="*/ 26783 h 53565"/>
                <a:gd name="connsiteX3" fmla="*/ 26783 w 53565"/>
                <a:gd name="connsiteY3" fmla="*/ 0 h 53565"/>
                <a:gd name="connsiteX4" fmla="*/ 53566 w 53565"/>
                <a:gd name="connsiteY4" fmla="*/ 26783 h 53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65" h="53565">
                  <a:moveTo>
                    <a:pt x="53566" y="26783"/>
                  </a:moveTo>
                  <a:cubicBezTo>
                    <a:pt x="53566" y="41574"/>
                    <a:pt x="41575" y="53566"/>
                    <a:pt x="26783" y="53566"/>
                  </a:cubicBezTo>
                  <a:cubicBezTo>
                    <a:pt x="11991" y="53566"/>
                    <a:pt x="0" y="41575"/>
                    <a:pt x="0" y="26783"/>
                  </a:cubicBezTo>
                  <a:cubicBezTo>
                    <a:pt x="0" y="11991"/>
                    <a:pt x="11991" y="0"/>
                    <a:pt x="26783" y="0"/>
                  </a:cubicBezTo>
                  <a:cubicBezTo>
                    <a:pt x="41575" y="0"/>
                    <a:pt x="53566" y="11991"/>
                    <a:pt x="53566" y="26783"/>
                  </a:cubicBezTo>
                  <a:close/>
                </a:path>
              </a:pathLst>
            </a:custGeom>
            <a:solidFill>
              <a:schemeClr val="accent2"/>
            </a:solidFill>
            <a:ln w="5377" cap="flat">
              <a:noFill/>
              <a:prstDash val="solid"/>
              <a:miter/>
            </a:ln>
          </p:spPr>
          <p:txBody>
            <a:bodyPr rtlCol="0" anchor="ctr"/>
            <a:lstStyle/>
            <a:p>
              <a:endParaRPr lang="en-IN"/>
            </a:p>
          </p:txBody>
        </p:sp>
        <p:grpSp>
          <p:nvGrpSpPr>
            <p:cNvPr id="387" name="Group 386">
              <a:extLst>
                <a:ext uri="{FF2B5EF4-FFF2-40B4-BE49-F238E27FC236}">
                  <a16:creationId xmlns:a16="http://schemas.microsoft.com/office/drawing/2014/main" id="{AFF5FA93-7F59-4115-8B15-2FA1CA4BDD79}"/>
                </a:ext>
              </a:extLst>
            </p:cNvPr>
            <p:cNvGrpSpPr/>
            <p:nvPr/>
          </p:nvGrpSpPr>
          <p:grpSpPr>
            <a:xfrm>
              <a:off x="6968213" y="2089935"/>
              <a:ext cx="376230" cy="668757"/>
              <a:chOff x="7049328" y="2021267"/>
              <a:chExt cx="465349" cy="827168"/>
            </a:xfrm>
            <a:solidFill>
              <a:schemeClr val="accent4">
                <a:alpha val="60000"/>
              </a:schemeClr>
            </a:solidFill>
          </p:grpSpPr>
          <p:sp>
            <p:nvSpPr>
              <p:cNvPr id="382" name="Freeform 9">
                <a:extLst>
                  <a:ext uri="{FF2B5EF4-FFF2-40B4-BE49-F238E27FC236}">
                    <a16:creationId xmlns:a16="http://schemas.microsoft.com/office/drawing/2014/main" id="{15658945-7383-410A-9DE8-F466BC8CA8E0}"/>
                  </a:ext>
                </a:extLst>
              </p:cNvPr>
              <p:cNvSpPr>
                <a:spLocks/>
              </p:cNvSpPr>
              <p:nvPr/>
            </p:nvSpPr>
            <p:spPr bwMode="auto">
              <a:xfrm rot="10843203">
                <a:off x="7055094" y="2521148"/>
                <a:ext cx="458203" cy="327287"/>
              </a:xfrm>
              <a:custGeom>
                <a:avLst/>
                <a:gdLst>
                  <a:gd name="T0" fmla="*/ 166 w 178"/>
                  <a:gd name="T1" fmla="*/ 0 h 126"/>
                  <a:gd name="T2" fmla="*/ 173 w 178"/>
                  <a:gd name="T3" fmla="*/ 13 h 126"/>
                  <a:gd name="T4" fmla="*/ 98 w 178"/>
                  <a:gd name="T5" fmla="*/ 119 h 126"/>
                  <a:gd name="T6" fmla="*/ 80 w 178"/>
                  <a:gd name="T7" fmla="*/ 119 h 126"/>
                  <a:gd name="T8" fmla="*/ 5 w 178"/>
                  <a:gd name="T9" fmla="*/ 13 h 126"/>
                  <a:gd name="T10" fmla="*/ 12 w 178"/>
                  <a:gd name="T11" fmla="*/ 0 h 126"/>
                  <a:gd name="T12" fmla="*/ 166 w 178"/>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178" h="126">
                    <a:moveTo>
                      <a:pt x="166" y="0"/>
                    </a:moveTo>
                    <a:cubicBezTo>
                      <a:pt x="175" y="0"/>
                      <a:pt x="178" y="6"/>
                      <a:pt x="173" y="13"/>
                    </a:cubicBezTo>
                    <a:cubicBezTo>
                      <a:pt x="98" y="119"/>
                      <a:pt x="98" y="119"/>
                      <a:pt x="98" y="119"/>
                    </a:cubicBezTo>
                    <a:cubicBezTo>
                      <a:pt x="93" y="126"/>
                      <a:pt x="85" y="126"/>
                      <a:pt x="80" y="119"/>
                    </a:cubicBezTo>
                    <a:cubicBezTo>
                      <a:pt x="5" y="13"/>
                      <a:pt x="5" y="13"/>
                      <a:pt x="5" y="13"/>
                    </a:cubicBezTo>
                    <a:cubicBezTo>
                      <a:pt x="0" y="6"/>
                      <a:pt x="3" y="0"/>
                      <a:pt x="12" y="0"/>
                    </a:cubicBezTo>
                    <a:lnTo>
                      <a:pt x="166"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83" name="Freeform 9">
                <a:extLst>
                  <a:ext uri="{FF2B5EF4-FFF2-40B4-BE49-F238E27FC236}">
                    <a16:creationId xmlns:a16="http://schemas.microsoft.com/office/drawing/2014/main" id="{8ADE49DE-2F84-4EE0-828C-651BE39BC9A1}"/>
                  </a:ext>
                </a:extLst>
              </p:cNvPr>
              <p:cNvSpPr>
                <a:spLocks/>
              </p:cNvSpPr>
              <p:nvPr/>
            </p:nvSpPr>
            <p:spPr bwMode="auto">
              <a:xfrm rot="10843203">
                <a:off x="7049328" y="2271207"/>
                <a:ext cx="458203" cy="327287"/>
              </a:xfrm>
              <a:custGeom>
                <a:avLst/>
                <a:gdLst>
                  <a:gd name="T0" fmla="*/ 166 w 178"/>
                  <a:gd name="T1" fmla="*/ 0 h 126"/>
                  <a:gd name="T2" fmla="*/ 173 w 178"/>
                  <a:gd name="T3" fmla="*/ 13 h 126"/>
                  <a:gd name="T4" fmla="*/ 98 w 178"/>
                  <a:gd name="T5" fmla="*/ 119 h 126"/>
                  <a:gd name="T6" fmla="*/ 80 w 178"/>
                  <a:gd name="T7" fmla="*/ 119 h 126"/>
                  <a:gd name="T8" fmla="*/ 5 w 178"/>
                  <a:gd name="T9" fmla="*/ 13 h 126"/>
                  <a:gd name="T10" fmla="*/ 12 w 178"/>
                  <a:gd name="T11" fmla="*/ 0 h 126"/>
                  <a:gd name="T12" fmla="*/ 166 w 178"/>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178" h="126">
                    <a:moveTo>
                      <a:pt x="166" y="0"/>
                    </a:moveTo>
                    <a:cubicBezTo>
                      <a:pt x="175" y="0"/>
                      <a:pt x="178" y="6"/>
                      <a:pt x="173" y="13"/>
                    </a:cubicBezTo>
                    <a:cubicBezTo>
                      <a:pt x="98" y="119"/>
                      <a:pt x="98" y="119"/>
                      <a:pt x="98" y="119"/>
                    </a:cubicBezTo>
                    <a:cubicBezTo>
                      <a:pt x="93" y="126"/>
                      <a:pt x="85" y="126"/>
                      <a:pt x="80" y="119"/>
                    </a:cubicBezTo>
                    <a:cubicBezTo>
                      <a:pt x="5" y="13"/>
                      <a:pt x="5" y="13"/>
                      <a:pt x="5" y="13"/>
                    </a:cubicBezTo>
                    <a:cubicBezTo>
                      <a:pt x="0" y="6"/>
                      <a:pt x="3" y="0"/>
                      <a:pt x="12" y="0"/>
                    </a:cubicBezTo>
                    <a:lnTo>
                      <a:pt x="166"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84" name="Freeform 9">
                <a:extLst>
                  <a:ext uri="{FF2B5EF4-FFF2-40B4-BE49-F238E27FC236}">
                    <a16:creationId xmlns:a16="http://schemas.microsoft.com/office/drawing/2014/main" id="{A9BD7805-514A-46BB-A8B1-A5CAEFEFC8DB}"/>
                  </a:ext>
                </a:extLst>
              </p:cNvPr>
              <p:cNvSpPr>
                <a:spLocks/>
              </p:cNvSpPr>
              <p:nvPr/>
            </p:nvSpPr>
            <p:spPr bwMode="auto">
              <a:xfrm rot="10843203">
                <a:off x="7056474" y="2021267"/>
                <a:ext cx="458203" cy="327287"/>
              </a:xfrm>
              <a:custGeom>
                <a:avLst/>
                <a:gdLst>
                  <a:gd name="T0" fmla="*/ 166 w 178"/>
                  <a:gd name="T1" fmla="*/ 0 h 126"/>
                  <a:gd name="T2" fmla="*/ 173 w 178"/>
                  <a:gd name="T3" fmla="*/ 13 h 126"/>
                  <a:gd name="T4" fmla="*/ 98 w 178"/>
                  <a:gd name="T5" fmla="*/ 119 h 126"/>
                  <a:gd name="T6" fmla="*/ 80 w 178"/>
                  <a:gd name="T7" fmla="*/ 119 h 126"/>
                  <a:gd name="T8" fmla="*/ 5 w 178"/>
                  <a:gd name="T9" fmla="*/ 13 h 126"/>
                  <a:gd name="T10" fmla="*/ 12 w 178"/>
                  <a:gd name="T11" fmla="*/ 0 h 126"/>
                  <a:gd name="T12" fmla="*/ 166 w 178"/>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178" h="126">
                    <a:moveTo>
                      <a:pt x="166" y="0"/>
                    </a:moveTo>
                    <a:cubicBezTo>
                      <a:pt x="175" y="0"/>
                      <a:pt x="178" y="6"/>
                      <a:pt x="173" y="13"/>
                    </a:cubicBezTo>
                    <a:cubicBezTo>
                      <a:pt x="98" y="119"/>
                      <a:pt x="98" y="119"/>
                      <a:pt x="98" y="119"/>
                    </a:cubicBezTo>
                    <a:cubicBezTo>
                      <a:pt x="93" y="126"/>
                      <a:pt x="85" y="126"/>
                      <a:pt x="80" y="119"/>
                    </a:cubicBezTo>
                    <a:cubicBezTo>
                      <a:pt x="5" y="13"/>
                      <a:pt x="5" y="13"/>
                      <a:pt x="5" y="13"/>
                    </a:cubicBezTo>
                    <a:cubicBezTo>
                      <a:pt x="0" y="6"/>
                      <a:pt x="3" y="0"/>
                      <a:pt x="12" y="0"/>
                    </a:cubicBezTo>
                    <a:lnTo>
                      <a:pt x="166"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pic>
          <p:nvPicPr>
            <p:cNvPr id="371" name="Picture 370" descr="A white and black clock&#10;&#10;Description automatically generated">
              <a:extLst>
                <a:ext uri="{FF2B5EF4-FFF2-40B4-BE49-F238E27FC236}">
                  <a16:creationId xmlns:a16="http://schemas.microsoft.com/office/drawing/2014/main" id="{60F7CFC4-6638-4C46-BCE6-81116A3799F5}"/>
                </a:ext>
              </a:extLst>
            </p:cNvPr>
            <p:cNvPicPr>
              <a:picLocks noChangeAspect="1"/>
            </p:cNvPicPr>
            <p:nvPr/>
          </p:nvPicPr>
          <p:blipFill rotWithShape="1">
            <a:blip r:embed="rId5" cstate="screen">
              <a:alphaModFix/>
              <a:extLst>
                <a:ext uri="{28A0092B-C50C-407E-A947-70E740481C1C}">
                  <a14:useLocalDpi xmlns:a14="http://schemas.microsoft.com/office/drawing/2010/main"/>
                </a:ext>
              </a:extLst>
            </a:blip>
            <a:srcRect/>
            <a:stretch/>
          </p:blipFill>
          <p:spPr>
            <a:xfrm>
              <a:off x="7047269" y="2114985"/>
              <a:ext cx="1165833" cy="784390"/>
            </a:xfrm>
            <a:prstGeom prst="rect">
              <a:avLst/>
            </a:prstGeom>
          </p:spPr>
        </p:pic>
        <p:sp>
          <p:nvSpPr>
            <p:cNvPr id="372" name="Oval 371">
              <a:extLst>
                <a:ext uri="{FF2B5EF4-FFF2-40B4-BE49-F238E27FC236}">
                  <a16:creationId xmlns:a16="http://schemas.microsoft.com/office/drawing/2014/main" id="{DC9B68D2-ED2C-4D7D-B440-30B1C489BDA0}"/>
                </a:ext>
              </a:extLst>
            </p:cNvPr>
            <p:cNvSpPr/>
            <p:nvPr/>
          </p:nvSpPr>
          <p:spPr>
            <a:xfrm>
              <a:off x="7832680" y="2083363"/>
              <a:ext cx="340952" cy="340951"/>
            </a:xfrm>
            <a:prstGeom prst="ellipse">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0" name="Group 389">
              <a:extLst>
                <a:ext uri="{FF2B5EF4-FFF2-40B4-BE49-F238E27FC236}">
                  <a16:creationId xmlns:a16="http://schemas.microsoft.com/office/drawing/2014/main" id="{09BD07B4-E2CC-4835-B6CA-F6AEDC9D1CA3}"/>
                </a:ext>
              </a:extLst>
            </p:cNvPr>
            <p:cNvGrpSpPr/>
            <p:nvPr/>
          </p:nvGrpSpPr>
          <p:grpSpPr>
            <a:xfrm>
              <a:off x="7766302" y="2431667"/>
              <a:ext cx="155953" cy="161876"/>
              <a:chOff x="7787119" y="2432605"/>
              <a:chExt cx="155953" cy="161876"/>
            </a:xfrm>
          </p:grpSpPr>
          <p:sp>
            <p:nvSpPr>
              <p:cNvPr id="375" name="Freeform 9">
                <a:extLst>
                  <a:ext uri="{FF2B5EF4-FFF2-40B4-BE49-F238E27FC236}">
                    <a16:creationId xmlns:a16="http://schemas.microsoft.com/office/drawing/2014/main" id="{B8196621-30D6-44ED-BA43-70A5B1A389CB}"/>
                  </a:ext>
                </a:extLst>
              </p:cNvPr>
              <p:cNvSpPr>
                <a:spLocks/>
              </p:cNvSpPr>
              <p:nvPr/>
            </p:nvSpPr>
            <p:spPr bwMode="auto">
              <a:xfrm rot="20030204">
                <a:off x="7787119" y="2432605"/>
                <a:ext cx="114450" cy="81750"/>
              </a:xfrm>
              <a:custGeom>
                <a:avLst/>
                <a:gdLst>
                  <a:gd name="T0" fmla="*/ 166 w 178"/>
                  <a:gd name="T1" fmla="*/ 0 h 126"/>
                  <a:gd name="T2" fmla="*/ 173 w 178"/>
                  <a:gd name="T3" fmla="*/ 13 h 126"/>
                  <a:gd name="T4" fmla="*/ 98 w 178"/>
                  <a:gd name="T5" fmla="*/ 119 h 126"/>
                  <a:gd name="T6" fmla="*/ 80 w 178"/>
                  <a:gd name="T7" fmla="*/ 119 h 126"/>
                  <a:gd name="T8" fmla="*/ 5 w 178"/>
                  <a:gd name="T9" fmla="*/ 13 h 126"/>
                  <a:gd name="T10" fmla="*/ 12 w 178"/>
                  <a:gd name="T11" fmla="*/ 0 h 126"/>
                  <a:gd name="T12" fmla="*/ 166 w 178"/>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178" h="126">
                    <a:moveTo>
                      <a:pt x="166" y="0"/>
                    </a:moveTo>
                    <a:cubicBezTo>
                      <a:pt x="175" y="0"/>
                      <a:pt x="178" y="6"/>
                      <a:pt x="173" y="13"/>
                    </a:cubicBezTo>
                    <a:cubicBezTo>
                      <a:pt x="98" y="119"/>
                      <a:pt x="98" y="119"/>
                      <a:pt x="98" y="119"/>
                    </a:cubicBezTo>
                    <a:cubicBezTo>
                      <a:pt x="93" y="126"/>
                      <a:pt x="85" y="126"/>
                      <a:pt x="80" y="119"/>
                    </a:cubicBezTo>
                    <a:cubicBezTo>
                      <a:pt x="5" y="13"/>
                      <a:pt x="5" y="13"/>
                      <a:pt x="5" y="13"/>
                    </a:cubicBezTo>
                    <a:cubicBezTo>
                      <a:pt x="0" y="6"/>
                      <a:pt x="3" y="0"/>
                      <a:pt x="12" y="0"/>
                    </a:cubicBezTo>
                    <a:lnTo>
                      <a:pt x="166" y="0"/>
                    </a:lnTo>
                    <a:close/>
                  </a:path>
                </a:pathLst>
              </a:custGeom>
              <a:solidFill>
                <a:schemeClr val="accent1">
                  <a:alpha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76" name="Freeform 9">
                <a:extLst>
                  <a:ext uri="{FF2B5EF4-FFF2-40B4-BE49-F238E27FC236}">
                    <a16:creationId xmlns:a16="http://schemas.microsoft.com/office/drawing/2014/main" id="{55816AAB-6EEB-48B5-B53A-2FE228B0F89B}"/>
                  </a:ext>
                </a:extLst>
              </p:cNvPr>
              <p:cNvSpPr>
                <a:spLocks/>
              </p:cNvSpPr>
              <p:nvPr/>
            </p:nvSpPr>
            <p:spPr bwMode="auto">
              <a:xfrm rot="20030204">
                <a:off x="7806402" y="2472940"/>
                <a:ext cx="114450" cy="81750"/>
              </a:xfrm>
              <a:custGeom>
                <a:avLst/>
                <a:gdLst>
                  <a:gd name="T0" fmla="*/ 166 w 178"/>
                  <a:gd name="T1" fmla="*/ 0 h 126"/>
                  <a:gd name="T2" fmla="*/ 173 w 178"/>
                  <a:gd name="T3" fmla="*/ 13 h 126"/>
                  <a:gd name="T4" fmla="*/ 98 w 178"/>
                  <a:gd name="T5" fmla="*/ 119 h 126"/>
                  <a:gd name="T6" fmla="*/ 80 w 178"/>
                  <a:gd name="T7" fmla="*/ 119 h 126"/>
                  <a:gd name="T8" fmla="*/ 5 w 178"/>
                  <a:gd name="T9" fmla="*/ 13 h 126"/>
                  <a:gd name="T10" fmla="*/ 12 w 178"/>
                  <a:gd name="T11" fmla="*/ 0 h 126"/>
                  <a:gd name="T12" fmla="*/ 166 w 178"/>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178" h="126">
                    <a:moveTo>
                      <a:pt x="166" y="0"/>
                    </a:moveTo>
                    <a:cubicBezTo>
                      <a:pt x="175" y="0"/>
                      <a:pt x="178" y="6"/>
                      <a:pt x="173" y="13"/>
                    </a:cubicBezTo>
                    <a:cubicBezTo>
                      <a:pt x="98" y="119"/>
                      <a:pt x="98" y="119"/>
                      <a:pt x="98" y="119"/>
                    </a:cubicBezTo>
                    <a:cubicBezTo>
                      <a:pt x="93" y="126"/>
                      <a:pt x="85" y="126"/>
                      <a:pt x="80" y="119"/>
                    </a:cubicBezTo>
                    <a:cubicBezTo>
                      <a:pt x="5" y="13"/>
                      <a:pt x="5" y="13"/>
                      <a:pt x="5" y="13"/>
                    </a:cubicBezTo>
                    <a:cubicBezTo>
                      <a:pt x="0" y="6"/>
                      <a:pt x="3" y="0"/>
                      <a:pt x="12" y="0"/>
                    </a:cubicBezTo>
                    <a:lnTo>
                      <a:pt x="166" y="0"/>
                    </a:lnTo>
                    <a:close/>
                  </a:path>
                </a:pathLst>
              </a:custGeom>
              <a:solidFill>
                <a:schemeClr val="accent1">
                  <a:alpha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77" name="Freeform 9">
                <a:extLst>
                  <a:ext uri="{FF2B5EF4-FFF2-40B4-BE49-F238E27FC236}">
                    <a16:creationId xmlns:a16="http://schemas.microsoft.com/office/drawing/2014/main" id="{225D47D1-805A-4357-B665-FE126E727699}"/>
                  </a:ext>
                </a:extLst>
              </p:cNvPr>
              <p:cNvSpPr>
                <a:spLocks/>
              </p:cNvSpPr>
              <p:nvPr/>
            </p:nvSpPr>
            <p:spPr bwMode="auto">
              <a:xfrm rot="20030204">
                <a:off x="7828622" y="2512731"/>
                <a:ext cx="114450" cy="81750"/>
              </a:xfrm>
              <a:custGeom>
                <a:avLst/>
                <a:gdLst>
                  <a:gd name="T0" fmla="*/ 166 w 178"/>
                  <a:gd name="T1" fmla="*/ 0 h 126"/>
                  <a:gd name="T2" fmla="*/ 173 w 178"/>
                  <a:gd name="T3" fmla="*/ 13 h 126"/>
                  <a:gd name="T4" fmla="*/ 98 w 178"/>
                  <a:gd name="T5" fmla="*/ 119 h 126"/>
                  <a:gd name="T6" fmla="*/ 80 w 178"/>
                  <a:gd name="T7" fmla="*/ 119 h 126"/>
                  <a:gd name="T8" fmla="*/ 5 w 178"/>
                  <a:gd name="T9" fmla="*/ 13 h 126"/>
                  <a:gd name="T10" fmla="*/ 12 w 178"/>
                  <a:gd name="T11" fmla="*/ 0 h 126"/>
                  <a:gd name="T12" fmla="*/ 166 w 178"/>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178" h="126">
                    <a:moveTo>
                      <a:pt x="166" y="0"/>
                    </a:moveTo>
                    <a:cubicBezTo>
                      <a:pt x="175" y="0"/>
                      <a:pt x="178" y="6"/>
                      <a:pt x="173" y="13"/>
                    </a:cubicBezTo>
                    <a:cubicBezTo>
                      <a:pt x="98" y="119"/>
                      <a:pt x="98" y="119"/>
                      <a:pt x="98" y="119"/>
                    </a:cubicBezTo>
                    <a:cubicBezTo>
                      <a:pt x="93" y="126"/>
                      <a:pt x="85" y="126"/>
                      <a:pt x="80" y="119"/>
                    </a:cubicBezTo>
                    <a:cubicBezTo>
                      <a:pt x="5" y="13"/>
                      <a:pt x="5" y="13"/>
                      <a:pt x="5" y="13"/>
                    </a:cubicBezTo>
                    <a:cubicBezTo>
                      <a:pt x="0" y="6"/>
                      <a:pt x="3" y="0"/>
                      <a:pt x="12" y="0"/>
                    </a:cubicBezTo>
                    <a:lnTo>
                      <a:pt x="166" y="0"/>
                    </a:lnTo>
                    <a:close/>
                  </a:path>
                </a:pathLst>
              </a:custGeom>
              <a:solidFill>
                <a:schemeClr val="accent1">
                  <a:alpha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378" name="Arc 377">
              <a:extLst>
                <a:ext uri="{FF2B5EF4-FFF2-40B4-BE49-F238E27FC236}">
                  <a16:creationId xmlns:a16="http://schemas.microsoft.com/office/drawing/2014/main" id="{DFE45E3F-A928-4466-901A-F85EB1D7BEB0}"/>
                </a:ext>
              </a:extLst>
            </p:cNvPr>
            <p:cNvSpPr/>
            <p:nvPr/>
          </p:nvSpPr>
          <p:spPr>
            <a:xfrm>
              <a:off x="7397151" y="2305076"/>
              <a:ext cx="450176" cy="450175"/>
            </a:xfrm>
            <a:prstGeom prst="arc">
              <a:avLst>
                <a:gd name="adj1" fmla="val 8656954"/>
                <a:gd name="adj2" fmla="val 19202128"/>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9" name="Oval 388">
              <a:extLst>
                <a:ext uri="{FF2B5EF4-FFF2-40B4-BE49-F238E27FC236}">
                  <a16:creationId xmlns:a16="http://schemas.microsoft.com/office/drawing/2014/main" id="{27F24099-AF3B-4A5A-AB65-8135A4A0A9A6}"/>
                </a:ext>
              </a:extLst>
            </p:cNvPr>
            <p:cNvSpPr/>
            <p:nvPr/>
          </p:nvSpPr>
          <p:spPr>
            <a:xfrm>
              <a:off x="7191426" y="2585319"/>
              <a:ext cx="381056" cy="381056"/>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3" name="Picture 42" descr="A picture containing sitting, black, dark, photo&#10;&#10;Description automatically generated">
            <a:extLst>
              <a:ext uri="{FF2B5EF4-FFF2-40B4-BE49-F238E27FC236}">
                <a16:creationId xmlns:a16="http://schemas.microsoft.com/office/drawing/2014/main" id="{345550CA-D7A7-4673-90D5-D224BBA851E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09865" y="2003061"/>
            <a:ext cx="994376" cy="994376"/>
          </a:xfrm>
          <a:prstGeom prst="rect">
            <a:avLst/>
          </a:prstGeom>
        </p:spPr>
      </p:pic>
      <p:pic>
        <p:nvPicPr>
          <p:cNvPr id="45" name="Picture 44" descr="A hand holding a camera&#10;&#10;Description automatically generated">
            <a:extLst>
              <a:ext uri="{FF2B5EF4-FFF2-40B4-BE49-F238E27FC236}">
                <a16:creationId xmlns:a16="http://schemas.microsoft.com/office/drawing/2014/main" id="{07EFF3C7-F32F-4594-85BB-57937220C7A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800504" y="1989040"/>
            <a:ext cx="1066874" cy="1004654"/>
          </a:xfrm>
          <a:prstGeom prst="ellipse">
            <a:avLst/>
          </a:prstGeom>
        </p:spPr>
      </p:pic>
      <p:sp>
        <p:nvSpPr>
          <p:cNvPr id="501" name="Freeform: Shape 341">
            <a:extLst>
              <a:ext uri="{FF2B5EF4-FFF2-40B4-BE49-F238E27FC236}">
                <a16:creationId xmlns:a16="http://schemas.microsoft.com/office/drawing/2014/main" id="{23182E66-D8AC-49D1-BCDE-A0ED898AA646}"/>
              </a:ext>
            </a:extLst>
          </p:cNvPr>
          <p:cNvSpPr/>
          <p:nvPr/>
        </p:nvSpPr>
        <p:spPr>
          <a:xfrm>
            <a:off x="5072023" y="1940952"/>
            <a:ext cx="756997" cy="756996"/>
          </a:xfrm>
          <a:custGeom>
            <a:avLst/>
            <a:gdLst>
              <a:gd name="connsiteX0" fmla="*/ 1842817 w 1842816"/>
              <a:gd name="connsiteY0" fmla="*/ 921409 h 1842816"/>
              <a:gd name="connsiteX1" fmla="*/ 921408 w 1842816"/>
              <a:gd name="connsiteY1" fmla="*/ 1842817 h 1842816"/>
              <a:gd name="connsiteX2" fmla="*/ 0 w 1842816"/>
              <a:gd name="connsiteY2" fmla="*/ 921409 h 1842816"/>
              <a:gd name="connsiteX3" fmla="*/ 921408 w 1842816"/>
              <a:gd name="connsiteY3" fmla="*/ 0 h 1842816"/>
              <a:gd name="connsiteX4" fmla="*/ 1842817 w 1842816"/>
              <a:gd name="connsiteY4" fmla="*/ 921409 h 1842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2816" h="1842816">
                <a:moveTo>
                  <a:pt x="1842817" y="921409"/>
                </a:moveTo>
                <a:cubicBezTo>
                  <a:pt x="1842817" y="1430288"/>
                  <a:pt x="1430288" y="1842817"/>
                  <a:pt x="921408" y="1842817"/>
                </a:cubicBezTo>
                <a:cubicBezTo>
                  <a:pt x="412529" y="1842817"/>
                  <a:pt x="0" y="1430288"/>
                  <a:pt x="0" y="921409"/>
                </a:cubicBezTo>
                <a:cubicBezTo>
                  <a:pt x="0" y="412529"/>
                  <a:pt x="412529" y="0"/>
                  <a:pt x="921408" y="0"/>
                </a:cubicBezTo>
                <a:cubicBezTo>
                  <a:pt x="1430288" y="0"/>
                  <a:pt x="1842817" y="412529"/>
                  <a:pt x="1842817" y="921409"/>
                </a:cubicBezTo>
                <a:close/>
              </a:path>
            </a:pathLst>
          </a:custGeom>
          <a:solidFill>
            <a:schemeClr val="accent2">
              <a:alpha val="40000"/>
            </a:schemeClr>
          </a:solidFill>
          <a:ln w="4747" cap="flat">
            <a:noFill/>
            <a:prstDash val="solid"/>
            <a:miter/>
          </a:ln>
        </p:spPr>
        <p:txBody>
          <a:bodyPr rtlCol="0" anchor="ctr"/>
          <a:lstStyle/>
          <a:p>
            <a:endParaRPr lang="en-US"/>
          </a:p>
        </p:txBody>
      </p:sp>
      <p:pic>
        <p:nvPicPr>
          <p:cNvPr id="34" name="Picture 340" descr="A picture containing sitting, black, white, water&#10;&#10;Description automatically generated">
            <a:extLst>
              <a:ext uri="{FF2B5EF4-FFF2-40B4-BE49-F238E27FC236}">
                <a16:creationId xmlns:a16="http://schemas.microsoft.com/office/drawing/2014/main" id="{E715B225-1B17-4548-87CF-095831939A60}"/>
              </a:ext>
            </a:extLst>
          </p:cNvPr>
          <p:cNvPicPr>
            <a:picLocks noChangeAspect="1"/>
          </p:cNvPicPr>
          <p:nvPr/>
        </p:nvPicPr>
        <p:blipFill rotWithShape="1">
          <a:blip r:embed="rId8" cstate="screen">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p:blipFill>
        <p:spPr>
          <a:xfrm rot="2700000" flipH="1">
            <a:off x="4493975" y="1855528"/>
            <a:ext cx="1796849" cy="1200905"/>
          </a:xfrm>
          <a:custGeom>
            <a:avLst/>
            <a:gdLst>
              <a:gd name="connsiteX0" fmla="*/ 5125544 w 5125544"/>
              <a:gd name="connsiteY0" fmla="*/ 0 h 4464180"/>
              <a:gd name="connsiteX1" fmla="*/ 1794995 w 5125544"/>
              <a:gd name="connsiteY1" fmla="*/ 1 h 4464180"/>
              <a:gd name="connsiteX2" fmla="*/ 27002 w 5125544"/>
              <a:gd name="connsiteY2" fmla="*/ 1767995 h 4464180"/>
              <a:gd name="connsiteX3" fmla="*/ 16860 w 5125544"/>
              <a:gd name="connsiteY3" fmla="*/ 1877362 h 4464180"/>
              <a:gd name="connsiteX4" fmla="*/ 0 w 5125544"/>
              <a:gd name="connsiteY4" fmla="*/ 1968821 h 4464180"/>
              <a:gd name="connsiteX5" fmla="*/ 2495359 w 5125544"/>
              <a:gd name="connsiteY5" fmla="*/ 4464180 h 4464180"/>
              <a:gd name="connsiteX6" fmla="*/ 5125544 w 5125544"/>
              <a:gd name="connsiteY6" fmla="*/ 4464180 h 44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544" h="4464180">
                <a:moveTo>
                  <a:pt x="5125544" y="0"/>
                </a:moveTo>
                <a:lnTo>
                  <a:pt x="1794995" y="1"/>
                </a:lnTo>
                <a:lnTo>
                  <a:pt x="27002" y="1767995"/>
                </a:lnTo>
                <a:lnTo>
                  <a:pt x="16860" y="1877362"/>
                </a:lnTo>
                <a:lnTo>
                  <a:pt x="0" y="1968821"/>
                </a:lnTo>
                <a:lnTo>
                  <a:pt x="2495359" y="4464180"/>
                </a:lnTo>
                <a:lnTo>
                  <a:pt x="5125544" y="4464180"/>
                </a:lnTo>
                <a:close/>
              </a:path>
            </a:pathLst>
          </a:custGeom>
        </p:spPr>
      </p:pic>
    </p:spTree>
    <p:extLst>
      <p:ext uri="{BB962C8B-B14F-4D97-AF65-F5344CB8AC3E}">
        <p14:creationId xmlns:p14="http://schemas.microsoft.com/office/powerpoint/2010/main" val="37653206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6" name="Graphic 4">
            <a:extLst>
              <a:ext uri="{FF2B5EF4-FFF2-40B4-BE49-F238E27FC236}">
                <a16:creationId xmlns:a16="http://schemas.microsoft.com/office/drawing/2014/main" id="{235E9FEE-8554-41CE-9E37-5B537A97B14A}"/>
              </a:ext>
            </a:extLst>
          </p:cNvPr>
          <p:cNvGrpSpPr/>
          <p:nvPr/>
        </p:nvGrpSpPr>
        <p:grpSpPr>
          <a:xfrm>
            <a:off x="648867" y="3240108"/>
            <a:ext cx="1106448" cy="449555"/>
            <a:chOff x="4841464" y="3375980"/>
            <a:chExt cx="2853191" cy="1159265"/>
          </a:xfrm>
          <a:solidFill>
            <a:srgbClr val="13284C"/>
          </a:solidFill>
        </p:grpSpPr>
        <p:sp>
          <p:nvSpPr>
            <p:cNvPr id="647" name="Freeform: Shape 646">
              <a:extLst>
                <a:ext uri="{FF2B5EF4-FFF2-40B4-BE49-F238E27FC236}">
                  <a16:creationId xmlns:a16="http://schemas.microsoft.com/office/drawing/2014/main" id="{AA8F8E93-6233-4C54-866C-26DAA29DB50E}"/>
                </a:ext>
              </a:extLst>
            </p:cNvPr>
            <p:cNvSpPr/>
            <p:nvPr/>
          </p:nvSpPr>
          <p:spPr>
            <a:xfrm>
              <a:off x="4841464" y="4357306"/>
              <a:ext cx="2852980" cy="177939"/>
            </a:xfrm>
            <a:custGeom>
              <a:avLst/>
              <a:gdLst>
                <a:gd name="connsiteX0" fmla="*/ 2565759 w 2852980"/>
                <a:gd name="connsiteY0" fmla="*/ 177834 h 177939"/>
                <a:gd name="connsiteX1" fmla="*/ 2562967 w 2852980"/>
                <a:gd name="connsiteY1" fmla="*/ 177781 h 177939"/>
                <a:gd name="connsiteX2" fmla="*/ 2438299 w 2852980"/>
                <a:gd name="connsiteY2" fmla="*/ 120137 h 177939"/>
                <a:gd name="connsiteX3" fmla="*/ 2410056 w 2852980"/>
                <a:gd name="connsiteY3" fmla="*/ 89418 h 177939"/>
                <a:gd name="connsiteX4" fmla="*/ 2355731 w 2852980"/>
                <a:gd name="connsiteY4" fmla="*/ 36990 h 177939"/>
                <a:gd name="connsiteX5" fmla="*/ 2284650 w 2852980"/>
                <a:gd name="connsiteY5" fmla="*/ 15702 h 177939"/>
                <a:gd name="connsiteX6" fmla="*/ 2185696 w 2852980"/>
                <a:gd name="connsiteY6" fmla="*/ 60701 h 177939"/>
                <a:gd name="connsiteX7" fmla="*/ 2159350 w 2852980"/>
                <a:gd name="connsiteY7" fmla="*/ 89418 h 177939"/>
                <a:gd name="connsiteX8" fmla="*/ 2097543 w 2852980"/>
                <a:gd name="connsiteY8" fmla="*/ 148485 h 177939"/>
                <a:gd name="connsiteX9" fmla="*/ 1999378 w 2852980"/>
                <a:gd name="connsiteY9" fmla="*/ 177834 h 177939"/>
                <a:gd name="connsiteX10" fmla="*/ 1998483 w 2852980"/>
                <a:gd name="connsiteY10" fmla="*/ 177834 h 177939"/>
                <a:gd name="connsiteX11" fmla="*/ 1866649 w 2852980"/>
                <a:gd name="connsiteY11" fmla="*/ 120189 h 177939"/>
                <a:gd name="connsiteX12" fmla="*/ 1838354 w 2852980"/>
                <a:gd name="connsiteY12" fmla="*/ 89418 h 177939"/>
                <a:gd name="connsiteX13" fmla="*/ 1784134 w 2852980"/>
                <a:gd name="connsiteY13" fmla="*/ 37042 h 177939"/>
                <a:gd name="connsiteX14" fmla="*/ 1713106 w 2852980"/>
                <a:gd name="connsiteY14" fmla="*/ 15755 h 177939"/>
                <a:gd name="connsiteX15" fmla="*/ 1614362 w 2852980"/>
                <a:gd name="connsiteY15" fmla="*/ 60753 h 177939"/>
                <a:gd name="connsiteX16" fmla="*/ 1588016 w 2852980"/>
                <a:gd name="connsiteY16" fmla="*/ 89470 h 177939"/>
                <a:gd name="connsiteX17" fmla="*/ 1526367 w 2852980"/>
                <a:gd name="connsiteY17" fmla="*/ 148485 h 177939"/>
                <a:gd name="connsiteX18" fmla="*/ 1428308 w 2852980"/>
                <a:gd name="connsiteY18" fmla="*/ 177834 h 177939"/>
                <a:gd name="connsiteX19" fmla="*/ 1427465 w 2852980"/>
                <a:gd name="connsiteY19" fmla="*/ 177834 h 177939"/>
                <a:gd name="connsiteX20" fmla="*/ 1295631 w 2852980"/>
                <a:gd name="connsiteY20" fmla="*/ 120189 h 177939"/>
                <a:gd name="connsiteX21" fmla="*/ 1267389 w 2852980"/>
                <a:gd name="connsiteY21" fmla="*/ 89470 h 177939"/>
                <a:gd name="connsiteX22" fmla="*/ 1213116 w 2852980"/>
                <a:gd name="connsiteY22" fmla="*/ 37042 h 177939"/>
                <a:gd name="connsiteX23" fmla="*/ 1142141 w 2852980"/>
                <a:gd name="connsiteY23" fmla="*/ 15755 h 177939"/>
                <a:gd name="connsiteX24" fmla="*/ 1043344 w 2852980"/>
                <a:gd name="connsiteY24" fmla="*/ 60753 h 177939"/>
                <a:gd name="connsiteX25" fmla="*/ 1016946 w 2852980"/>
                <a:gd name="connsiteY25" fmla="*/ 89523 h 177939"/>
                <a:gd name="connsiteX26" fmla="*/ 955244 w 2852980"/>
                <a:gd name="connsiteY26" fmla="*/ 148537 h 177939"/>
                <a:gd name="connsiteX27" fmla="*/ 857238 w 2852980"/>
                <a:gd name="connsiteY27" fmla="*/ 177887 h 177939"/>
                <a:gd name="connsiteX28" fmla="*/ 856342 w 2852980"/>
                <a:gd name="connsiteY28" fmla="*/ 177887 h 177939"/>
                <a:gd name="connsiteX29" fmla="*/ 724508 w 2852980"/>
                <a:gd name="connsiteY29" fmla="*/ 120242 h 177939"/>
                <a:gd name="connsiteX30" fmla="*/ 696265 w 2852980"/>
                <a:gd name="connsiteY30" fmla="*/ 89523 h 177939"/>
                <a:gd name="connsiteX31" fmla="*/ 641993 w 2852980"/>
                <a:gd name="connsiteY31" fmla="*/ 37095 h 177939"/>
                <a:gd name="connsiteX32" fmla="*/ 571018 w 2852980"/>
                <a:gd name="connsiteY32" fmla="*/ 15807 h 177939"/>
                <a:gd name="connsiteX33" fmla="*/ 472221 w 2852980"/>
                <a:gd name="connsiteY33" fmla="*/ 60806 h 177939"/>
                <a:gd name="connsiteX34" fmla="*/ 445823 w 2852980"/>
                <a:gd name="connsiteY34" fmla="*/ 89576 h 177939"/>
                <a:gd name="connsiteX35" fmla="*/ 384121 w 2852980"/>
                <a:gd name="connsiteY35" fmla="*/ 148590 h 177939"/>
                <a:gd name="connsiteX36" fmla="*/ 286115 w 2852980"/>
                <a:gd name="connsiteY36" fmla="*/ 177939 h 177939"/>
                <a:gd name="connsiteX37" fmla="*/ 285219 w 2852980"/>
                <a:gd name="connsiteY37" fmla="*/ 177939 h 177939"/>
                <a:gd name="connsiteX38" fmla="*/ 153438 w 2852980"/>
                <a:gd name="connsiteY38" fmla="*/ 120295 h 177939"/>
                <a:gd name="connsiteX39" fmla="*/ 125195 w 2852980"/>
                <a:gd name="connsiteY39" fmla="*/ 89523 h 177939"/>
                <a:gd name="connsiteX40" fmla="*/ 70975 w 2852980"/>
                <a:gd name="connsiteY40" fmla="*/ 37147 h 177939"/>
                <a:gd name="connsiteX41" fmla="*/ 0 w 2852980"/>
                <a:gd name="connsiteY41" fmla="*/ 15860 h 177939"/>
                <a:gd name="connsiteX42" fmla="*/ 53 w 2852980"/>
                <a:gd name="connsiteY42" fmla="*/ 53 h 177939"/>
                <a:gd name="connsiteX43" fmla="*/ 79827 w 2852980"/>
                <a:gd name="connsiteY43" fmla="*/ 24080 h 177939"/>
                <a:gd name="connsiteX44" fmla="*/ 137051 w 2852980"/>
                <a:gd name="connsiteY44" fmla="*/ 79090 h 177939"/>
                <a:gd name="connsiteX45" fmla="*/ 164661 w 2852980"/>
                <a:gd name="connsiteY45" fmla="*/ 109177 h 177939"/>
                <a:gd name="connsiteX46" fmla="*/ 285219 w 2852980"/>
                <a:gd name="connsiteY46" fmla="*/ 162132 h 177939"/>
                <a:gd name="connsiteX47" fmla="*/ 286009 w 2852980"/>
                <a:gd name="connsiteY47" fmla="*/ 162132 h 177939"/>
                <a:gd name="connsiteX48" fmla="*/ 375111 w 2852980"/>
                <a:gd name="connsiteY48" fmla="*/ 135523 h 177939"/>
                <a:gd name="connsiteX49" fmla="*/ 433862 w 2852980"/>
                <a:gd name="connsiteY49" fmla="*/ 79090 h 177939"/>
                <a:gd name="connsiteX50" fmla="*/ 460998 w 2852980"/>
                <a:gd name="connsiteY50" fmla="*/ 49583 h 177939"/>
                <a:gd name="connsiteX51" fmla="*/ 570965 w 2852980"/>
                <a:gd name="connsiteY51" fmla="*/ 0 h 177939"/>
                <a:gd name="connsiteX52" fmla="*/ 650793 w 2852980"/>
                <a:gd name="connsiteY52" fmla="*/ 24027 h 177939"/>
                <a:gd name="connsiteX53" fmla="*/ 708068 w 2852980"/>
                <a:gd name="connsiteY53" fmla="*/ 79090 h 177939"/>
                <a:gd name="connsiteX54" fmla="*/ 735679 w 2852980"/>
                <a:gd name="connsiteY54" fmla="*/ 109177 h 177939"/>
                <a:gd name="connsiteX55" fmla="*/ 856289 w 2852980"/>
                <a:gd name="connsiteY55" fmla="*/ 162132 h 177939"/>
                <a:gd name="connsiteX56" fmla="*/ 857080 w 2852980"/>
                <a:gd name="connsiteY56" fmla="*/ 162132 h 177939"/>
                <a:gd name="connsiteX57" fmla="*/ 946181 w 2852980"/>
                <a:gd name="connsiteY57" fmla="*/ 135523 h 177939"/>
                <a:gd name="connsiteX58" fmla="*/ 1004932 w 2852980"/>
                <a:gd name="connsiteY58" fmla="*/ 79143 h 177939"/>
                <a:gd name="connsiteX59" fmla="*/ 1032068 w 2852980"/>
                <a:gd name="connsiteY59" fmla="*/ 49635 h 177939"/>
                <a:gd name="connsiteX60" fmla="*/ 1142035 w 2852980"/>
                <a:gd name="connsiteY60" fmla="*/ 53 h 177939"/>
                <a:gd name="connsiteX61" fmla="*/ 1221863 w 2852980"/>
                <a:gd name="connsiteY61" fmla="*/ 24080 h 177939"/>
                <a:gd name="connsiteX62" fmla="*/ 1279139 w 2852980"/>
                <a:gd name="connsiteY62" fmla="*/ 79143 h 177939"/>
                <a:gd name="connsiteX63" fmla="*/ 1306749 w 2852980"/>
                <a:gd name="connsiteY63" fmla="*/ 109229 h 177939"/>
                <a:gd name="connsiteX64" fmla="*/ 1427360 w 2852980"/>
                <a:gd name="connsiteY64" fmla="*/ 162185 h 177939"/>
                <a:gd name="connsiteX65" fmla="*/ 1428150 w 2852980"/>
                <a:gd name="connsiteY65" fmla="*/ 162185 h 177939"/>
                <a:gd name="connsiteX66" fmla="*/ 1517251 w 2852980"/>
                <a:gd name="connsiteY66" fmla="*/ 135575 h 177939"/>
                <a:gd name="connsiteX67" fmla="*/ 1576002 w 2852980"/>
                <a:gd name="connsiteY67" fmla="*/ 79143 h 177939"/>
                <a:gd name="connsiteX68" fmla="*/ 1603086 w 2852980"/>
                <a:gd name="connsiteY68" fmla="*/ 49635 h 177939"/>
                <a:gd name="connsiteX69" fmla="*/ 1713000 w 2852980"/>
                <a:gd name="connsiteY69" fmla="*/ 53 h 177939"/>
                <a:gd name="connsiteX70" fmla="*/ 1792881 w 2852980"/>
                <a:gd name="connsiteY70" fmla="*/ 24080 h 177939"/>
                <a:gd name="connsiteX71" fmla="*/ 1850104 w 2852980"/>
                <a:gd name="connsiteY71" fmla="*/ 79090 h 177939"/>
                <a:gd name="connsiteX72" fmla="*/ 1877767 w 2852980"/>
                <a:gd name="connsiteY72" fmla="*/ 109229 h 177939"/>
                <a:gd name="connsiteX73" fmla="*/ 1998430 w 2852980"/>
                <a:gd name="connsiteY73" fmla="*/ 162185 h 177939"/>
                <a:gd name="connsiteX74" fmla="*/ 1999221 w 2852980"/>
                <a:gd name="connsiteY74" fmla="*/ 162185 h 177939"/>
                <a:gd name="connsiteX75" fmla="*/ 2088480 w 2852980"/>
                <a:gd name="connsiteY75" fmla="*/ 135575 h 177939"/>
                <a:gd name="connsiteX76" fmla="*/ 2147337 w 2852980"/>
                <a:gd name="connsiteY76" fmla="*/ 79090 h 177939"/>
                <a:gd name="connsiteX77" fmla="*/ 2174420 w 2852980"/>
                <a:gd name="connsiteY77" fmla="*/ 49635 h 177939"/>
                <a:gd name="connsiteX78" fmla="*/ 2284545 w 2852980"/>
                <a:gd name="connsiteY78" fmla="*/ 53 h 177939"/>
                <a:gd name="connsiteX79" fmla="*/ 2364478 w 2852980"/>
                <a:gd name="connsiteY79" fmla="*/ 24027 h 177939"/>
                <a:gd name="connsiteX80" fmla="*/ 2421806 w 2852980"/>
                <a:gd name="connsiteY80" fmla="*/ 79090 h 177939"/>
                <a:gd name="connsiteX81" fmla="*/ 2449417 w 2852980"/>
                <a:gd name="connsiteY81" fmla="*/ 109177 h 177939"/>
                <a:gd name="connsiteX82" fmla="*/ 2563230 w 2852980"/>
                <a:gd name="connsiteY82" fmla="*/ 162132 h 177939"/>
                <a:gd name="connsiteX83" fmla="*/ 2692483 w 2852980"/>
                <a:gd name="connsiteY83" fmla="*/ 87784 h 177939"/>
                <a:gd name="connsiteX84" fmla="*/ 2852981 w 2852980"/>
                <a:gd name="connsiteY84" fmla="*/ 5164 h 177939"/>
                <a:gd name="connsiteX85" fmla="*/ 2851663 w 2852980"/>
                <a:gd name="connsiteY85" fmla="*/ 20919 h 177939"/>
                <a:gd name="connsiteX86" fmla="*/ 2703548 w 2852980"/>
                <a:gd name="connsiteY86" fmla="*/ 99060 h 177939"/>
                <a:gd name="connsiteX87" fmla="*/ 2565759 w 2852980"/>
                <a:gd name="connsiteY87" fmla="*/ 177834 h 177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852980" h="177939">
                  <a:moveTo>
                    <a:pt x="2565759" y="177834"/>
                  </a:moveTo>
                  <a:cubicBezTo>
                    <a:pt x="2564811" y="177834"/>
                    <a:pt x="2563915" y="177834"/>
                    <a:pt x="2562967" y="177781"/>
                  </a:cubicBezTo>
                  <a:cubicBezTo>
                    <a:pt x="2498894" y="176306"/>
                    <a:pt x="2438826" y="120716"/>
                    <a:pt x="2438299" y="120137"/>
                  </a:cubicBezTo>
                  <a:cubicBezTo>
                    <a:pt x="2428340" y="110125"/>
                    <a:pt x="2419066" y="99587"/>
                    <a:pt x="2410056" y="89418"/>
                  </a:cubicBezTo>
                  <a:cubicBezTo>
                    <a:pt x="2392299" y="69342"/>
                    <a:pt x="2375543" y="50373"/>
                    <a:pt x="2355731" y="36990"/>
                  </a:cubicBezTo>
                  <a:cubicBezTo>
                    <a:pt x="2333969" y="22341"/>
                    <a:pt x="2311997" y="15755"/>
                    <a:pt x="2284650" y="15702"/>
                  </a:cubicBezTo>
                  <a:cubicBezTo>
                    <a:pt x="2240126" y="15755"/>
                    <a:pt x="2212884" y="33723"/>
                    <a:pt x="2185696" y="60701"/>
                  </a:cubicBezTo>
                  <a:cubicBezTo>
                    <a:pt x="2176685" y="69658"/>
                    <a:pt x="2168255" y="79248"/>
                    <a:pt x="2159350" y="89418"/>
                  </a:cubicBezTo>
                  <a:cubicBezTo>
                    <a:pt x="2141171" y="110073"/>
                    <a:pt x="2122361" y="131465"/>
                    <a:pt x="2097543" y="148485"/>
                  </a:cubicBezTo>
                  <a:cubicBezTo>
                    <a:pt x="2069142" y="167981"/>
                    <a:pt x="2036105" y="177834"/>
                    <a:pt x="1999378" y="177834"/>
                  </a:cubicBezTo>
                  <a:cubicBezTo>
                    <a:pt x="1999115" y="177834"/>
                    <a:pt x="1998799" y="177834"/>
                    <a:pt x="1998483" y="177834"/>
                  </a:cubicBezTo>
                  <a:cubicBezTo>
                    <a:pt x="1931354" y="177834"/>
                    <a:pt x="1891098" y="144954"/>
                    <a:pt x="1866649" y="120189"/>
                  </a:cubicBezTo>
                  <a:cubicBezTo>
                    <a:pt x="1856690" y="110178"/>
                    <a:pt x="1847364" y="99587"/>
                    <a:pt x="1838354" y="89418"/>
                  </a:cubicBezTo>
                  <a:cubicBezTo>
                    <a:pt x="1820649" y="69395"/>
                    <a:pt x="1803946" y="50426"/>
                    <a:pt x="1784134" y="37042"/>
                  </a:cubicBezTo>
                  <a:cubicBezTo>
                    <a:pt x="1762372" y="22394"/>
                    <a:pt x="1740505" y="15807"/>
                    <a:pt x="1713106" y="15755"/>
                  </a:cubicBezTo>
                  <a:cubicBezTo>
                    <a:pt x="1668687" y="15807"/>
                    <a:pt x="1641498" y="33775"/>
                    <a:pt x="1614362" y="60753"/>
                  </a:cubicBezTo>
                  <a:cubicBezTo>
                    <a:pt x="1605352" y="69711"/>
                    <a:pt x="1596921" y="79301"/>
                    <a:pt x="1588016" y="89470"/>
                  </a:cubicBezTo>
                  <a:cubicBezTo>
                    <a:pt x="1569890" y="110125"/>
                    <a:pt x="1551132" y="131465"/>
                    <a:pt x="1526367" y="148485"/>
                  </a:cubicBezTo>
                  <a:cubicBezTo>
                    <a:pt x="1498019" y="167981"/>
                    <a:pt x="1465034" y="177834"/>
                    <a:pt x="1428308" y="177834"/>
                  </a:cubicBezTo>
                  <a:cubicBezTo>
                    <a:pt x="1428045" y="177834"/>
                    <a:pt x="1427728" y="177834"/>
                    <a:pt x="1427465" y="177834"/>
                  </a:cubicBezTo>
                  <a:cubicBezTo>
                    <a:pt x="1360337" y="177834"/>
                    <a:pt x="1320080" y="144954"/>
                    <a:pt x="1295631" y="120189"/>
                  </a:cubicBezTo>
                  <a:cubicBezTo>
                    <a:pt x="1285725" y="110178"/>
                    <a:pt x="1276399" y="99640"/>
                    <a:pt x="1267389" y="89470"/>
                  </a:cubicBezTo>
                  <a:cubicBezTo>
                    <a:pt x="1249684" y="69395"/>
                    <a:pt x="1232928" y="50479"/>
                    <a:pt x="1213116" y="37042"/>
                  </a:cubicBezTo>
                  <a:cubicBezTo>
                    <a:pt x="1191355" y="22394"/>
                    <a:pt x="1169435" y="15807"/>
                    <a:pt x="1142141" y="15755"/>
                  </a:cubicBezTo>
                  <a:cubicBezTo>
                    <a:pt x="1097722" y="15807"/>
                    <a:pt x="1070533" y="33775"/>
                    <a:pt x="1043344" y="60753"/>
                  </a:cubicBezTo>
                  <a:cubicBezTo>
                    <a:pt x="1034334" y="69711"/>
                    <a:pt x="1025903" y="79301"/>
                    <a:pt x="1016946" y="89523"/>
                  </a:cubicBezTo>
                  <a:cubicBezTo>
                    <a:pt x="998820" y="110178"/>
                    <a:pt x="980062" y="131518"/>
                    <a:pt x="955244" y="148537"/>
                  </a:cubicBezTo>
                  <a:cubicBezTo>
                    <a:pt x="926896" y="168033"/>
                    <a:pt x="893911" y="177887"/>
                    <a:pt x="857238" y="177887"/>
                  </a:cubicBezTo>
                  <a:cubicBezTo>
                    <a:pt x="856975" y="177887"/>
                    <a:pt x="856658" y="177887"/>
                    <a:pt x="856342" y="177887"/>
                  </a:cubicBezTo>
                  <a:cubicBezTo>
                    <a:pt x="789213" y="177887"/>
                    <a:pt x="748957" y="145007"/>
                    <a:pt x="724508" y="120242"/>
                  </a:cubicBezTo>
                  <a:cubicBezTo>
                    <a:pt x="714549" y="110231"/>
                    <a:pt x="705276" y="99692"/>
                    <a:pt x="696265" y="89523"/>
                  </a:cubicBezTo>
                  <a:cubicBezTo>
                    <a:pt x="678561" y="69447"/>
                    <a:pt x="661805" y="50479"/>
                    <a:pt x="641993" y="37095"/>
                  </a:cubicBezTo>
                  <a:cubicBezTo>
                    <a:pt x="620231" y="22447"/>
                    <a:pt x="598312" y="15860"/>
                    <a:pt x="571018" y="15807"/>
                  </a:cubicBezTo>
                  <a:cubicBezTo>
                    <a:pt x="526599" y="15860"/>
                    <a:pt x="499410" y="33828"/>
                    <a:pt x="472221" y="60806"/>
                  </a:cubicBezTo>
                  <a:cubicBezTo>
                    <a:pt x="463211" y="69763"/>
                    <a:pt x="454780" y="79353"/>
                    <a:pt x="445823" y="89576"/>
                  </a:cubicBezTo>
                  <a:cubicBezTo>
                    <a:pt x="427697" y="110231"/>
                    <a:pt x="408939" y="131571"/>
                    <a:pt x="384121" y="148590"/>
                  </a:cubicBezTo>
                  <a:cubicBezTo>
                    <a:pt x="355773" y="168086"/>
                    <a:pt x="322788" y="177939"/>
                    <a:pt x="286115" y="177939"/>
                  </a:cubicBezTo>
                  <a:cubicBezTo>
                    <a:pt x="285851" y="177939"/>
                    <a:pt x="285535" y="177939"/>
                    <a:pt x="285219" y="177939"/>
                  </a:cubicBezTo>
                  <a:cubicBezTo>
                    <a:pt x="218143" y="177939"/>
                    <a:pt x="177887" y="145060"/>
                    <a:pt x="153438" y="120295"/>
                  </a:cubicBezTo>
                  <a:cubicBezTo>
                    <a:pt x="143479" y="110283"/>
                    <a:pt x="134205" y="99745"/>
                    <a:pt x="125195" y="89523"/>
                  </a:cubicBezTo>
                  <a:cubicBezTo>
                    <a:pt x="107490" y="69447"/>
                    <a:pt x="90787" y="50531"/>
                    <a:pt x="70975" y="37147"/>
                  </a:cubicBezTo>
                  <a:cubicBezTo>
                    <a:pt x="49214" y="22499"/>
                    <a:pt x="27347" y="15913"/>
                    <a:pt x="0" y="15860"/>
                  </a:cubicBezTo>
                  <a:lnTo>
                    <a:pt x="53" y="53"/>
                  </a:lnTo>
                  <a:cubicBezTo>
                    <a:pt x="30719" y="158"/>
                    <a:pt x="55326" y="7535"/>
                    <a:pt x="79827" y="24080"/>
                  </a:cubicBezTo>
                  <a:cubicBezTo>
                    <a:pt x="101326" y="38570"/>
                    <a:pt x="118661" y="58277"/>
                    <a:pt x="137051" y="79090"/>
                  </a:cubicBezTo>
                  <a:cubicBezTo>
                    <a:pt x="145903" y="89101"/>
                    <a:pt x="155071" y="99482"/>
                    <a:pt x="164661" y="109177"/>
                  </a:cubicBezTo>
                  <a:cubicBezTo>
                    <a:pt x="189004" y="133837"/>
                    <a:pt x="224729" y="162132"/>
                    <a:pt x="285219" y="162132"/>
                  </a:cubicBezTo>
                  <a:cubicBezTo>
                    <a:pt x="285482" y="162132"/>
                    <a:pt x="285746" y="162132"/>
                    <a:pt x="286009" y="162132"/>
                  </a:cubicBezTo>
                  <a:cubicBezTo>
                    <a:pt x="319469" y="162132"/>
                    <a:pt x="349450" y="153174"/>
                    <a:pt x="375111" y="135523"/>
                  </a:cubicBezTo>
                  <a:cubicBezTo>
                    <a:pt x="398242" y="119662"/>
                    <a:pt x="416368" y="99060"/>
                    <a:pt x="433862" y="79090"/>
                  </a:cubicBezTo>
                  <a:cubicBezTo>
                    <a:pt x="442609" y="69184"/>
                    <a:pt x="451619" y="58909"/>
                    <a:pt x="460998" y="49583"/>
                  </a:cubicBezTo>
                  <a:cubicBezTo>
                    <a:pt x="486922" y="23869"/>
                    <a:pt x="518168" y="105"/>
                    <a:pt x="570965" y="0"/>
                  </a:cubicBezTo>
                  <a:cubicBezTo>
                    <a:pt x="601631" y="105"/>
                    <a:pt x="626238" y="7482"/>
                    <a:pt x="650793" y="24027"/>
                  </a:cubicBezTo>
                  <a:cubicBezTo>
                    <a:pt x="672291" y="38570"/>
                    <a:pt x="689679" y="58224"/>
                    <a:pt x="708068" y="79090"/>
                  </a:cubicBezTo>
                  <a:cubicBezTo>
                    <a:pt x="716920" y="89101"/>
                    <a:pt x="726089" y="99482"/>
                    <a:pt x="735679" y="109177"/>
                  </a:cubicBezTo>
                  <a:cubicBezTo>
                    <a:pt x="760022" y="133837"/>
                    <a:pt x="795747" y="162132"/>
                    <a:pt x="856289" y="162132"/>
                  </a:cubicBezTo>
                  <a:cubicBezTo>
                    <a:pt x="856553" y="162132"/>
                    <a:pt x="856816" y="162132"/>
                    <a:pt x="857080" y="162132"/>
                  </a:cubicBezTo>
                  <a:cubicBezTo>
                    <a:pt x="890539" y="162132"/>
                    <a:pt x="920520" y="153174"/>
                    <a:pt x="946181" y="135523"/>
                  </a:cubicBezTo>
                  <a:cubicBezTo>
                    <a:pt x="969312" y="119662"/>
                    <a:pt x="987438" y="99060"/>
                    <a:pt x="1004932" y="79143"/>
                  </a:cubicBezTo>
                  <a:cubicBezTo>
                    <a:pt x="1013679" y="69237"/>
                    <a:pt x="1022689" y="58962"/>
                    <a:pt x="1032068" y="49635"/>
                  </a:cubicBezTo>
                  <a:cubicBezTo>
                    <a:pt x="1057992" y="23922"/>
                    <a:pt x="1089238" y="158"/>
                    <a:pt x="1142035" y="53"/>
                  </a:cubicBezTo>
                  <a:cubicBezTo>
                    <a:pt x="1172702" y="158"/>
                    <a:pt x="1197309" y="7535"/>
                    <a:pt x="1221863" y="24080"/>
                  </a:cubicBezTo>
                  <a:cubicBezTo>
                    <a:pt x="1243361" y="38623"/>
                    <a:pt x="1260749" y="58277"/>
                    <a:pt x="1279139" y="79143"/>
                  </a:cubicBezTo>
                  <a:cubicBezTo>
                    <a:pt x="1287991" y="89154"/>
                    <a:pt x="1297159" y="99534"/>
                    <a:pt x="1306749" y="109229"/>
                  </a:cubicBezTo>
                  <a:cubicBezTo>
                    <a:pt x="1331092" y="133889"/>
                    <a:pt x="1366817" y="162185"/>
                    <a:pt x="1427360" y="162185"/>
                  </a:cubicBezTo>
                  <a:cubicBezTo>
                    <a:pt x="1427623" y="162185"/>
                    <a:pt x="1427887" y="162185"/>
                    <a:pt x="1428150" y="162185"/>
                  </a:cubicBezTo>
                  <a:cubicBezTo>
                    <a:pt x="1461609" y="162185"/>
                    <a:pt x="1491591" y="153227"/>
                    <a:pt x="1517251" y="135575"/>
                  </a:cubicBezTo>
                  <a:cubicBezTo>
                    <a:pt x="1540383" y="119662"/>
                    <a:pt x="1558509" y="99060"/>
                    <a:pt x="1576002" y="79143"/>
                  </a:cubicBezTo>
                  <a:cubicBezTo>
                    <a:pt x="1584697" y="69237"/>
                    <a:pt x="1593707" y="58962"/>
                    <a:pt x="1603086" y="49635"/>
                  </a:cubicBezTo>
                  <a:cubicBezTo>
                    <a:pt x="1629010" y="23922"/>
                    <a:pt x="1660256" y="158"/>
                    <a:pt x="1713000" y="53"/>
                  </a:cubicBezTo>
                  <a:cubicBezTo>
                    <a:pt x="1743719" y="158"/>
                    <a:pt x="1768326" y="7535"/>
                    <a:pt x="1792881" y="24080"/>
                  </a:cubicBezTo>
                  <a:cubicBezTo>
                    <a:pt x="1814379" y="38570"/>
                    <a:pt x="1831714" y="58277"/>
                    <a:pt x="1850104" y="79090"/>
                  </a:cubicBezTo>
                  <a:cubicBezTo>
                    <a:pt x="1858955" y="89101"/>
                    <a:pt x="1868124" y="99482"/>
                    <a:pt x="1877767" y="109229"/>
                  </a:cubicBezTo>
                  <a:cubicBezTo>
                    <a:pt x="1902163" y="133889"/>
                    <a:pt x="1937888" y="162185"/>
                    <a:pt x="1998430" y="162185"/>
                  </a:cubicBezTo>
                  <a:cubicBezTo>
                    <a:pt x="1998693" y="162185"/>
                    <a:pt x="1998957" y="162185"/>
                    <a:pt x="1999221" y="162185"/>
                  </a:cubicBezTo>
                  <a:cubicBezTo>
                    <a:pt x="2032733" y="162185"/>
                    <a:pt x="2062766" y="153227"/>
                    <a:pt x="2088480" y="135575"/>
                  </a:cubicBezTo>
                  <a:cubicBezTo>
                    <a:pt x="2111664" y="119662"/>
                    <a:pt x="2129790" y="99060"/>
                    <a:pt x="2147337" y="79090"/>
                  </a:cubicBezTo>
                  <a:cubicBezTo>
                    <a:pt x="2156030" y="69184"/>
                    <a:pt x="2165041" y="58909"/>
                    <a:pt x="2174420" y="49635"/>
                  </a:cubicBezTo>
                  <a:cubicBezTo>
                    <a:pt x="2200344" y="23922"/>
                    <a:pt x="2231643" y="158"/>
                    <a:pt x="2284545" y="53"/>
                  </a:cubicBezTo>
                  <a:cubicBezTo>
                    <a:pt x="2315264" y="158"/>
                    <a:pt x="2339924" y="7535"/>
                    <a:pt x="2364478" y="24027"/>
                  </a:cubicBezTo>
                  <a:cubicBezTo>
                    <a:pt x="2385976" y="38570"/>
                    <a:pt x="2403364" y="58224"/>
                    <a:pt x="2421806" y="79090"/>
                  </a:cubicBezTo>
                  <a:cubicBezTo>
                    <a:pt x="2430658" y="89101"/>
                    <a:pt x="2439827" y="99482"/>
                    <a:pt x="2449417" y="109177"/>
                  </a:cubicBezTo>
                  <a:cubicBezTo>
                    <a:pt x="2457794" y="117660"/>
                    <a:pt x="2511329" y="160972"/>
                    <a:pt x="2563230" y="162132"/>
                  </a:cubicBezTo>
                  <a:cubicBezTo>
                    <a:pt x="2615289" y="163238"/>
                    <a:pt x="2652700" y="126618"/>
                    <a:pt x="2692483" y="87784"/>
                  </a:cubicBezTo>
                  <a:cubicBezTo>
                    <a:pt x="2737059" y="44261"/>
                    <a:pt x="2783217" y="-632"/>
                    <a:pt x="2852981" y="5164"/>
                  </a:cubicBezTo>
                  <a:lnTo>
                    <a:pt x="2851663" y="20919"/>
                  </a:lnTo>
                  <a:cubicBezTo>
                    <a:pt x="2789066" y="15544"/>
                    <a:pt x="2747492" y="56169"/>
                    <a:pt x="2703548" y="99060"/>
                  </a:cubicBezTo>
                  <a:cubicBezTo>
                    <a:pt x="2663871" y="137788"/>
                    <a:pt x="2622825" y="177834"/>
                    <a:pt x="2565759" y="177834"/>
                  </a:cubicBezTo>
                  <a:close/>
                </a:path>
              </a:pathLst>
            </a:custGeom>
            <a:solidFill>
              <a:srgbClr val="13284C"/>
            </a:solidFill>
            <a:ln w="5266" cap="flat">
              <a:solidFill>
                <a:schemeClr val="tx2"/>
              </a:solid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48" name="Freeform: Shape 647">
              <a:extLst>
                <a:ext uri="{FF2B5EF4-FFF2-40B4-BE49-F238E27FC236}">
                  <a16:creationId xmlns:a16="http://schemas.microsoft.com/office/drawing/2014/main" id="{20F324BE-A2F8-4F2F-8BF8-3D89DBB60FC3}"/>
                </a:ext>
              </a:extLst>
            </p:cNvPr>
            <p:cNvSpPr/>
            <p:nvPr/>
          </p:nvSpPr>
          <p:spPr>
            <a:xfrm>
              <a:off x="4841517" y="3866643"/>
              <a:ext cx="2852980" cy="177939"/>
            </a:xfrm>
            <a:custGeom>
              <a:avLst/>
              <a:gdLst>
                <a:gd name="connsiteX0" fmla="*/ 2565707 w 2852980"/>
                <a:gd name="connsiteY0" fmla="*/ 177834 h 177939"/>
                <a:gd name="connsiteX1" fmla="*/ 2562914 w 2852980"/>
                <a:gd name="connsiteY1" fmla="*/ 177781 h 177939"/>
                <a:gd name="connsiteX2" fmla="*/ 2438246 w 2852980"/>
                <a:gd name="connsiteY2" fmla="*/ 120137 h 177939"/>
                <a:gd name="connsiteX3" fmla="*/ 2410004 w 2852980"/>
                <a:gd name="connsiteY3" fmla="*/ 89417 h 177939"/>
                <a:gd name="connsiteX4" fmla="*/ 2355678 w 2852980"/>
                <a:gd name="connsiteY4" fmla="*/ 36990 h 177939"/>
                <a:gd name="connsiteX5" fmla="*/ 2284598 w 2852980"/>
                <a:gd name="connsiteY5" fmla="*/ 15702 h 177939"/>
                <a:gd name="connsiteX6" fmla="*/ 2185643 w 2852980"/>
                <a:gd name="connsiteY6" fmla="*/ 60701 h 177939"/>
                <a:gd name="connsiteX7" fmla="*/ 2159297 w 2852980"/>
                <a:gd name="connsiteY7" fmla="*/ 89417 h 177939"/>
                <a:gd name="connsiteX8" fmla="*/ 2097490 w 2852980"/>
                <a:gd name="connsiteY8" fmla="*/ 148485 h 177939"/>
                <a:gd name="connsiteX9" fmla="*/ 1998746 w 2852980"/>
                <a:gd name="connsiteY9" fmla="*/ 177834 h 177939"/>
                <a:gd name="connsiteX10" fmla="*/ 1998483 w 2852980"/>
                <a:gd name="connsiteY10" fmla="*/ 177834 h 177939"/>
                <a:gd name="connsiteX11" fmla="*/ 1866649 w 2852980"/>
                <a:gd name="connsiteY11" fmla="*/ 120189 h 177939"/>
                <a:gd name="connsiteX12" fmla="*/ 1838354 w 2852980"/>
                <a:gd name="connsiteY12" fmla="*/ 89417 h 177939"/>
                <a:gd name="connsiteX13" fmla="*/ 1784134 w 2852980"/>
                <a:gd name="connsiteY13" fmla="*/ 37042 h 177939"/>
                <a:gd name="connsiteX14" fmla="*/ 1713106 w 2852980"/>
                <a:gd name="connsiteY14" fmla="*/ 15755 h 177939"/>
                <a:gd name="connsiteX15" fmla="*/ 1614362 w 2852980"/>
                <a:gd name="connsiteY15" fmla="*/ 60753 h 177939"/>
                <a:gd name="connsiteX16" fmla="*/ 1588016 w 2852980"/>
                <a:gd name="connsiteY16" fmla="*/ 89470 h 177939"/>
                <a:gd name="connsiteX17" fmla="*/ 1526367 w 2852980"/>
                <a:gd name="connsiteY17" fmla="*/ 148485 h 177939"/>
                <a:gd name="connsiteX18" fmla="*/ 1428361 w 2852980"/>
                <a:gd name="connsiteY18" fmla="*/ 177834 h 177939"/>
                <a:gd name="connsiteX19" fmla="*/ 1427465 w 2852980"/>
                <a:gd name="connsiteY19" fmla="*/ 177834 h 177939"/>
                <a:gd name="connsiteX20" fmla="*/ 1295631 w 2852980"/>
                <a:gd name="connsiteY20" fmla="*/ 120189 h 177939"/>
                <a:gd name="connsiteX21" fmla="*/ 1267389 w 2852980"/>
                <a:gd name="connsiteY21" fmla="*/ 89470 h 177939"/>
                <a:gd name="connsiteX22" fmla="*/ 1213116 w 2852980"/>
                <a:gd name="connsiteY22" fmla="*/ 37042 h 177939"/>
                <a:gd name="connsiteX23" fmla="*/ 1142141 w 2852980"/>
                <a:gd name="connsiteY23" fmla="*/ 15755 h 177939"/>
                <a:gd name="connsiteX24" fmla="*/ 1043344 w 2852980"/>
                <a:gd name="connsiteY24" fmla="*/ 60753 h 177939"/>
                <a:gd name="connsiteX25" fmla="*/ 1016946 w 2852980"/>
                <a:gd name="connsiteY25" fmla="*/ 89523 h 177939"/>
                <a:gd name="connsiteX26" fmla="*/ 955244 w 2852980"/>
                <a:gd name="connsiteY26" fmla="*/ 148537 h 177939"/>
                <a:gd name="connsiteX27" fmla="*/ 857238 w 2852980"/>
                <a:gd name="connsiteY27" fmla="*/ 177887 h 177939"/>
                <a:gd name="connsiteX28" fmla="*/ 856342 w 2852980"/>
                <a:gd name="connsiteY28" fmla="*/ 177887 h 177939"/>
                <a:gd name="connsiteX29" fmla="*/ 724508 w 2852980"/>
                <a:gd name="connsiteY29" fmla="*/ 120242 h 177939"/>
                <a:gd name="connsiteX30" fmla="*/ 696265 w 2852980"/>
                <a:gd name="connsiteY30" fmla="*/ 89523 h 177939"/>
                <a:gd name="connsiteX31" fmla="*/ 641993 w 2852980"/>
                <a:gd name="connsiteY31" fmla="*/ 37095 h 177939"/>
                <a:gd name="connsiteX32" fmla="*/ 571018 w 2852980"/>
                <a:gd name="connsiteY32" fmla="*/ 15807 h 177939"/>
                <a:gd name="connsiteX33" fmla="*/ 472221 w 2852980"/>
                <a:gd name="connsiteY33" fmla="*/ 60806 h 177939"/>
                <a:gd name="connsiteX34" fmla="*/ 445823 w 2852980"/>
                <a:gd name="connsiteY34" fmla="*/ 89576 h 177939"/>
                <a:gd name="connsiteX35" fmla="*/ 384121 w 2852980"/>
                <a:gd name="connsiteY35" fmla="*/ 148590 h 177939"/>
                <a:gd name="connsiteX36" fmla="*/ 286115 w 2852980"/>
                <a:gd name="connsiteY36" fmla="*/ 177939 h 177939"/>
                <a:gd name="connsiteX37" fmla="*/ 285219 w 2852980"/>
                <a:gd name="connsiteY37" fmla="*/ 177939 h 177939"/>
                <a:gd name="connsiteX38" fmla="*/ 153438 w 2852980"/>
                <a:gd name="connsiteY38" fmla="*/ 120295 h 177939"/>
                <a:gd name="connsiteX39" fmla="*/ 125195 w 2852980"/>
                <a:gd name="connsiteY39" fmla="*/ 89523 h 177939"/>
                <a:gd name="connsiteX40" fmla="*/ 70975 w 2852980"/>
                <a:gd name="connsiteY40" fmla="*/ 37147 h 177939"/>
                <a:gd name="connsiteX41" fmla="*/ 0 w 2852980"/>
                <a:gd name="connsiteY41" fmla="*/ 15860 h 177939"/>
                <a:gd name="connsiteX42" fmla="*/ 52 w 2852980"/>
                <a:gd name="connsiteY42" fmla="*/ 53 h 177939"/>
                <a:gd name="connsiteX43" fmla="*/ 79827 w 2852980"/>
                <a:gd name="connsiteY43" fmla="*/ 24080 h 177939"/>
                <a:gd name="connsiteX44" fmla="*/ 137050 w 2852980"/>
                <a:gd name="connsiteY44" fmla="*/ 79090 h 177939"/>
                <a:gd name="connsiteX45" fmla="*/ 164661 w 2852980"/>
                <a:gd name="connsiteY45" fmla="*/ 109177 h 177939"/>
                <a:gd name="connsiteX46" fmla="*/ 285219 w 2852980"/>
                <a:gd name="connsiteY46" fmla="*/ 162132 h 177939"/>
                <a:gd name="connsiteX47" fmla="*/ 286009 w 2852980"/>
                <a:gd name="connsiteY47" fmla="*/ 162132 h 177939"/>
                <a:gd name="connsiteX48" fmla="*/ 375111 w 2852980"/>
                <a:gd name="connsiteY48" fmla="*/ 135522 h 177939"/>
                <a:gd name="connsiteX49" fmla="*/ 433862 w 2852980"/>
                <a:gd name="connsiteY49" fmla="*/ 79090 h 177939"/>
                <a:gd name="connsiteX50" fmla="*/ 460998 w 2852980"/>
                <a:gd name="connsiteY50" fmla="*/ 49583 h 177939"/>
                <a:gd name="connsiteX51" fmla="*/ 570965 w 2852980"/>
                <a:gd name="connsiteY51" fmla="*/ 0 h 177939"/>
                <a:gd name="connsiteX52" fmla="*/ 650792 w 2852980"/>
                <a:gd name="connsiteY52" fmla="*/ 24027 h 177939"/>
                <a:gd name="connsiteX53" fmla="*/ 708068 w 2852980"/>
                <a:gd name="connsiteY53" fmla="*/ 79090 h 177939"/>
                <a:gd name="connsiteX54" fmla="*/ 735679 w 2852980"/>
                <a:gd name="connsiteY54" fmla="*/ 109177 h 177939"/>
                <a:gd name="connsiteX55" fmla="*/ 856289 w 2852980"/>
                <a:gd name="connsiteY55" fmla="*/ 162132 h 177939"/>
                <a:gd name="connsiteX56" fmla="*/ 857080 w 2852980"/>
                <a:gd name="connsiteY56" fmla="*/ 162132 h 177939"/>
                <a:gd name="connsiteX57" fmla="*/ 946181 w 2852980"/>
                <a:gd name="connsiteY57" fmla="*/ 135522 h 177939"/>
                <a:gd name="connsiteX58" fmla="*/ 1004932 w 2852980"/>
                <a:gd name="connsiteY58" fmla="*/ 79143 h 177939"/>
                <a:gd name="connsiteX59" fmla="*/ 1032068 w 2852980"/>
                <a:gd name="connsiteY59" fmla="*/ 49635 h 177939"/>
                <a:gd name="connsiteX60" fmla="*/ 1142035 w 2852980"/>
                <a:gd name="connsiteY60" fmla="*/ 53 h 177939"/>
                <a:gd name="connsiteX61" fmla="*/ 1221863 w 2852980"/>
                <a:gd name="connsiteY61" fmla="*/ 24080 h 177939"/>
                <a:gd name="connsiteX62" fmla="*/ 1279139 w 2852980"/>
                <a:gd name="connsiteY62" fmla="*/ 79143 h 177939"/>
                <a:gd name="connsiteX63" fmla="*/ 1306749 w 2852980"/>
                <a:gd name="connsiteY63" fmla="*/ 109229 h 177939"/>
                <a:gd name="connsiteX64" fmla="*/ 1427360 w 2852980"/>
                <a:gd name="connsiteY64" fmla="*/ 162185 h 177939"/>
                <a:gd name="connsiteX65" fmla="*/ 1428150 w 2852980"/>
                <a:gd name="connsiteY65" fmla="*/ 162185 h 177939"/>
                <a:gd name="connsiteX66" fmla="*/ 1517251 w 2852980"/>
                <a:gd name="connsiteY66" fmla="*/ 135575 h 177939"/>
                <a:gd name="connsiteX67" fmla="*/ 1576002 w 2852980"/>
                <a:gd name="connsiteY67" fmla="*/ 79143 h 177939"/>
                <a:gd name="connsiteX68" fmla="*/ 1603086 w 2852980"/>
                <a:gd name="connsiteY68" fmla="*/ 49635 h 177939"/>
                <a:gd name="connsiteX69" fmla="*/ 1713000 w 2852980"/>
                <a:gd name="connsiteY69" fmla="*/ 53 h 177939"/>
                <a:gd name="connsiteX70" fmla="*/ 1792881 w 2852980"/>
                <a:gd name="connsiteY70" fmla="*/ 24080 h 177939"/>
                <a:gd name="connsiteX71" fmla="*/ 1850104 w 2852980"/>
                <a:gd name="connsiteY71" fmla="*/ 79090 h 177939"/>
                <a:gd name="connsiteX72" fmla="*/ 1877767 w 2852980"/>
                <a:gd name="connsiteY72" fmla="*/ 109229 h 177939"/>
                <a:gd name="connsiteX73" fmla="*/ 1998430 w 2852980"/>
                <a:gd name="connsiteY73" fmla="*/ 162185 h 177939"/>
                <a:gd name="connsiteX74" fmla="*/ 1999220 w 2852980"/>
                <a:gd name="connsiteY74" fmla="*/ 162185 h 177939"/>
                <a:gd name="connsiteX75" fmla="*/ 2088480 w 2852980"/>
                <a:gd name="connsiteY75" fmla="*/ 135575 h 177939"/>
                <a:gd name="connsiteX76" fmla="*/ 2147337 w 2852980"/>
                <a:gd name="connsiteY76" fmla="*/ 79090 h 177939"/>
                <a:gd name="connsiteX77" fmla="*/ 2174419 w 2852980"/>
                <a:gd name="connsiteY77" fmla="*/ 49635 h 177939"/>
                <a:gd name="connsiteX78" fmla="*/ 2284545 w 2852980"/>
                <a:gd name="connsiteY78" fmla="*/ 53 h 177939"/>
                <a:gd name="connsiteX79" fmla="*/ 2364478 w 2852980"/>
                <a:gd name="connsiteY79" fmla="*/ 24080 h 177939"/>
                <a:gd name="connsiteX80" fmla="*/ 2421806 w 2852980"/>
                <a:gd name="connsiteY80" fmla="*/ 79143 h 177939"/>
                <a:gd name="connsiteX81" fmla="*/ 2449417 w 2852980"/>
                <a:gd name="connsiteY81" fmla="*/ 109229 h 177939"/>
                <a:gd name="connsiteX82" fmla="*/ 2563230 w 2852980"/>
                <a:gd name="connsiteY82" fmla="*/ 162185 h 177939"/>
                <a:gd name="connsiteX83" fmla="*/ 2692483 w 2852980"/>
                <a:gd name="connsiteY83" fmla="*/ 87837 h 177939"/>
                <a:gd name="connsiteX84" fmla="*/ 2852981 w 2852980"/>
                <a:gd name="connsiteY84" fmla="*/ 5216 h 177939"/>
                <a:gd name="connsiteX85" fmla="*/ 2851663 w 2852980"/>
                <a:gd name="connsiteY85" fmla="*/ 20971 h 177939"/>
                <a:gd name="connsiteX86" fmla="*/ 2703548 w 2852980"/>
                <a:gd name="connsiteY86" fmla="*/ 99113 h 177939"/>
                <a:gd name="connsiteX87" fmla="*/ 2565707 w 2852980"/>
                <a:gd name="connsiteY87" fmla="*/ 177834 h 177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852980" h="177939">
                  <a:moveTo>
                    <a:pt x="2565707" y="177834"/>
                  </a:moveTo>
                  <a:cubicBezTo>
                    <a:pt x="2564758" y="177834"/>
                    <a:pt x="2563862" y="177834"/>
                    <a:pt x="2562914" y="177781"/>
                  </a:cubicBezTo>
                  <a:cubicBezTo>
                    <a:pt x="2498894" y="176306"/>
                    <a:pt x="2438773" y="120716"/>
                    <a:pt x="2438246" y="120137"/>
                  </a:cubicBezTo>
                  <a:cubicBezTo>
                    <a:pt x="2428287" y="110125"/>
                    <a:pt x="2419014" y="99587"/>
                    <a:pt x="2410004" y="89417"/>
                  </a:cubicBezTo>
                  <a:cubicBezTo>
                    <a:pt x="2392247" y="69342"/>
                    <a:pt x="2375490" y="50373"/>
                    <a:pt x="2355678" y="36990"/>
                  </a:cubicBezTo>
                  <a:cubicBezTo>
                    <a:pt x="2333917" y="22341"/>
                    <a:pt x="2311945" y="15755"/>
                    <a:pt x="2284598" y="15702"/>
                  </a:cubicBezTo>
                  <a:cubicBezTo>
                    <a:pt x="2240073" y="15755"/>
                    <a:pt x="2212832" y="33723"/>
                    <a:pt x="2185643" y="60701"/>
                  </a:cubicBezTo>
                  <a:cubicBezTo>
                    <a:pt x="2176633" y="69658"/>
                    <a:pt x="2168202" y="79248"/>
                    <a:pt x="2159297" y="89417"/>
                  </a:cubicBezTo>
                  <a:cubicBezTo>
                    <a:pt x="2141119" y="110073"/>
                    <a:pt x="2122308" y="131465"/>
                    <a:pt x="2097490" y="148485"/>
                  </a:cubicBezTo>
                  <a:cubicBezTo>
                    <a:pt x="2068932" y="168086"/>
                    <a:pt x="2035841" y="178150"/>
                    <a:pt x="1998746" y="177834"/>
                  </a:cubicBezTo>
                  <a:cubicBezTo>
                    <a:pt x="1998641" y="177834"/>
                    <a:pt x="1998535" y="177834"/>
                    <a:pt x="1998483" y="177834"/>
                  </a:cubicBezTo>
                  <a:cubicBezTo>
                    <a:pt x="1931354" y="177834"/>
                    <a:pt x="1891098" y="144954"/>
                    <a:pt x="1866649" y="120189"/>
                  </a:cubicBezTo>
                  <a:cubicBezTo>
                    <a:pt x="1856690" y="110178"/>
                    <a:pt x="1847364" y="99587"/>
                    <a:pt x="1838354" y="89417"/>
                  </a:cubicBezTo>
                  <a:cubicBezTo>
                    <a:pt x="1820649" y="69395"/>
                    <a:pt x="1803946" y="50426"/>
                    <a:pt x="1784134" y="37042"/>
                  </a:cubicBezTo>
                  <a:cubicBezTo>
                    <a:pt x="1762372" y="22394"/>
                    <a:pt x="1740505" y="15807"/>
                    <a:pt x="1713106" y="15755"/>
                  </a:cubicBezTo>
                  <a:cubicBezTo>
                    <a:pt x="1668687" y="15807"/>
                    <a:pt x="1641498" y="33775"/>
                    <a:pt x="1614362" y="60753"/>
                  </a:cubicBezTo>
                  <a:cubicBezTo>
                    <a:pt x="1605351" y="69711"/>
                    <a:pt x="1596921" y="79301"/>
                    <a:pt x="1588016" y="89470"/>
                  </a:cubicBezTo>
                  <a:cubicBezTo>
                    <a:pt x="1569890" y="110125"/>
                    <a:pt x="1551132" y="131465"/>
                    <a:pt x="1526367" y="148485"/>
                  </a:cubicBezTo>
                  <a:cubicBezTo>
                    <a:pt x="1498019" y="167981"/>
                    <a:pt x="1465034" y="177834"/>
                    <a:pt x="1428361" y="177834"/>
                  </a:cubicBezTo>
                  <a:cubicBezTo>
                    <a:pt x="1428045" y="177834"/>
                    <a:pt x="1427781" y="177834"/>
                    <a:pt x="1427465" y="177834"/>
                  </a:cubicBezTo>
                  <a:cubicBezTo>
                    <a:pt x="1360336" y="177834"/>
                    <a:pt x="1320080" y="144954"/>
                    <a:pt x="1295631" y="120189"/>
                  </a:cubicBezTo>
                  <a:cubicBezTo>
                    <a:pt x="1285725" y="110178"/>
                    <a:pt x="1276399" y="99639"/>
                    <a:pt x="1267389" y="89470"/>
                  </a:cubicBezTo>
                  <a:cubicBezTo>
                    <a:pt x="1249684" y="69395"/>
                    <a:pt x="1232928" y="50479"/>
                    <a:pt x="1213116" y="37042"/>
                  </a:cubicBezTo>
                  <a:cubicBezTo>
                    <a:pt x="1191355" y="22394"/>
                    <a:pt x="1169435" y="15807"/>
                    <a:pt x="1142141" y="15755"/>
                  </a:cubicBezTo>
                  <a:cubicBezTo>
                    <a:pt x="1097722" y="15807"/>
                    <a:pt x="1070533" y="33775"/>
                    <a:pt x="1043344" y="60753"/>
                  </a:cubicBezTo>
                  <a:cubicBezTo>
                    <a:pt x="1034334" y="69711"/>
                    <a:pt x="1025903" y="79301"/>
                    <a:pt x="1016946" y="89523"/>
                  </a:cubicBezTo>
                  <a:cubicBezTo>
                    <a:pt x="998820" y="110178"/>
                    <a:pt x="980062" y="131518"/>
                    <a:pt x="955244" y="148537"/>
                  </a:cubicBezTo>
                  <a:cubicBezTo>
                    <a:pt x="926896" y="168033"/>
                    <a:pt x="893911" y="177887"/>
                    <a:pt x="857238" y="177887"/>
                  </a:cubicBezTo>
                  <a:cubicBezTo>
                    <a:pt x="856974" y="177887"/>
                    <a:pt x="856658" y="177887"/>
                    <a:pt x="856342" y="177887"/>
                  </a:cubicBezTo>
                  <a:cubicBezTo>
                    <a:pt x="789213" y="177887"/>
                    <a:pt x="748957" y="145007"/>
                    <a:pt x="724508" y="120242"/>
                  </a:cubicBezTo>
                  <a:cubicBezTo>
                    <a:pt x="714549" y="110231"/>
                    <a:pt x="705276" y="99692"/>
                    <a:pt x="696265" y="89523"/>
                  </a:cubicBezTo>
                  <a:cubicBezTo>
                    <a:pt x="678561" y="69447"/>
                    <a:pt x="661805" y="50479"/>
                    <a:pt x="641993" y="37095"/>
                  </a:cubicBezTo>
                  <a:cubicBezTo>
                    <a:pt x="620231" y="22447"/>
                    <a:pt x="598312" y="15860"/>
                    <a:pt x="571018" y="15807"/>
                  </a:cubicBezTo>
                  <a:cubicBezTo>
                    <a:pt x="526599" y="15860"/>
                    <a:pt x="499410" y="33828"/>
                    <a:pt x="472221" y="60806"/>
                  </a:cubicBezTo>
                  <a:cubicBezTo>
                    <a:pt x="463211" y="69763"/>
                    <a:pt x="454780" y="79353"/>
                    <a:pt x="445823" y="89576"/>
                  </a:cubicBezTo>
                  <a:cubicBezTo>
                    <a:pt x="427697" y="110231"/>
                    <a:pt x="408939" y="131571"/>
                    <a:pt x="384121" y="148590"/>
                  </a:cubicBezTo>
                  <a:cubicBezTo>
                    <a:pt x="355773" y="168086"/>
                    <a:pt x="322788" y="177939"/>
                    <a:pt x="286115" y="177939"/>
                  </a:cubicBezTo>
                  <a:cubicBezTo>
                    <a:pt x="285851" y="177939"/>
                    <a:pt x="285535" y="177939"/>
                    <a:pt x="285219" y="177939"/>
                  </a:cubicBezTo>
                  <a:cubicBezTo>
                    <a:pt x="218143" y="177939"/>
                    <a:pt x="177886" y="145060"/>
                    <a:pt x="153438" y="120295"/>
                  </a:cubicBezTo>
                  <a:cubicBezTo>
                    <a:pt x="143479" y="110283"/>
                    <a:pt x="134205" y="99745"/>
                    <a:pt x="125195" y="89523"/>
                  </a:cubicBezTo>
                  <a:cubicBezTo>
                    <a:pt x="107490" y="69447"/>
                    <a:pt x="90787" y="50531"/>
                    <a:pt x="70975" y="37147"/>
                  </a:cubicBezTo>
                  <a:cubicBezTo>
                    <a:pt x="49214" y="22499"/>
                    <a:pt x="27347" y="15913"/>
                    <a:pt x="0" y="15860"/>
                  </a:cubicBezTo>
                  <a:lnTo>
                    <a:pt x="52" y="53"/>
                  </a:lnTo>
                  <a:cubicBezTo>
                    <a:pt x="30719" y="158"/>
                    <a:pt x="55326" y="7535"/>
                    <a:pt x="79827" y="24080"/>
                  </a:cubicBezTo>
                  <a:cubicBezTo>
                    <a:pt x="101326" y="38570"/>
                    <a:pt x="118661" y="58277"/>
                    <a:pt x="137050" y="79090"/>
                  </a:cubicBezTo>
                  <a:cubicBezTo>
                    <a:pt x="145903" y="89101"/>
                    <a:pt x="155071" y="99482"/>
                    <a:pt x="164661" y="109177"/>
                  </a:cubicBezTo>
                  <a:cubicBezTo>
                    <a:pt x="189004" y="133837"/>
                    <a:pt x="224729" y="162132"/>
                    <a:pt x="285219" y="162132"/>
                  </a:cubicBezTo>
                  <a:cubicBezTo>
                    <a:pt x="285482" y="162132"/>
                    <a:pt x="285746" y="162132"/>
                    <a:pt x="286009" y="162132"/>
                  </a:cubicBezTo>
                  <a:cubicBezTo>
                    <a:pt x="319469" y="162132"/>
                    <a:pt x="349450" y="153174"/>
                    <a:pt x="375111" y="135522"/>
                  </a:cubicBezTo>
                  <a:cubicBezTo>
                    <a:pt x="398242" y="119662"/>
                    <a:pt x="416368" y="99060"/>
                    <a:pt x="433862" y="79090"/>
                  </a:cubicBezTo>
                  <a:cubicBezTo>
                    <a:pt x="442609" y="69184"/>
                    <a:pt x="451619" y="58909"/>
                    <a:pt x="460998" y="49583"/>
                  </a:cubicBezTo>
                  <a:cubicBezTo>
                    <a:pt x="486922" y="23869"/>
                    <a:pt x="518168" y="105"/>
                    <a:pt x="570965" y="0"/>
                  </a:cubicBezTo>
                  <a:cubicBezTo>
                    <a:pt x="601684" y="105"/>
                    <a:pt x="626291" y="7482"/>
                    <a:pt x="650792" y="24027"/>
                  </a:cubicBezTo>
                  <a:cubicBezTo>
                    <a:pt x="672291" y="38570"/>
                    <a:pt x="689679" y="58224"/>
                    <a:pt x="708068" y="79090"/>
                  </a:cubicBezTo>
                  <a:cubicBezTo>
                    <a:pt x="716920" y="89101"/>
                    <a:pt x="726089" y="99482"/>
                    <a:pt x="735679" y="109177"/>
                  </a:cubicBezTo>
                  <a:cubicBezTo>
                    <a:pt x="760022" y="133837"/>
                    <a:pt x="795747" y="162132"/>
                    <a:pt x="856289" y="162132"/>
                  </a:cubicBezTo>
                  <a:cubicBezTo>
                    <a:pt x="856553" y="162132"/>
                    <a:pt x="856816" y="162132"/>
                    <a:pt x="857080" y="162132"/>
                  </a:cubicBezTo>
                  <a:cubicBezTo>
                    <a:pt x="890539" y="162132"/>
                    <a:pt x="920520" y="153174"/>
                    <a:pt x="946181" y="135522"/>
                  </a:cubicBezTo>
                  <a:cubicBezTo>
                    <a:pt x="969312" y="119662"/>
                    <a:pt x="987438" y="99060"/>
                    <a:pt x="1004932" y="79143"/>
                  </a:cubicBezTo>
                  <a:cubicBezTo>
                    <a:pt x="1013679" y="69237"/>
                    <a:pt x="1022689" y="58962"/>
                    <a:pt x="1032068" y="49635"/>
                  </a:cubicBezTo>
                  <a:cubicBezTo>
                    <a:pt x="1057992" y="23922"/>
                    <a:pt x="1089238" y="158"/>
                    <a:pt x="1142035" y="53"/>
                  </a:cubicBezTo>
                  <a:cubicBezTo>
                    <a:pt x="1172702" y="158"/>
                    <a:pt x="1197361" y="7535"/>
                    <a:pt x="1221863" y="24080"/>
                  </a:cubicBezTo>
                  <a:cubicBezTo>
                    <a:pt x="1243361" y="38623"/>
                    <a:pt x="1260749" y="58277"/>
                    <a:pt x="1279139" y="79143"/>
                  </a:cubicBezTo>
                  <a:cubicBezTo>
                    <a:pt x="1287991" y="89154"/>
                    <a:pt x="1297159" y="99534"/>
                    <a:pt x="1306749" y="109229"/>
                  </a:cubicBezTo>
                  <a:cubicBezTo>
                    <a:pt x="1331092" y="133889"/>
                    <a:pt x="1366817" y="162185"/>
                    <a:pt x="1427360" y="162185"/>
                  </a:cubicBezTo>
                  <a:cubicBezTo>
                    <a:pt x="1427623" y="162185"/>
                    <a:pt x="1427887" y="162185"/>
                    <a:pt x="1428150" y="162185"/>
                  </a:cubicBezTo>
                  <a:cubicBezTo>
                    <a:pt x="1461609" y="162185"/>
                    <a:pt x="1491591" y="153227"/>
                    <a:pt x="1517251" y="135575"/>
                  </a:cubicBezTo>
                  <a:cubicBezTo>
                    <a:pt x="1540383" y="119662"/>
                    <a:pt x="1558509" y="99060"/>
                    <a:pt x="1576002" y="79143"/>
                  </a:cubicBezTo>
                  <a:cubicBezTo>
                    <a:pt x="1584697" y="69237"/>
                    <a:pt x="1593707" y="58962"/>
                    <a:pt x="1603086" y="49635"/>
                  </a:cubicBezTo>
                  <a:cubicBezTo>
                    <a:pt x="1629010" y="23922"/>
                    <a:pt x="1660256" y="158"/>
                    <a:pt x="1713000" y="53"/>
                  </a:cubicBezTo>
                  <a:cubicBezTo>
                    <a:pt x="1743719" y="158"/>
                    <a:pt x="1768379" y="7535"/>
                    <a:pt x="1792881" y="24080"/>
                  </a:cubicBezTo>
                  <a:cubicBezTo>
                    <a:pt x="1814379" y="38570"/>
                    <a:pt x="1831714" y="58277"/>
                    <a:pt x="1850104" y="79090"/>
                  </a:cubicBezTo>
                  <a:cubicBezTo>
                    <a:pt x="1858955" y="89101"/>
                    <a:pt x="1868124" y="99482"/>
                    <a:pt x="1877767" y="109229"/>
                  </a:cubicBezTo>
                  <a:cubicBezTo>
                    <a:pt x="1902163" y="133889"/>
                    <a:pt x="1937888" y="162185"/>
                    <a:pt x="1998430" y="162185"/>
                  </a:cubicBezTo>
                  <a:cubicBezTo>
                    <a:pt x="1998693" y="162185"/>
                    <a:pt x="1998957" y="162185"/>
                    <a:pt x="1999220" y="162185"/>
                  </a:cubicBezTo>
                  <a:cubicBezTo>
                    <a:pt x="2032785" y="162185"/>
                    <a:pt x="2062766" y="153227"/>
                    <a:pt x="2088480" y="135575"/>
                  </a:cubicBezTo>
                  <a:cubicBezTo>
                    <a:pt x="2111664" y="119662"/>
                    <a:pt x="2129790" y="99060"/>
                    <a:pt x="2147337" y="79090"/>
                  </a:cubicBezTo>
                  <a:cubicBezTo>
                    <a:pt x="2156030" y="69184"/>
                    <a:pt x="2165041" y="58909"/>
                    <a:pt x="2174419" y="49635"/>
                  </a:cubicBezTo>
                  <a:cubicBezTo>
                    <a:pt x="2200344" y="23922"/>
                    <a:pt x="2231643" y="158"/>
                    <a:pt x="2284545" y="53"/>
                  </a:cubicBezTo>
                  <a:cubicBezTo>
                    <a:pt x="2315264" y="158"/>
                    <a:pt x="2339924" y="7535"/>
                    <a:pt x="2364478" y="24080"/>
                  </a:cubicBezTo>
                  <a:cubicBezTo>
                    <a:pt x="2385976" y="38623"/>
                    <a:pt x="2403364" y="58277"/>
                    <a:pt x="2421806" y="79143"/>
                  </a:cubicBezTo>
                  <a:cubicBezTo>
                    <a:pt x="2430658" y="89154"/>
                    <a:pt x="2439826" y="99534"/>
                    <a:pt x="2449417" y="109229"/>
                  </a:cubicBezTo>
                  <a:cubicBezTo>
                    <a:pt x="2449943" y="109756"/>
                    <a:pt x="2505111" y="160867"/>
                    <a:pt x="2563230" y="162185"/>
                  </a:cubicBezTo>
                  <a:cubicBezTo>
                    <a:pt x="2615289" y="163449"/>
                    <a:pt x="2652700" y="126670"/>
                    <a:pt x="2692483" y="87837"/>
                  </a:cubicBezTo>
                  <a:cubicBezTo>
                    <a:pt x="2737059" y="44313"/>
                    <a:pt x="2783217" y="-632"/>
                    <a:pt x="2852981" y="5216"/>
                  </a:cubicBezTo>
                  <a:lnTo>
                    <a:pt x="2851663" y="20971"/>
                  </a:lnTo>
                  <a:cubicBezTo>
                    <a:pt x="2789066" y="15597"/>
                    <a:pt x="2747492" y="56222"/>
                    <a:pt x="2703548" y="99113"/>
                  </a:cubicBezTo>
                  <a:cubicBezTo>
                    <a:pt x="2663818" y="137788"/>
                    <a:pt x="2622772" y="177834"/>
                    <a:pt x="2565707" y="177834"/>
                  </a:cubicBezTo>
                  <a:close/>
                </a:path>
              </a:pathLst>
            </a:custGeom>
            <a:solidFill>
              <a:srgbClr val="13284C"/>
            </a:solidFill>
            <a:ln w="5266" cap="flat">
              <a:solidFill>
                <a:schemeClr val="tx2"/>
              </a:solid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49" name="Freeform: Shape 648">
              <a:extLst>
                <a:ext uri="{FF2B5EF4-FFF2-40B4-BE49-F238E27FC236}">
                  <a16:creationId xmlns:a16="http://schemas.microsoft.com/office/drawing/2014/main" id="{6C309313-510B-4500-9FE5-7E8077DEF23C}"/>
                </a:ext>
              </a:extLst>
            </p:cNvPr>
            <p:cNvSpPr/>
            <p:nvPr/>
          </p:nvSpPr>
          <p:spPr>
            <a:xfrm>
              <a:off x="4841464" y="3375980"/>
              <a:ext cx="2853191" cy="177939"/>
            </a:xfrm>
            <a:custGeom>
              <a:avLst/>
              <a:gdLst>
                <a:gd name="connsiteX0" fmla="*/ 2565759 w 2853191"/>
                <a:gd name="connsiteY0" fmla="*/ 177887 h 177939"/>
                <a:gd name="connsiteX1" fmla="*/ 2562967 w 2853191"/>
                <a:gd name="connsiteY1" fmla="*/ 177834 h 177939"/>
                <a:gd name="connsiteX2" fmla="*/ 2438299 w 2853191"/>
                <a:gd name="connsiteY2" fmla="*/ 120189 h 177939"/>
                <a:gd name="connsiteX3" fmla="*/ 2410056 w 2853191"/>
                <a:gd name="connsiteY3" fmla="*/ 89470 h 177939"/>
                <a:gd name="connsiteX4" fmla="*/ 2355731 w 2853191"/>
                <a:gd name="connsiteY4" fmla="*/ 37042 h 177939"/>
                <a:gd name="connsiteX5" fmla="*/ 2284650 w 2853191"/>
                <a:gd name="connsiteY5" fmla="*/ 15755 h 177939"/>
                <a:gd name="connsiteX6" fmla="*/ 2185696 w 2853191"/>
                <a:gd name="connsiteY6" fmla="*/ 60753 h 177939"/>
                <a:gd name="connsiteX7" fmla="*/ 2159350 w 2853191"/>
                <a:gd name="connsiteY7" fmla="*/ 89417 h 177939"/>
                <a:gd name="connsiteX8" fmla="*/ 2097543 w 2853191"/>
                <a:gd name="connsiteY8" fmla="*/ 148485 h 177939"/>
                <a:gd name="connsiteX9" fmla="*/ 1998799 w 2853191"/>
                <a:gd name="connsiteY9" fmla="*/ 177834 h 177939"/>
                <a:gd name="connsiteX10" fmla="*/ 1998536 w 2853191"/>
                <a:gd name="connsiteY10" fmla="*/ 177834 h 177939"/>
                <a:gd name="connsiteX11" fmla="*/ 1866649 w 2853191"/>
                <a:gd name="connsiteY11" fmla="*/ 120189 h 177939"/>
                <a:gd name="connsiteX12" fmla="*/ 1838354 w 2853191"/>
                <a:gd name="connsiteY12" fmla="*/ 89417 h 177939"/>
                <a:gd name="connsiteX13" fmla="*/ 1784134 w 2853191"/>
                <a:gd name="connsiteY13" fmla="*/ 37042 h 177939"/>
                <a:gd name="connsiteX14" fmla="*/ 1713106 w 2853191"/>
                <a:gd name="connsiteY14" fmla="*/ 15755 h 177939"/>
                <a:gd name="connsiteX15" fmla="*/ 1614362 w 2853191"/>
                <a:gd name="connsiteY15" fmla="*/ 60753 h 177939"/>
                <a:gd name="connsiteX16" fmla="*/ 1588016 w 2853191"/>
                <a:gd name="connsiteY16" fmla="*/ 89470 h 177939"/>
                <a:gd name="connsiteX17" fmla="*/ 1526367 w 2853191"/>
                <a:gd name="connsiteY17" fmla="*/ 148485 h 177939"/>
                <a:gd name="connsiteX18" fmla="*/ 1428308 w 2853191"/>
                <a:gd name="connsiteY18" fmla="*/ 177834 h 177939"/>
                <a:gd name="connsiteX19" fmla="*/ 1427465 w 2853191"/>
                <a:gd name="connsiteY19" fmla="*/ 177834 h 177939"/>
                <a:gd name="connsiteX20" fmla="*/ 1295631 w 2853191"/>
                <a:gd name="connsiteY20" fmla="*/ 120189 h 177939"/>
                <a:gd name="connsiteX21" fmla="*/ 1267389 w 2853191"/>
                <a:gd name="connsiteY21" fmla="*/ 89470 h 177939"/>
                <a:gd name="connsiteX22" fmla="*/ 1213116 w 2853191"/>
                <a:gd name="connsiteY22" fmla="*/ 37042 h 177939"/>
                <a:gd name="connsiteX23" fmla="*/ 1142141 w 2853191"/>
                <a:gd name="connsiteY23" fmla="*/ 15755 h 177939"/>
                <a:gd name="connsiteX24" fmla="*/ 1043344 w 2853191"/>
                <a:gd name="connsiteY24" fmla="*/ 60753 h 177939"/>
                <a:gd name="connsiteX25" fmla="*/ 1016946 w 2853191"/>
                <a:gd name="connsiteY25" fmla="*/ 89523 h 177939"/>
                <a:gd name="connsiteX26" fmla="*/ 955244 w 2853191"/>
                <a:gd name="connsiteY26" fmla="*/ 148537 h 177939"/>
                <a:gd name="connsiteX27" fmla="*/ 857185 w 2853191"/>
                <a:gd name="connsiteY27" fmla="*/ 177887 h 177939"/>
                <a:gd name="connsiteX28" fmla="*/ 856342 w 2853191"/>
                <a:gd name="connsiteY28" fmla="*/ 177887 h 177939"/>
                <a:gd name="connsiteX29" fmla="*/ 724508 w 2853191"/>
                <a:gd name="connsiteY29" fmla="*/ 120242 h 177939"/>
                <a:gd name="connsiteX30" fmla="*/ 696265 w 2853191"/>
                <a:gd name="connsiteY30" fmla="*/ 89523 h 177939"/>
                <a:gd name="connsiteX31" fmla="*/ 641993 w 2853191"/>
                <a:gd name="connsiteY31" fmla="*/ 37095 h 177939"/>
                <a:gd name="connsiteX32" fmla="*/ 571018 w 2853191"/>
                <a:gd name="connsiteY32" fmla="*/ 15807 h 177939"/>
                <a:gd name="connsiteX33" fmla="*/ 472221 w 2853191"/>
                <a:gd name="connsiteY33" fmla="*/ 60806 h 177939"/>
                <a:gd name="connsiteX34" fmla="*/ 445823 w 2853191"/>
                <a:gd name="connsiteY34" fmla="*/ 89576 h 177939"/>
                <a:gd name="connsiteX35" fmla="*/ 384121 w 2853191"/>
                <a:gd name="connsiteY35" fmla="*/ 148590 h 177939"/>
                <a:gd name="connsiteX36" fmla="*/ 286062 w 2853191"/>
                <a:gd name="connsiteY36" fmla="*/ 177939 h 177939"/>
                <a:gd name="connsiteX37" fmla="*/ 285219 w 2853191"/>
                <a:gd name="connsiteY37" fmla="*/ 177939 h 177939"/>
                <a:gd name="connsiteX38" fmla="*/ 153438 w 2853191"/>
                <a:gd name="connsiteY38" fmla="*/ 120295 h 177939"/>
                <a:gd name="connsiteX39" fmla="*/ 125195 w 2853191"/>
                <a:gd name="connsiteY39" fmla="*/ 89523 h 177939"/>
                <a:gd name="connsiteX40" fmla="*/ 70975 w 2853191"/>
                <a:gd name="connsiteY40" fmla="*/ 37147 h 177939"/>
                <a:gd name="connsiteX41" fmla="*/ 0 w 2853191"/>
                <a:gd name="connsiteY41" fmla="*/ 15860 h 177939"/>
                <a:gd name="connsiteX42" fmla="*/ 53 w 2853191"/>
                <a:gd name="connsiteY42" fmla="*/ 53 h 177939"/>
                <a:gd name="connsiteX43" fmla="*/ 79827 w 2853191"/>
                <a:gd name="connsiteY43" fmla="*/ 24080 h 177939"/>
                <a:gd name="connsiteX44" fmla="*/ 137051 w 2853191"/>
                <a:gd name="connsiteY44" fmla="*/ 79090 h 177939"/>
                <a:gd name="connsiteX45" fmla="*/ 164661 w 2853191"/>
                <a:gd name="connsiteY45" fmla="*/ 109177 h 177939"/>
                <a:gd name="connsiteX46" fmla="*/ 285272 w 2853191"/>
                <a:gd name="connsiteY46" fmla="*/ 162132 h 177939"/>
                <a:gd name="connsiteX47" fmla="*/ 286009 w 2853191"/>
                <a:gd name="connsiteY47" fmla="*/ 162132 h 177939"/>
                <a:gd name="connsiteX48" fmla="*/ 375163 w 2853191"/>
                <a:gd name="connsiteY48" fmla="*/ 135522 h 177939"/>
                <a:gd name="connsiteX49" fmla="*/ 433914 w 2853191"/>
                <a:gd name="connsiteY49" fmla="*/ 79090 h 177939"/>
                <a:gd name="connsiteX50" fmla="*/ 461051 w 2853191"/>
                <a:gd name="connsiteY50" fmla="*/ 49583 h 177939"/>
                <a:gd name="connsiteX51" fmla="*/ 571018 w 2853191"/>
                <a:gd name="connsiteY51" fmla="*/ 0 h 177939"/>
                <a:gd name="connsiteX52" fmla="*/ 650845 w 2853191"/>
                <a:gd name="connsiteY52" fmla="*/ 24027 h 177939"/>
                <a:gd name="connsiteX53" fmla="*/ 708121 w 2853191"/>
                <a:gd name="connsiteY53" fmla="*/ 79090 h 177939"/>
                <a:gd name="connsiteX54" fmla="*/ 735731 w 2853191"/>
                <a:gd name="connsiteY54" fmla="*/ 109177 h 177939"/>
                <a:gd name="connsiteX55" fmla="*/ 856342 w 2853191"/>
                <a:gd name="connsiteY55" fmla="*/ 162132 h 177939"/>
                <a:gd name="connsiteX56" fmla="*/ 857132 w 2853191"/>
                <a:gd name="connsiteY56" fmla="*/ 162132 h 177939"/>
                <a:gd name="connsiteX57" fmla="*/ 946286 w 2853191"/>
                <a:gd name="connsiteY57" fmla="*/ 135522 h 177939"/>
                <a:gd name="connsiteX58" fmla="*/ 1005037 w 2853191"/>
                <a:gd name="connsiteY58" fmla="*/ 79143 h 177939"/>
                <a:gd name="connsiteX59" fmla="*/ 1032174 w 2853191"/>
                <a:gd name="connsiteY59" fmla="*/ 49635 h 177939"/>
                <a:gd name="connsiteX60" fmla="*/ 1142141 w 2853191"/>
                <a:gd name="connsiteY60" fmla="*/ 53 h 177939"/>
                <a:gd name="connsiteX61" fmla="*/ 1221969 w 2853191"/>
                <a:gd name="connsiteY61" fmla="*/ 24080 h 177939"/>
                <a:gd name="connsiteX62" fmla="*/ 1279244 w 2853191"/>
                <a:gd name="connsiteY62" fmla="*/ 79143 h 177939"/>
                <a:gd name="connsiteX63" fmla="*/ 1306855 w 2853191"/>
                <a:gd name="connsiteY63" fmla="*/ 109229 h 177939"/>
                <a:gd name="connsiteX64" fmla="*/ 1427465 w 2853191"/>
                <a:gd name="connsiteY64" fmla="*/ 162184 h 177939"/>
                <a:gd name="connsiteX65" fmla="*/ 1428255 w 2853191"/>
                <a:gd name="connsiteY65" fmla="*/ 162184 h 177939"/>
                <a:gd name="connsiteX66" fmla="*/ 1517410 w 2853191"/>
                <a:gd name="connsiteY66" fmla="*/ 135575 h 177939"/>
                <a:gd name="connsiteX67" fmla="*/ 1576161 w 2853191"/>
                <a:gd name="connsiteY67" fmla="*/ 79143 h 177939"/>
                <a:gd name="connsiteX68" fmla="*/ 1603244 w 2853191"/>
                <a:gd name="connsiteY68" fmla="*/ 49635 h 177939"/>
                <a:gd name="connsiteX69" fmla="*/ 1713159 w 2853191"/>
                <a:gd name="connsiteY69" fmla="*/ 53 h 177939"/>
                <a:gd name="connsiteX70" fmla="*/ 1793039 w 2853191"/>
                <a:gd name="connsiteY70" fmla="*/ 24080 h 177939"/>
                <a:gd name="connsiteX71" fmla="*/ 1850262 w 2853191"/>
                <a:gd name="connsiteY71" fmla="*/ 79090 h 177939"/>
                <a:gd name="connsiteX72" fmla="*/ 1877925 w 2853191"/>
                <a:gd name="connsiteY72" fmla="*/ 109229 h 177939"/>
                <a:gd name="connsiteX73" fmla="*/ 1998588 w 2853191"/>
                <a:gd name="connsiteY73" fmla="*/ 162184 h 177939"/>
                <a:gd name="connsiteX74" fmla="*/ 1999378 w 2853191"/>
                <a:gd name="connsiteY74" fmla="*/ 162184 h 177939"/>
                <a:gd name="connsiteX75" fmla="*/ 2088691 w 2853191"/>
                <a:gd name="connsiteY75" fmla="*/ 135575 h 177939"/>
                <a:gd name="connsiteX76" fmla="*/ 2147547 w 2853191"/>
                <a:gd name="connsiteY76" fmla="*/ 79090 h 177939"/>
                <a:gd name="connsiteX77" fmla="*/ 2174630 w 2853191"/>
                <a:gd name="connsiteY77" fmla="*/ 49635 h 177939"/>
                <a:gd name="connsiteX78" fmla="*/ 2284756 w 2853191"/>
                <a:gd name="connsiteY78" fmla="*/ 53 h 177939"/>
                <a:gd name="connsiteX79" fmla="*/ 2364689 w 2853191"/>
                <a:gd name="connsiteY79" fmla="*/ 24080 h 177939"/>
                <a:gd name="connsiteX80" fmla="*/ 2422017 w 2853191"/>
                <a:gd name="connsiteY80" fmla="*/ 79143 h 177939"/>
                <a:gd name="connsiteX81" fmla="*/ 2449628 w 2853191"/>
                <a:gd name="connsiteY81" fmla="*/ 109229 h 177939"/>
                <a:gd name="connsiteX82" fmla="*/ 2563441 w 2853191"/>
                <a:gd name="connsiteY82" fmla="*/ 162184 h 177939"/>
                <a:gd name="connsiteX83" fmla="*/ 2692694 w 2853191"/>
                <a:gd name="connsiteY83" fmla="*/ 87837 h 177939"/>
                <a:gd name="connsiteX84" fmla="*/ 2853192 w 2853191"/>
                <a:gd name="connsiteY84" fmla="*/ 5216 h 177939"/>
                <a:gd name="connsiteX85" fmla="*/ 2851874 w 2853191"/>
                <a:gd name="connsiteY85" fmla="*/ 20971 h 177939"/>
                <a:gd name="connsiteX86" fmla="*/ 2703759 w 2853191"/>
                <a:gd name="connsiteY86" fmla="*/ 99113 h 177939"/>
                <a:gd name="connsiteX87" fmla="*/ 2565759 w 2853191"/>
                <a:gd name="connsiteY87" fmla="*/ 177887 h 177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853191" h="177939">
                  <a:moveTo>
                    <a:pt x="2565759" y="177887"/>
                  </a:moveTo>
                  <a:cubicBezTo>
                    <a:pt x="2564811" y="177887"/>
                    <a:pt x="2563915" y="177887"/>
                    <a:pt x="2562967" y="177834"/>
                  </a:cubicBezTo>
                  <a:cubicBezTo>
                    <a:pt x="2498947" y="176358"/>
                    <a:pt x="2438826" y="120769"/>
                    <a:pt x="2438299" y="120189"/>
                  </a:cubicBezTo>
                  <a:cubicBezTo>
                    <a:pt x="2428340" y="110178"/>
                    <a:pt x="2419066" y="99639"/>
                    <a:pt x="2410056" y="89470"/>
                  </a:cubicBezTo>
                  <a:cubicBezTo>
                    <a:pt x="2392299" y="69395"/>
                    <a:pt x="2375543" y="50426"/>
                    <a:pt x="2355731" y="37042"/>
                  </a:cubicBezTo>
                  <a:cubicBezTo>
                    <a:pt x="2333969" y="22394"/>
                    <a:pt x="2311997" y="15807"/>
                    <a:pt x="2284650" y="15755"/>
                  </a:cubicBezTo>
                  <a:cubicBezTo>
                    <a:pt x="2240126" y="15807"/>
                    <a:pt x="2212884" y="33775"/>
                    <a:pt x="2185696" y="60753"/>
                  </a:cubicBezTo>
                  <a:cubicBezTo>
                    <a:pt x="2176685" y="69711"/>
                    <a:pt x="2168255" y="79301"/>
                    <a:pt x="2159350" y="89417"/>
                  </a:cubicBezTo>
                  <a:cubicBezTo>
                    <a:pt x="2141171" y="110073"/>
                    <a:pt x="2122361" y="131465"/>
                    <a:pt x="2097543" y="148485"/>
                  </a:cubicBezTo>
                  <a:cubicBezTo>
                    <a:pt x="2068984" y="168086"/>
                    <a:pt x="2035577" y="178150"/>
                    <a:pt x="1998799" y="177834"/>
                  </a:cubicBezTo>
                  <a:cubicBezTo>
                    <a:pt x="1998693" y="177834"/>
                    <a:pt x="1998641" y="177834"/>
                    <a:pt x="1998536" y="177834"/>
                  </a:cubicBezTo>
                  <a:cubicBezTo>
                    <a:pt x="1931406" y="177834"/>
                    <a:pt x="1891151" y="144954"/>
                    <a:pt x="1866649" y="120189"/>
                  </a:cubicBezTo>
                  <a:cubicBezTo>
                    <a:pt x="1856690" y="110178"/>
                    <a:pt x="1847364" y="99587"/>
                    <a:pt x="1838354" y="89417"/>
                  </a:cubicBezTo>
                  <a:cubicBezTo>
                    <a:pt x="1820649" y="69395"/>
                    <a:pt x="1803946" y="50426"/>
                    <a:pt x="1784134" y="37042"/>
                  </a:cubicBezTo>
                  <a:cubicBezTo>
                    <a:pt x="1762372" y="22394"/>
                    <a:pt x="1740505" y="15807"/>
                    <a:pt x="1713106" y="15755"/>
                  </a:cubicBezTo>
                  <a:cubicBezTo>
                    <a:pt x="1668739" y="15807"/>
                    <a:pt x="1641498" y="33775"/>
                    <a:pt x="1614362" y="60753"/>
                  </a:cubicBezTo>
                  <a:cubicBezTo>
                    <a:pt x="1605352" y="69711"/>
                    <a:pt x="1596921" y="79301"/>
                    <a:pt x="1588016" y="89470"/>
                  </a:cubicBezTo>
                  <a:cubicBezTo>
                    <a:pt x="1569890" y="110125"/>
                    <a:pt x="1551132" y="131465"/>
                    <a:pt x="1526367" y="148485"/>
                  </a:cubicBezTo>
                  <a:cubicBezTo>
                    <a:pt x="1498019" y="167981"/>
                    <a:pt x="1465034" y="177834"/>
                    <a:pt x="1428308" y="177834"/>
                  </a:cubicBezTo>
                  <a:cubicBezTo>
                    <a:pt x="1428045" y="177834"/>
                    <a:pt x="1427728" y="177834"/>
                    <a:pt x="1427465" y="177834"/>
                  </a:cubicBezTo>
                  <a:cubicBezTo>
                    <a:pt x="1360337" y="177834"/>
                    <a:pt x="1320080" y="144954"/>
                    <a:pt x="1295631" y="120189"/>
                  </a:cubicBezTo>
                  <a:cubicBezTo>
                    <a:pt x="1285725" y="110178"/>
                    <a:pt x="1276399" y="99639"/>
                    <a:pt x="1267389" y="89470"/>
                  </a:cubicBezTo>
                  <a:cubicBezTo>
                    <a:pt x="1249684" y="69395"/>
                    <a:pt x="1232928" y="50479"/>
                    <a:pt x="1213116" y="37042"/>
                  </a:cubicBezTo>
                  <a:cubicBezTo>
                    <a:pt x="1191355" y="22394"/>
                    <a:pt x="1169435" y="15807"/>
                    <a:pt x="1142141" y="15755"/>
                  </a:cubicBezTo>
                  <a:cubicBezTo>
                    <a:pt x="1097722" y="15807"/>
                    <a:pt x="1070533" y="33775"/>
                    <a:pt x="1043344" y="60753"/>
                  </a:cubicBezTo>
                  <a:cubicBezTo>
                    <a:pt x="1034334" y="69711"/>
                    <a:pt x="1025903" y="79301"/>
                    <a:pt x="1016946" y="89523"/>
                  </a:cubicBezTo>
                  <a:cubicBezTo>
                    <a:pt x="998820" y="110178"/>
                    <a:pt x="980062" y="131518"/>
                    <a:pt x="955244" y="148537"/>
                  </a:cubicBezTo>
                  <a:cubicBezTo>
                    <a:pt x="926896" y="168033"/>
                    <a:pt x="893911" y="177887"/>
                    <a:pt x="857185" y="177887"/>
                  </a:cubicBezTo>
                  <a:cubicBezTo>
                    <a:pt x="856922" y="177887"/>
                    <a:pt x="856658" y="177887"/>
                    <a:pt x="856342" y="177887"/>
                  </a:cubicBezTo>
                  <a:cubicBezTo>
                    <a:pt x="789213" y="177887"/>
                    <a:pt x="748957" y="145007"/>
                    <a:pt x="724508" y="120242"/>
                  </a:cubicBezTo>
                  <a:cubicBezTo>
                    <a:pt x="714549" y="110231"/>
                    <a:pt x="705276" y="99692"/>
                    <a:pt x="696265" y="89523"/>
                  </a:cubicBezTo>
                  <a:cubicBezTo>
                    <a:pt x="678561" y="69447"/>
                    <a:pt x="661805" y="50479"/>
                    <a:pt x="641993" y="37095"/>
                  </a:cubicBezTo>
                  <a:cubicBezTo>
                    <a:pt x="620231" y="22447"/>
                    <a:pt x="598365" y="15860"/>
                    <a:pt x="571018" y="15807"/>
                  </a:cubicBezTo>
                  <a:cubicBezTo>
                    <a:pt x="526599" y="15860"/>
                    <a:pt x="499410" y="33828"/>
                    <a:pt x="472221" y="60806"/>
                  </a:cubicBezTo>
                  <a:cubicBezTo>
                    <a:pt x="463211" y="69763"/>
                    <a:pt x="454780" y="79353"/>
                    <a:pt x="445823" y="89576"/>
                  </a:cubicBezTo>
                  <a:cubicBezTo>
                    <a:pt x="427697" y="110231"/>
                    <a:pt x="408939" y="131571"/>
                    <a:pt x="384121" y="148590"/>
                  </a:cubicBezTo>
                  <a:cubicBezTo>
                    <a:pt x="355773" y="168086"/>
                    <a:pt x="322788" y="177939"/>
                    <a:pt x="286062" y="177939"/>
                  </a:cubicBezTo>
                  <a:cubicBezTo>
                    <a:pt x="285799" y="177939"/>
                    <a:pt x="285482" y="177939"/>
                    <a:pt x="285219" y="177939"/>
                  </a:cubicBezTo>
                  <a:cubicBezTo>
                    <a:pt x="218090" y="177939"/>
                    <a:pt x="177834" y="145060"/>
                    <a:pt x="153438" y="120295"/>
                  </a:cubicBezTo>
                  <a:cubicBezTo>
                    <a:pt x="143479" y="110283"/>
                    <a:pt x="134205" y="99745"/>
                    <a:pt x="125195" y="89523"/>
                  </a:cubicBezTo>
                  <a:cubicBezTo>
                    <a:pt x="107490" y="69447"/>
                    <a:pt x="90787" y="50531"/>
                    <a:pt x="70975" y="37147"/>
                  </a:cubicBezTo>
                  <a:cubicBezTo>
                    <a:pt x="49266" y="22499"/>
                    <a:pt x="27347" y="15913"/>
                    <a:pt x="0" y="15860"/>
                  </a:cubicBezTo>
                  <a:lnTo>
                    <a:pt x="53" y="53"/>
                  </a:lnTo>
                  <a:cubicBezTo>
                    <a:pt x="30719" y="158"/>
                    <a:pt x="55326" y="7535"/>
                    <a:pt x="79827" y="24080"/>
                  </a:cubicBezTo>
                  <a:cubicBezTo>
                    <a:pt x="101326" y="38570"/>
                    <a:pt x="118661" y="58277"/>
                    <a:pt x="137051" y="79090"/>
                  </a:cubicBezTo>
                  <a:cubicBezTo>
                    <a:pt x="145903" y="89101"/>
                    <a:pt x="155071" y="99482"/>
                    <a:pt x="164661" y="109177"/>
                  </a:cubicBezTo>
                  <a:cubicBezTo>
                    <a:pt x="189004" y="133837"/>
                    <a:pt x="224729" y="162132"/>
                    <a:pt x="285272" y="162132"/>
                  </a:cubicBezTo>
                  <a:cubicBezTo>
                    <a:pt x="285535" y="162132"/>
                    <a:pt x="285799" y="162132"/>
                    <a:pt x="286009" y="162132"/>
                  </a:cubicBezTo>
                  <a:cubicBezTo>
                    <a:pt x="319469" y="162132"/>
                    <a:pt x="349450" y="153174"/>
                    <a:pt x="375163" y="135522"/>
                  </a:cubicBezTo>
                  <a:cubicBezTo>
                    <a:pt x="398295" y="119610"/>
                    <a:pt x="416421" y="99060"/>
                    <a:pt x="433914" y="79090"/>
                  </a:cubicBezTo>
                  <a:cubicBezTo>
                    <a:pt x="442661" y="69184"/>
                    <a:pt x="451671" y="58909"/>
                    <a:pt x="461051" y="49583"/>
                  </a:cubicBezTo>
                  <a:cubicBezTo>
                    <a:pt x="486975" y="23869"/>
                    <a:pt x="518221" y="105"/>
                    <a:pt x="571018" y="0"/>
                  </a:cubicBezTo>
                  <a:cubicBezTo>
                    <a:pt x="601737" y="105"/>
                    <a:pt x="626344" y="7482"/>
                    <a:pt x="650845" y="24027"/>
                  </a:cubicBezTo>
                  <a:cubicBezTo>
                    <a:pt x="672343" y="38570"/>
                    <a:pt x="689731" y="58224"/>
                    <a:pt x="708121" y="79090"/>
                  </a:cubicBezTo>
                  <a:cubicBezTo>
                    <a:pt x="716973" y="89101"/>
                    <a:pt x="726141" y="99482"/>
                    <a:pt x="735731" y="109177"/>
                  </a:cubicBezTo>
                  <a:cubicBezTo>
                    <a:pt x="760075" y="133837"/>
                    <a:pt x="795799" y="162132"/>
                    <a:pt x="856342" y="162132"/>
                  </a:cubicBezTo>
                  <a:cubicBezTo>
                    <a:pt x="856606" y="162132"/>
                    <a:pt x="856869" y="162132"/>
                    <a:pt x="857132" y="162132"/>
                  </a:cubicBezTo>
                  <a:cubicBezTo>
                    <a:pt x="890591" y="162132"/>
                    <a:pt x="920573" y="153174"/>
                    <a:pt x="946286" y="135522"/>
                  </a:cubicBezTo>
                  <a:cubicBezTo>
                    <a:pt x="969418" y="119662"/>
                    <a:pt x="987544" y="99060"/>
                    <a:pt x="1005037" y="79143"/>
                  </a:cubicBezTo>
                  <a:cubicBezTo>
                    <a:pt x="1013784" y="69237"/>
                    <a:pt x="1022794" y="58962"/>
                    <a:pt x="1032174" y="49635"/>
                  </a:cubicBezTo>
                  <a:cubicBezTo>
                    <a:pt x="1058098" y="23922"/>
                    <a:pt x="1089344" y="158"/>
                    <a:pt x="1142141" y="53"/>
                  </a:cubicBezTo>
                  <a:cubicBezTo>
                    <a:pt x="1172860" y="158"/>
                    <a:pt x="1197467" y="7535"/>
                    <a:pt x="1221969" y="24080"/>
                  </a:cubicBezTo>
                  <a:cubicBezTo>
                    <a:pt x="1243466" y="38623"/>
                    <a:pt x="1260855" y="58277"/>
                    <a:pt x="1279244" y="79143"/>
                  </a:cubicBezTo>
                  <a:cubicBezTo>
                    <a:pt x="1288096" y="89154"/>
                    <a:pt x="1297264" y="99534"/>
                    <a:pt x="1306855" y="109229"/>
                  </a:cubicBezTo>
                  <a:cubicBezTo>
                    <a:pt x="1331198" y="133889"/>
                    <a:pt x="1366923" y="162184"/>
                    <a:pt x="1427465" y="162184"/>
                  </a:cubicBezTo>
                  <a:cubicBezTo>
                    <a:pt x="1427728" y="162184"/>
                    <a:pt x="1427992" y="162184"/>
                    <a:pt x="1428255" y="162184"/>
                  </a:cubicBezTo>
                  <a:cubicBezTo>
                    <a:pt x="1461715" y="162184"/>
                    <a:pt x="1491696" y="153227"/>
                    <a:pt x="1517410" y="135575"/>
                  </a:cubicBezTo>
                  <a:cubicBezTo>
                    <a:pt x="1540541" y="119662"/>
                    <a:pt x="1558667" y="99060"/>
                    <a:pt x="1576161" y="79143"/>
                  </a:cubicBezTo>
                  <a:cubicBezTo>
                    <a:pt x="1584855" y="69237"/>
                    <a:pt x="1593865" y="58962"/>
                    <a:pt x="1603244" y="49635"/>
                  </a:cubicBezTo>
                  <a:cubicBezTo>
                    <a:pt x="1629168" y="23922"/>
                    <a:pt x="1660414" y="158"/>
                    <a:pt x="1713159" y="53"/>
                  </a:cubicBezTo>
                  <a:cubicBezTo>
                    <a:pt x="1743877" y="158"/>
                    <a:pt x="1768537" y="7535"/>
                    <a:pt x="1793039" y="24080"/>
                  </a:cubicBezTo>
                  <a:cubicBezTo>
                    <a:pt x="1814537" y="38570"/>
                    <a:pt x="1831873" y="58277"/>
                    <a:pt x="1850262" y="79090"/>
                  </a:cubicBezTo>
                  <a:cubicBezTo>
                    <a:pt x="1859114" y="89101"/>
                    <a:pt x="1868282" y="99482"/>
                    <a:pt x="1877925" y="109229"/>
                  </a:cubicBezTo>
                  <a:cubicBezTo>
                    <a:pt x="1902321" y="133889"/>
                    <a:pt x="1938045" y="162184"/>
                    <a:pt x="1998588" y="162184"/>
                  </a:cubicBezTo>
                  <a:cubicBezTo>
                    <a:pt x="1998852" y="162184"/>
                    <a:pt x="1999115" y="162184"/>
                    <a:pt x="1999378" y="162184"/>
                  </a:cubicBezTo>
                  <a:cubicBezTo>
                    <a:pt x="2032943" y="162184"/>
                    <a:pt x="2062977" y="153227"/>
                    <a:pt x="2088691" y="135575"/>
                  </a:cubicBezTo>
                  <a:cubicBezTo>
                    <a:pt x="2111875" y="119662"/>
                    <a:pt x="2130001" y="99060"/>
                    <a:pt x="2147547" y="79090"/>
                  </a:cubicBezTo>
                  <a:cubicBezTo>
                    <a:pt x="2156241" y="69184"/>
                    <a:pt x="2165251" y="58962"/>
                    <a:pt x="2174630" y="49635"/>
                  </a:cubicBezTo>
                  <a:cubicBezTo>
                    <a:pt x="2200555" y="23922"/>
                    <a:pt x="2231853" y="158"/>
                    <a:pt x="2284756" y="53"/>
                  </a:cubicBezTo>
                  <a:cubicBezTo>
                    <a:pt x="2315475" y="158"/>
                    <a:pt x="2340135" y="7535"/>
                    <a:pt x="2364689" y="24080"/>
                  </a:cubicBezTo>
                  <a:cubicBezTo>
                    <a:pt x="2386187" y="38623"/>
                    <a:pt x="2403575" y="58277"/>
                    <a:pt x="2422017" y="79143"/>
                  </a:cubicBezTo>
                  <a:cubicBezTo>
                    <a:pt x="2430869" y="89154"/>
                    <a:pt x="2440037" y="99534"/>
                    <a:pt x="2449628" y="109229"/>
                  </a:cubicBezTo>
                  <a:cubicBezTo>
                    <a:pt x="2450154" y="109756"/>
                    <a:pt x="2505322" y="160867"/>
                    <a:pt x="2563441" y="162184"/>
                  </a:cubicBezTo>
                  <a:cubicBezTo>
                    <a:pt x="2615500" y="163291"/>
                    <a:pt x="2652911" y="126670"/>
                    <a:pt x="2692694" y="87837"/>
                  </a:cubicBezTo>
                  <a:cubicBezTo>
                    <a:pt x="2737270" y="44313"/>
                    <a:pt x="2783428" y="-580"/>
                    <a:pt x="2853192" y="5216"/>
                  </a:cubicBezTo>
                  <a:lnTo>
                    <a:pt x="2851874" y="20971"/>
                  </a:lnTo>
                  <a:cubicBezTo>
                    <a:pt x="2789277" y="15597"/>
                    <a:pt x="2747703" y="56222"/>
                    <a:pt x="2703759" y="99113"/>
                  </a:cubicBezTo>
                  <a:cubicBezTo>
                    <a:pt x="2663871" y="137788"/>
                    <a:pt x="2622825" y="177834"/>
                    <a:pt x="2565759" y="177887"/>
                  </a:cubicBezTo>
                  <a:close/>
                </a:path>
              </a:pathLst>
            </a:custGeom>
            <a:solidFill>
              <a:srgbClr val="13284C"/>
            </a:solidFill>
            <a:ln w="5266" cap="flat">
              <a:solidFill>
                <a:schemeClr val="tx2"/>
              </a:solid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604" name="Group 603">
            <a:extLst>
              <a:ext uri="{FF2B5EF4-FFF2-40B4-BE49-F238E27FC236}">
                <a16:creationId xmlns:a16="http://schemas.microsoft.com/office/drawing/2014/main" id="{21FE14F5-DF20-403B-8B83-1A2A714357BB}"/>
              </a:ext>
            </a:extLst>
          </p:cNvPr>
          <p:cNvGrpSpPr/>
          <p:nvPr/>
        </p:nvGrpSpPr>
        <p:grpSpPr>
          <a:xfrm>
            <a:off x="7277675" y="3103584"/>
            <a:ext cx="898510" cy="852167"/>
            <a:chOff x="-6023917" y="1122681"/>
            <a:chExt cx="3240973" cy="3073811"/>
          </a:xfrm>
          <a:solidFill>
            <a:schemeClr val="tx2"/>
          </a:solidFill>
        </p:grpSpPr>
        <p:sp>
          <p:nvSpPr>
            <p:cNvPr id="605" name="Rectangle: Rounded Corners 604">
              <a:extLst>
                <a:ext uri="{FF2B5EF4-FFF2-40B4-BE49-F238E27FC236}">
                  <a16:creationId xmlns:a16="http://schemas.microsoft.com/office/drawing/2014/main" id="{99BDB5D8-8D91-4E54-B71B-E4E5D876D5FA}"/>
                </a:ext>
              </a:extLst>
            </p:cNvPr>
            <p:cNvSpPr/>
            <p:nvPr/>
          </p:nvSpPr>
          <p:spPr>
            <a:xfrm>
              <a:off x="-4923588" y="1122681"/>
              <a:ext cx="1040316"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06" name="Rectangle: Rounded Corners 605">
              <a:extLst>
                <a:ext uri="{FF2B5EF4-FFF2-40B4-BE49-F238E27FC236}">
                  <a16:creationId xmlns:a16="http://schemas.microsoft.com/office/drawing/2014/main" id="{E2FC13E5-5DB3-470B-A6DC-D644B3BFC2E4}"/>
                </a:ext>
              </a:extLst>
            </p:cNvPr>
            <p:cNvSpPr/>
            <p:nvPr/>
          </p:nvSpPr>
          <p:spPr>
            <a:xfrm>
              <a:off x="-5148579" y="1218255"/>
              <a:ext cx="1490297"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07" name="Rectangle: Rounded Corners 606">
              <a:extLst>
                <a:ext uri="{FF2B5EF4-FFF2-40B4-BE49-F238E27FC236}">
                  <a16:creationId xmlns:a16="http://schemas.microsoft.com/office/drawing/2014/main" id="{C643ABA1-A0B5-47B8-AE5E-CE8C718388B6}"/>
                </a:ext>
              </a:extLst>
            </p:cNvPr>
            <p:cNvSpPr/>
            <p:nvPr/>
          </p:nvSpPr>
          <p:spPr>
            <a:xfrm>
              <a:off x="-5311198" y="1313828"/>
              <a:ext cx="1815534"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08" name="Rectangle: Rounded Corners 607">
              <a:extLst>
                <a:ext uri="{FF2B5EF4-FFF2-40B4-BE49-F238E27FC236}">
                  <a16:creationId xmlns:a16="http://schemas.microsoft.com/office/drawing/2014/main" id="{BC123D15-8136-43A8-B99B-B0051A218911}"/>
                </a:ext>
              </a:extLst>
            </p:cNvPr>
            <p:cNvSpPr/>
            <p:nvPr/>
          </p:nvSpPr>
          <p:spPr>
            <a:xfrm>
              <a:off x="-5438184" y="1409402"/>
              <a:ext cx="2069507"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09" name="Rectangle: Rounded Corners 608">
              <a:extLst>
                <a:ext uri="{FF2B5EF4-FFF2-40B4-BE49-F238E27FC236}">
                  <a16:creationId xmlns:a16="http://schemas.microsoft.com/office/drawing/2014/main" id="{A81A8458-8AEA-4A87-8F60-980A3F18DB6C}"/>
                </a:ext>
              </a:extLst>
            </p:cNvPr>
            <p:cNvSpPr/>
            <p:nvPr/>
          </p:nvSpPr>
          <p:spPr>
            <a:xfrm>
              <a:off x="-5543342" y="1504975"/>
              <a:ext cx="2279822"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10" name="Rectangle: Rounded Corners 609">
              <a:extLst>
                <a:ext uri="{FF2B5EF4-FFF2-40B4-BE49-F238E27FC236}">
                  <a16:creationId xmlns:a16="http://schemas.microsoft.com/office/drawing/2014/main" id="{8AD31581-C788-406E-BEF2-A527D3AE302F}"/>
                </a:ext>
              </a:extLst>
            </p:cNvPr>
            <p:cNvSpPr/>
            <p:nvPr/>
          </p:nvSpPr>
          <p:spPr>
            <a:xfrm>
              <a:off x="-5631268" y="1600548"/>
              <a:ext cx="2455676"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11" name="Rectangle: Rounded Corners 610">
              <a:extLst>
                <a:ext uri="{FF2B5EF4-FFF2-40B4-BE49-F238E27FC236}">
                  <a16:creationId xmlns:a16="http://schemas.microsoft.com/office/drawing/2014/main" id="{41832E02-7C1C-4478-A1CA-145F00C2F5FA}"/>
                </a:ext>
              </a:extLst>
            </p:cNvPr>
            <p:cNvSpPr/>
            <p:nvPr/>
          </p:nvSpPr>
          <p:spPr>
            <a:xfrm>
              <a:off x="-5706776" y="1696122"/>
              <a:ext cx="2606691"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12" name="Rectangle: Rounded Corners 611">
              <a:extLst>
                <a:ext uri="{FF2B5EF4-FFF2-40B4-BE49-F238E27FC236}">
                  <a16:creationId xmlns:a16="http://schemas.microsoft.com/office/drawing/2014/main" id="{2EC441F4-D6FD-412A-97EE-09BEC9938C59}"/>
                </a:ext>
              </a:extLst>
            </p:cNvPr>
            <p:cNvSpPr/>
            <p:nvPr/>
          </p:nvSpPr>
          <p:spPr>
            <a:xfrm>
              <a:off x="-5772451" y="1791696"/>
              <a:ext cx="2738042"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13" name="Rectangle: Rounded Corners 612">
              <a:extLst>
                <a:ext uri="{FF2B5EF4-FFF2-40B4-BE49-F238E27FC236}">
                  <a16:creationId xmlns:a16="http://schemas.microsoft.com/office/drawing/2014/main" id="{A386A6A9-74D1-4252-876A-BAE2F8582B92}"/>
                </a:ext>
              </a:extLst>
            </p:cNvPr>
            <p:cNvSpPr/>
            <p:nvPr/>
          </p:nvSpPr>
          <p:spPr>
            <a:xfrm>
              <a:off x="-5830105" y="1887270"/>
              <a:ext cx="2853349"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14" name="Rectangle: Rounded Corners 613">
              <a:extLst>
                <a:ext uri="{FF2B5EF4-FFF2-40B4-BE49-F238E27FC236}">
                  <a16:creationId xmlns:a16="http://schemas.microsoft.com/office/drawing/2014/main" id="{338E9F6D-F063-4C13-B5EA-14C987277718}"/>
                </a:ext>
              </a:extLst>
            </p:cNvPr>
            <p:cNvSpPr/>
            <p:nvPr/>
          </p:nvSpPr>
          <p:spPr>
            <a:xfrm>
              <a:off x="-5876144" y="1982843"/>
              <a:ext cx="2945430"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15" name="Rectangle: Rounded Corners 614">
              <a:extLst>
                <a:ext uri="{FF2B5EF4-FFF2-40B4-BE49-F238E27FC236}">
                  <a16:creationId xmlns:a16="http://schemas.microsoft.com/office/drawing/2014/main" id="{C8AC19F0-5700-418B-B3FE-1CD904F74F8A}"/>
                </a:ext>
              </a:extLst>
            </p:cNvPr>
            <p:cNvSpPr/>
            <p:nvPr/>
          </p:nvSpPr>
          <p:spPr>
            <a:xfrm>
              <a:off x="-5916085" y="2078417"/>
              <a:ext cx="3025309"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16" name="Rectangle: Rounded Corners 615">
              <a:extLst>
                <a:ext uri="{FF2B5EF4-FFF2-40B4-BE49-F238E27FC236}">
                  <a16:creationId xmlns:a16="http://schemas.microsoft.com/office/drawing/2014/main" id="{DB8DB5D0-1CB3-4156-AD6C-83F0DC7AC64B}"/>
                </a:ext>
              </a:extLst>
            </p:cNvPr>
            <p:cNvSpPr/>
            <p:nvPr/>
          </p:nvSpPr>
          <p:spPr>
            <a:xfrm>
              <a:off x="-5951064" y="2173990"/>
              <a:ext cx="3095270"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17" name="Rectangle: Rounded Corners 616">
              <a:extLst>
                <a:ext uri="{FF2B5EF4-FFF2-40B4-BE49-F238E27FC236}">
                  <a16:creationId xmlns:a16="http://schemas.microsoft.com/office/drawing/2014/main" id="{00A928F1-6883-4104-9053-2F9F7E883226}"/>
                </a:ext>
              </a:extLst>
            </p:cNvPr>
            <p:cNvSpPr/>
            <p:nvPr/>
          </p:nvSpPr>
          <p:spPr>
            <a:xfrm>
              <a:off x="-5975706" y="2269563"/>
              <a:ext cx="3144552"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18" name="Rectangle: Rounded Corners 617">
              <a:extLst>
                <a:ext uri="{FF2B5EF4-FFF2-40B4-BE49-F238E27FC236}">
                  <a16:creationId xmlns:a16="http://schemas.microsoft.com/office/drawing/2014/main" id="{373B93E4-917D-45DE-A347-66362AF23138}"/>
                </a:ext>
              </a:extLst>
            </p:cNvPr>
            <p:cNvSpPr/>
            <p:nvPr/>
          </p:nvSpPr>
          <p:spPr>
            <a:xfrm>
              <a:off x="-5996600" y="2365137"/>
              <a:ext cx="3186341"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19" name="Rectangle: Rounded Corners 618">
              <a:extLst>
                <a:ext uri="{FF2B5EF4-FFF2-40B4-BE49-F238E27FC236}">
                  <a16:creationId xmlns:a16="http://schemas.microsoft.com/office/drawing/2014/main" id="{81A5FAC1-6ED0-490E-A6EA-F3E10C353828}"/>
                </a:ext>
              </a:extLst>
            </p:cNvPr>
            <p:cNvSpPr/>
            <p:nvPr/>
          </p:nvSpPr>
          <p:spPr>
            <a:xfrm>
              <a:off x="-6011187" y="2460711"/>
              <a:ext cx="3215514"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20" name="Rectangle: Rounded Corners 619">
              <a:extLst>
                <a:ext uri="{FF2B5EF4-FFF2-40B4-BE49-F238E27FC236}">
                  <a16:creationId xmlns:a16="http://schemas.microsoft.com/office/drawing/2014/main" id="{33A6B406-FC1B-4B2D-B67B-7B8F399781ED}"/>
                </a:ext>
              </a:extLst>
            </p:cNvPr>
            <p:cNvSpPr/>
            <p:nvPr/>
          </p:nvSpPr>
          <p:spPr>
            <a:xfrm>
              <a:off x="-6019089" y="2556284"/>
              <a:ext cx="3231322"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21" name="Rectangle: Rounded Corners 620">
              <a:extLst>
                <a:ext uri="{FF2B5EF4-FFF2-40B4-BE49-F238E27FC236}">
                  <a16:creationId xmlns:a16="http://schemas.microsoft.com/office/drawing/2014/main" id="{099A98D7-7EB5-41A4-BBA4-6C5264176CDD}"/>
                </a:ext>
              </a:extLst>
            </p:cNvPr>
            <p:cNvSpPr/>
            <p:nvPr/>
          </p:nvSpPr>
          <p:spPr>
            <a:xfrm>
              <a:off x="-6023917" y="2651858"/>
              <a:ext cx="3240973"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22" name="Rectangle: Rounded Corners 621">
              <a:extLst>
                <a:ext uri="{FF2B5EF4-FFF2-40B4-BE49-F238E27FC236}">
                  <a16:creationId xmlns:a16="http://schemas.microsoft.com/office/drawing/2014/main" id="{E2BAD430-7370-4335-9F2B-757A7591EF8C}"/>
                </a:ext>
              </a:extLst>
            </p:cNvPr>
            <p:cNvSpPr/>
            <p:nvPr/>
          </p:nvSpPr>
          <p:spPr>
            <a:xfrm>
              <a:off x="-6020346" y="2747432"/>
              <a:ext cx="3233830"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23" name="Rectangle: Rounded Corners 622">
              <a:extLst>
                <a:ext uri="{FF2B5EF4-FFF2-40B4-BE49-F238E27FC236}">
                  <a16:creationId xmlns:a16="http://schemas.microsoft.com/office/drawing/2014/main" id="{5594E5C4-C9CA-46AF-9403-1D44AA2AE447}"/>
                </a:ext>
              </a:extLst>
            </p:cNvPr>
            <p:cNvSpPr/>
            <p:nvPr/>
          </p:nvSpPr>
          <p:spPr>
            <a:xfrm>
              <a:off x="-6014980" y="2843005"/>
              <a:ext cx="3223099"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24" name="Rectangle: Rounded Corners 623">
              <a:extLst>
                <a:ext uri="{FF2B5EF4-FFF2-40B4-BE49-F238E27FC236}">
                  <a16:creationId xmlns:a16="http://schemas.microsoft.com/office/drawing/2014/main" id="{4518C459-2A89-4A21-A35C-FD6BA7AFD97C}"/>
                </a:ext>
              </a:extLst>
            </p:cNvPr>
            <p:cNvSpPr/>
            <p:nvPr/>
          </p:nvSpPr>
          <p:spPr>
            <a:xfrm>
              <a:off x="-6000393" y="2938578"/>
              <a:ext cx="3193927"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25" name="Rectangle: Rounded Corners 624">
              <a:extLst>
                <a:ext uri="{FF2B5EF4-FFF2-40B4-BE49-F238E27FC236}">
                  <a16:creationId xmlns:a16="http://schemas.microsoft.com/office/drawing/2014/main" id="{A342EA7B-CBD7-4BAD-9420-35F558249378}"/>
                </a:ext>
              </a:extLst>
            </p:cNvPr>
            <p:cNvSpPr/>
            <p:nvPr/>
          </p:nvSpPr>
          <p:spPr>
            <a:xfrm>
              <a:off x="-5982097" y="3034152"/>
              <a:ext cx="3157332"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26" name="Rectangle: Rounded Corners 625">
              <a:extLst>
                <a:ext uri="{FF2B5EF4-FFF2-40B4-BE49-F238E27FC236}">
                  <a16:creationId xmlns:a16="http://schemas.microsoft.com/office/drawing/2014/main" id="{CF45687E-6D79-48B7-956E-4832B3674A86}"/>
                </a:ext>
              </a:extLst>
            </p:cNvPr>
            <p:cNvSpPr/>
            <p:nvPr/>
          </p:nvSpPr>
          <p:spPr>
            <a:xfrm>
              <a:off x="-5957522" y="3129726"/>
              <a:ext cx="3108183"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27" name="Rectangle: Rounded Corners 626">
              <a:extLst>
                <a:ext uri="{FF2B5EF4-FFF2-40B4-BE49-F238E27FC236}">
                  <a16:creationId xmlns:a16="http://schemas.microsoft.com/office/drawing/2014/main" id="{8549B229-9A22-41E8-9A29-029A11401B37}"/>
                </a:ext>
              </a:extLst>
            </p:cNvPr>
            <p:cNvSpPr/>
            <p:nvPr/>
          </p:nvSpPr>
          <p:spPr>
            <a:xfrm>
              <a:off x="-5925179" y="3225299"/>
              <a:ext cx="3043500"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28" name="Rectangle: Rounded Corners 627">
              <a:extLst>
                <a:ext uri="{FF2B5EF4-FFF2-40B4-BE49-F238E27FC236}">
                  <a16:creationId xmlns:a16="http://schemas.microsoft.com/office/drawing/2014/main" id="{102096E0-14CE-47FF-8D9B-60021527C04B}"/>
                </a:ext>
              </a:extLst>
            </p:cNvPr>
            <p:cNvSpPr/>
            <p:nvPr/>
          </p:nvSpPr>
          <p:spPr>
            <a:xfrm>
              <a:off x="-5888116" y="3320873"/>
              <a:ext cx="2969372"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29" name="Rectangle: Rounded Corners 628">
              <a:extLst>
                <a:ext uri="{FF2B5EF4-FFF2-40B4-BE49-F238E27FC236}">
                  <a16:creationId xmlns:a16="http://schemas.microsoft.com/office/drawing/2014/main" id="{848B40ED-74AB-44BF-BC7A-CD3C139988DD}"/>
                </a:ext>
              </a:extLst>
            </p:cNvPr>
            <p:cNvSpPr/>
            <p:nvPr/>
          </p:nvSpPr>
          <p:spPr>
            <a:xfrm>
              <a:off x="-5842075" y="3416446"/>
              <a:ext cx="2877290"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30" name="Rectangle: Rounded Corners 629">
              <a:extLst>
                <a:ext uri="{FF2B5EF4-FFF2-40B4-BE49-F238E27FC236}">
                  <a16:creationId xmlns:a16="http://schemas.microsoft.com/office/drawing/2014/main" id="{25F1B4D9-F077-4F7E-B841-E8C8AF0E32AD}"/>
                </a:ext>
              </a:extLst>
            </p:cNvPr>
            <p:cNvSpPr/>
            <p:nvPr/>
          </p:nvSpPr>
          <p:spPr>
            <a:xfrm>
              <a:off x="-5787547" y="3512019"/>
              <a:ext cx="2768235"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31" name="Rectangle: Rounded Corners 630">
              <a:extLst>
                <a:ext uri="{FF2B5EF4-FFF2-40B4-BE49-F238E27FC236}">
                  <a16:creationId xmlns:a16="http://schemas.microsoft.com/office/drawing/2014/main" id="{C1B8F688-0919-42FE-BAEA-BF8A86B1D773}"/>
                </a:ext>
              </a:extLst>
            </p:cNvPr>
            <p:cNvSpPr/>
            <p:nvPr/>
          </p:nvSpPr>
          <p:spPr>
            <a:xfrm>
              <a:off x="-5725358" y="3607593"/>
              <a:ext cx="2643856"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32" name="Rectangle: Rounded Corners 631">
              <a:extLst>
                <a:ext uri="{FF2B5EF4-FFF2-40B4-BE49-F238E27FC236}">
                  <a16:creationId xmlns:a16="http://schemas.microsoft.com/office/drawing/2014/main" id="{D3603E1A-3490-4C08-BF74-D66D3DBDBB5C}"/>
                </a:ext>
              </a:extLst>
            </p:cNvPr>
            <p:cNvSpPr/>
            <p:nvPr/>
          </p:nvSpPr>
          <p:spPr>
            <a:xfrm>
              <a:off x="-5653854" y="3703167"/>
              <a:ext cx="2500847"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33" name="Rectangle: Rounded Corners 632">
              <a:extLst>
                <a:ext uri="{FF2B5EF4-FFF2-40B4-BE49-F238E27FC236}">
                  <a16:creationId xmlns:a16="http://schemas.microsoft.com/office/drawing/2014/main" id="{1E447473-4427-4DB6-B5C6-4D73B587423A}"/>
                </a:ext>
              </a:extLst>
            </p:cNvPr>
            <p:cNvSpPr/>
            <p:nvPr/>
          </p:nvSpPr>
          <p:spPr>
            <a:xfrm>
              <a:off x="-5566990" y="3798740"/>
              <a:ext cx="2327121"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34" name="Rectangle: Rounded Corners 633">
              <a:extLst>
                <a:ext uri="{FF2B5EF4-FFF2-40B4-BE49-F238E27FC236}">
                  <a16:creationId xmlns:a16="http://schemas.microsoft.com/office/drawing/2014/main" id="{657AE6F5-943C-4ACB-9CC1-EB4850E9F7C7}"/>
                </a:ext>
              </a:extLst>
            </p:cNvPr>
            <p:cNvSpPr/>
            <p:nvPr/>
          </p:nvSpPr>
          <p:spPr>
            <a:xfrm>
              <a:off x="-5465527" y="3894314"/>
              <a:ext cx="2124193"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35" name="Rectangle: Rounded Corners 634">
              <a:extLst>
                <a:ext uri="{FF2B5EF4-FFF2-40B4-BE49-F238E27FC236}">
                  <a16:creationId xmlns:a16="http://schemas.microsoft.com/office/drawing/2014/main" id="{02A1D3D4-F416-4FDB-9242-C806AFF08EA7}"/>
                </a:ext>
              </a:extLst>
            </p:cNvPr>
            <p:cNvSpPr/>
            <p:nvPr/>
          </p:nvSpPr>
          <p:spPr>
            <a:xfrm>
              <a:off x="-5344429" y="3989888"/>
              <a:ext cx="1881999"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36" name="Rectangle: Rounded Corners 635">
              <a:extLst>
                <a:ext uri="{FF2B5EF4-FFF2-40B4-BE49-F238E27FC236}">
                  <a16:creationId xmlns:a16="http://schemas.microsoft.com/office/drawing/2014/main" id="{66C12568-34C5-4F46-8E9F-C3F227E86421}"/>
                </a:ext>
              </a:extLst>
            </p:cNvPr>
            <p:cNvSpPr/>
            <p:nvPr/>
          </p:nvSpPr>
          <p:spPr>
            <a:xfrm>
              <a:off x="-5195154" y="4085461"/>
              <a:ext cx="1583448"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37" name="Rectangle: Rounded Corners 636">
              <a:extLst>
                <a:ext uri="{FF2B5EF4-FFF2-40B4-BE49-F238E27FC236}">
                  <a16:creationId xmlns:a16="http://schemas.microsoft.com/office/drawing/2014/main" id="{844E2BEC-8961-4A35-AFE9-1FA927015202}"/>
                </a:ext>
              </a:extLst>
            </p:cNvPr>
            <p:cNvSpPr/>
            <p:nvPr/>
          </p:nvSpPr>
          <p:spPr>
            <a:xfrm>
              <a:off x="-4991475" y="4181038"/>
              <a:ext cx="1176088" cy="1545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grpSp>
      <p:grpSp>
        <p:nvGrpSpPr>
          <p:cNvPr id="20" name="Group 19">
            <a:extLst>
              <a:ext uri="{FF2B5EF4-FFF2-40B4-BE49-F238E27FC236}">
                <a16:creationId xmlns:a16="http://schemas.microsoft.com/office/drawing/2014/main" id="{70A481C9-6F39-4C05-A463-14CB47D1EC82}"/>
              </a:ext>
            </a:extLst>
          </p:cNvPr>
          <p:cNvGrpSpPr/>
          <p:nvPr/>
        </p:nvGrpSpPr>
        <p:grpSpPr>
          <a:xfrm rot="3669458">
            <a:off x="5338885" y="-110321"/>
            <a:ext cx="1676845" cy="2088636"/>
            <a:chOff x="559068" y="94960"/>
            <a:chExt cx="3976942" cy="4953579"/>
          </a:xfrm>
        </p:grpSpPr>
        <p:sp>
          <p:nvSpPr>
            <p:cNvPr id="268" name="Freeform: Shape 267">
              <a:extLst>
                <a:ext uri="{FF2B5EF4-FFF2-40B4-BE49-F238E27FC236}">
                  <a16:creationId xmlns:a16="http://schemas.microsoft.com/office/drawing/2014/main" id="{32B20BBD-A096-4785-B394-0EBA47990A9F}"/>
                </a:ext>
              </a:extLst>
            </p:cNvPr>
            <p:cNvSpPr/>
            <p:nvPr/>
          </p:nvSpPr>
          <p:spPr>
            <a:xfrm>
              <a:off x="2042017" y="109450"/>
              <a:ext cx="535029" cy="535029"/>
            </a:xfrm>
            <a:custGeom>
              <a:avLst/>
              <a:gdLst>
                <a:gd name="connsiteX0" fmla="*/ 535029 w 535029"/>
                <a:gd name="connsiteY0" fmla="*/ 267515 h 535029"/>
                <a:gd name="connsiteX1" fmla="*/ 267515 w 535029"/>
                <a:gd name="connsiteY1" fmla="*/ 535029 h 535029"/>
                <a:gd name="connsiteX2" fmla="*/ 0 w 535029"/>
                <a:gd name="connsiteY2" fmla="*/ 267515 h 535029"/>
                <a:gd name="connsiteX3" fmla="*/ 267515 w 535029"/>
                <a:gd name="connsiteY3" fmla="*/ 0 h 535029"/>
                <a:gd name="connsiteX4" fmla="*/ 535029 w 535029"/>
                <a:gd name="connsiteY4" fmla="*/ 267515 h 535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029" h="535029">
                  <a:moveTo>
                    <a:pt x="535029" y="267515"/>
                  </a:moveTo>
                  <a:cubicBezTo>
                    <a:pt x="535029" y="415259"/>
                    <a:pt x="415259" y="535029"/>
                    <a:pt x="267515" y="535029"/>
                  </a:cubicBezTo>
                  <a:cubicBezTo>
                    <a:pt x="119771" y="535029"/>
                    <a:pt x="0" y="415259"/>
                    <a:pt x="0" y="267515"/>
                  </a:cubicBezTo>
                  <a:cubicBezTo>
                    <a:pt x="0" y="119770"/>
                    <a:pt x="119771" y="0"/>
                    <a:pt x="267515" y="0"/>
                  </a:cubicBezTo>
                  <a:cubicBezTo>
                    <a:pt x="415259" y="0"/>
                    <a:pt x="535029" y="119770"/>
                    <a:pt x="535029" y="267515"/>
                  </a:cubicBezTo>
                  <a:close/>
                </a:path>
              </a:pathLst>
            </a:custGeom>
            <a:solidFill>
              <a:schemeClr val="accent2"/>
            </a:solidFill>
            <a:ln w="52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69" name="Freeform: Shape 268">
              <a:extLst>
                <a:ext uri="{FF2B5EF4-FFF2-40B4-BE49-F238E27FC236}">
                  <a16:creationId xmlns:a16="http://schemas.microsoft.com/office/drawing/2014/main" id="{9ABE96CB-B559-4AF6-A6E5-7FD5C18F85F8}"/>
                </a:ext>
              </a:extLst>
            </p:cNvPr>
            <p:cNvSpPr/>
            <p:nvPr/>
          </p:nvSpPr>
          <p:spPr>
            <a:xfrm>
              <a:off x="559068" y="398410"/>
              <a:ext cx="3976942" cy="4650129"/>
            </a:xfrm>
            <a:custGeom>
              <a:avLst/>
              <a:gdLst>
                <a:gd name="connsiteX0" fmla="*/ 2417802 w 3976942"/>
                <a:gd name="connsiteY0" fmla="*/ 4650129 h 4650129"/>
                <a:gd name="connsiteX1" fmla="*/ 1476679 w 3976942"/>
                <a:gd name="connsiteY1" fmla="*/ 4460124 h 4650129"/>
                <a:gd name="connsiteX2" fmla="*/ 708174 w 3976942"/>
                <a:gd name="connsiteY2" fmla="*/ 3941956 h 4650129"/>
                <a:gd name="connsiteX3" fmla="*/ 190006 w 3976942"/>
                <a:gd name="connsiteY3" fmla="*/ 3173450 h 4650129"/>
                <a:gd name="connsiteX4" fmla="*/ 0 w 3976942"/>
                <a:gd name="connsiteY4" fmla="*/ 2232275 h 4650129"/>
                <a:gd name="connsiteX5" fmla="*/ 416157 w 3976942"/>
                <a:gd name="connsiteY5" fmla="*/ 875733 h 4650129"/>
                <a:gd name="connsiteX6" fmla="*/ 1487323 w 3976942"/>
                <a:gd name="connsiteY6" fmla="*/ 0 h 4650129"/>
                <a:gd name="connsiteX7" fmla="*/ 1501549 w 3976942"/>
                <a:gd name="connsiteY7" fmla="*/ 34039 h 4650129"/>
                <a:gd name="connsiteX8" fmla="*/ 36884 w 3976942"/>
                <a:gd name="connsiteY8" fmla="*/ 2232275 h 4650129"/>
                <a:gd name="connsiteX9" fmla="*/ 2417802 w 3976942"/>
                <a:gd name="connsiteY9" fmla="*/ 4613245 h 4650129"/>
                <a:gd name="connsiteX10" fmla="*/ 3953126 w 3976942"/>
                <a:gd name="connsiteY10" fmla="*/ 4052186 h 4650129"/>
                <a:gd name="connsiteX11" fmla="*/ 3976943 w 3976942"/>
                <a:gd name="connsiteY11" fmla="*/ 4080376 h 4650129"/>
                <a:gd name="connsiteX12" fmla="*/ 3262341 w 3976942"/>
                <a:gd name="connsiteY12" fmla="*/ 4498589 h 4650129"/>
                <a:gd name="connsiteX13" fmla="*/ 2417802 w 3976942"/>
                <a:gd name="connsiteY13" fmla="*/ 4650129 h 465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76942" h="4650129">
                  <a:moveTo>
                    <a:pt x="2417802" y="4650129"/>
                  </a:moveTo>
                  <a:cubicBezTo>
                    <a:pt x="2091431" y="4650129"/>
                    <a:pt x="1774755" y="4586215"/>
                    <a:pt x="1476679" y="4460124"/>
                  </a:cubicBezTo>
                  <a:cubicBezTo>
                    <a:pt x="1188773" y="4338354"/>
                    <a:pt x="930216" y="4163998"/>
                    <a:pt x="708174" y="3941956"/>
                  </a:cubicBezTo>
                  <a:cubicBezTo>
                    <a:pt x="486132" y="3719914"/>
                    <a:pt x="311776" y="3461357"/>
                    <a:pt x="190006" y="3173450"/>
                  </a:cubicBezTo>
                  <a:cubicBezTo>
                    <a:pt x="63915" y="2875322"/>
                    <a:pt x="0" y="2558699"/>
                    <a:pt x="0" y="2232275"/>
                  </a:cubicBezTo>
                  <a:cubicBezTo>
                    <a:pt x="0" y="1745722"/>
                    <a:pt x="143900" y="1276662"/>
                    <a:pt x="416157" y="875733"/>
                  </a:cubicBezTo>
                  <a:cubicBezTo>
                    <a:pt x="681881" y="484393"/>
                    <a:pt x="1052302" y="181575"/>
                    <a:pt x="1487323" y="0"/>
                  </a:cubicBezTo>
                  <a:lnTo>
                    <a:pt x="1501549" y="34039"/>
                  </a:lnTo>
                  <a:cubicBezTo>
                    <a:pt x="611801" y="405356"/>
                    <a:pt x="36884" y="1268232"/>
                    <a:pt x="36884" y="2232275"/>
                  </a:cubicBezTo>
                  <a:cubicBezTo>
                    <a:pt x="36884" y="3545136"/>
                    <a:pt x="1104941" y="4613245"/>
                    <a:pt x="2417802" y="4613245"/>
                  </a:cubicBezTo>
                  <a:cubicBezTo>
                    <a:pt x="2979441" y="4613245"/>
                    <a:pt x="3524692" y="4413966"/>
                    <a:pt x="3953126" y="4052186"/>
                  </a:cubicBezTo>
                  <a:lnTo>
                    <a:pt x="3976943" y="4080376"/>
                  </a:lnTo>
                  <a:cubicBezTo>
                    <a:pt x="3763437" y="4260687"/>
                    <a:pt x="3523006" y="4401373"/>
                    <a:pt x="3262341" y="4498589"/>
                  </a:cubicBezTo>
                  <a:cubicBezTo>
                    <a:pt x="2992508" y="4599124"/>
                    <a:pt x="2708395" y="4650129"/>
                    <a:pt x="2417802" y="4650129"/>
                  </a:cubicBezTo>
                  <a:close/>
                </a:path>
              </a:pathLst>
            </a:custGeom>
            <a:solidFill>
              <a:srgbClr val="13284C"/>
            </a:solidFill>
            <a:ln w="52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70" name="Freeform: Shape 269">
              <a:extLst>
                <a:ext uri="{FF2B5EF4-FFF2-40B4-BE49-F238E27FC236}">
                  <a16:creationId xmlns:a16="http://schemas.microsoft.com/office/drawing/2014/main" id="{2C85ABDD-BB9D-46C1-87DF-EAE52A21BE92}"/>
                </a:ext>
              </a:extLst>
            </p:cNvPr>
            <p:cNvSpPr/>
            <p:nvPr/>
          </p:nvSpPr>
          <p:spPr>
            <a:xfrm>
              <a:off x="2032901" y="94960"/>
              <a:ext cx="451250" cy="451249"/>
            </a:xfrm>
            <a:custGeom>
              <a:avLst/>
              <a:gdLst>
                <a:gd name="connsiteX0" fmla="*/ 225625 w 451250"/>
                <a:gd name="connsiteY0" fmla="*/ 451250 h 451249"/>
                <a:gd name="connsiteX1" fmla="*/ 0 w 451250"/>
                <a:gd name="connsiteY1" fmla="*/ 225625 h 451249"/>
                <a:gd name="connsiteX2" fmla="*/ 225625 w 451250"/>
                <a:gd name="connsiteY2" fmla="*/ 0 h 451249"/>
                <a:gd name="connsiteX3" fmla="*/ 451250 w 451250"/>
                <a:gd name="connsiteY3" fmla="*/ 225625 h 451249"/>
                <a:gd name="connsiteX4" fmla="*/ 225625 w 451250"/>
                <a:gd name="connsiteY4" fmla="*/ 451250 h 451249"/>
                <a:gd name="connsiteX5" fmla="*/ 225625 w 451250"/>
                <a:gd name="connsiteY5" fmla="*/ 36884 h 451249"/>
                <a:gd name="connsiteX6" fmla="*/ 36884 w 451250"/>
                <a:gd name="connsiteY6" fmla="*/ 225625 h 451249"/>
                <a:gd name="connsiteX7" fmla="*/ 225625 w 451250"/>
                <a:gd name="connsiteY7" fmla="*/ 414366 h 451249"/>
                <a:gd name="connsiteX8" fmla="*/ 414366 w 451250"/>
                <a:gd name="connsiteY8" fmla="*/ 225625 h 451249"/>
                <a:gd name="connsiteX9" fmla="*/ 225625 w 451250"/>
                <a:gd name="connsiteY9" fmla="*/ 36884 h 45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1250" h="451249">
                  <a:moveTo>
                    <a:pt x="225625" y="451250"/>
                  </a:moveTo>
                  <a:cubicBezTo>
                    <a:pt x="101220" y="451250"/>
                    <a:pt x="0" y="350030"/>
                    <a:pt x="0" y="225625"/>
                  </a:cubicBezTo>
                  <a:cubicBezTo>
                    <a:pt x="0" y="101220"/>
                    <a:pt x="101220" y="0"/>
                    <a:pt x="225625" y="0"/>
                  </a:cubicBezTo>
                  <a:cubicBezTo>
                    <a:pt x="350030" y="0"/>
                    <a:pt x="451250" y="101220"/>
                    <a:pt x="451250" y="225625"/>
                  </a:cubicBezTo>
                  <a:cubicBezTo>
                    <a:pt x="451250" y="350030"/>
                    <a:pt x="350030" y="451250"/>
                    <a:pt x="225625" y="451250"/>
                  </a:cubicBezTo>
                  <a:close/>
                  <a:moveTo>
                    <a:pt x="225625" y="36884"/>
                  </a:moveTo>
                  <a:cubicBezTo>
                    <a:pt x="121559" y="36884"/>
                    <a:pt x="36884" y="121559"/>
                    <a:pt x="36884" y="225625"/>
                  </a:cubicBezTo>
                  <a:cubicBezTo>
                    <a:pt x="36884" y="329691"/>
                    <a:pt x="121559" y="414366"/>
                    <a:pt x="225625" y="414366"/>
                  </a:cubicBezTo>
                  <a:cubicBezTo>
                    <a:pt x="329691" y="414366"/>
                    <a:pt x="414366" y="329691"/>
                    <a:pt x="414366" y="225625"/>
                  </a:cubicBezTo>
                  <a:cubicBezTo>
                    <a:pt x="414366" y="121559"/>
                    <a:pt x="329691" y="36884"/>
                    <a:pt x="225625" y="36884"/>
                  </a:cubicBezTo>
                  <a:close/>
                </a:path>
              </a:pathLst>
            </a:custGeom>
            <a:solidFill>
              <a:srgbClr val="13284C"/>
            </a:solidFill>
            <a:ln w="52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2" name="Title 1">
            <a:extLst>
              <a:ext uri="{FF2B5EF4-FFF2-40B4-BE49-F238E27FC236}">
                <a16:creationId xmlns:a16="http://schemas.microsoft.com/office/drawing/2014/main" id="{44DEA970-5A4F-41BC-9C87-826087144810}"/>
              </a:ext>
            </a:extLst>
          </p:cNvPr>
          <p:cNvSpPr>
            <a:spLocks noGrp="1"/>
          </p:cNvSpPr>
          <p:nvPr>
            <p:ph type="title"/>
          </p:nvPr>
        </p:nvSpPr>
        <p:spPr>
          <a:xfrm>
            <a:off x="533400" y="276344"/>
            <a:ext cx="3513192" cy="1292662"/>
          </a:xfrm>
        </p:spPr>
        <p:txBody>
          <a:bodyPr/>
          <a:lstStyle/>
          <a:p>
            <a:r>
              <a:rPr lang="en-US"/>
              <a:t>Leverage the fastest onramp to a more secure internet</a:t>
            </a:r>
          </a:p>
        </p:txBody>
      </p:sp>
      <p:sp>
        <p:nvSpPr>
          <p:cNvPr id="6" name="See once,...">
            <a:extLst>
              <a:ext uri="{FF2B5EF4-FFF2-40B4-BE49-F238E27FC236}">
                <a16:creationId xmlns:a16="http://schemas.microsoft.com/office/drawing/2014/main" id="{D3BBF007-3065-4D2A-B1B1-EA764BD8DFA4}"/>
              </a:ext>
            </a:extLst>
          </p:cNvPr>
          <p:cNvSpPr txBox="1">
            <a:spLocks/>
          </p:cNvSpPr>
          <p:nvPr/>
        </p:nvSpPr>
        <p:spPr bwMode="auto">
          <a:xfrm>
            <a:off x="531813" y="3999907"/>
            <a:ext cx="1750399" cy="66479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t>Faster access</a:t>
            </a:r>
            <a:b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br>
            <a: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t>to the internet </a:t>
            </a:r>
            <a:b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br>
            <a: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t>anywhere users go</a:t>
            </a:r>
          </a:p>
        </p:txBody>
      </p:sp>
      <p:sp>
        <p:nvSpPr>
          <p:cNvPr id="7" name="Security that works...">
            <a:extLst>
              <a:ext uri="{FF2B5EF4-FFF2-40B4-BE49-F238E27FC236}">
                <a16:creationId xmlns:a16="http://schemas.microsoft.com/office/drawing/2014/main" id="{89897AB7-BD06-4B83-98EB-7224C4A08BD2}"/>
              </a:ext>
            </a:extLst>
          </p:cNvPr>
          <p:cNvSpPr txBox="1">
            <a:spLocks/>
          </p:cNvSpPr>
          <p:nvPr/>
        </p:nvSpPr>
        <p:spPr bwMode="auto">
          <a:xfrm>
            <a:off x="2673304" y="3999907"/>
            <a:ext cx="1750399" cy="66479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t>Stronger first </a:t>
            </a:r>
            <a:b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br>
            <a: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t>line of defense</a:t>
            </a:r>
            <a:b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br>
            <a: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t>and inspection</a:t>
            </a:r>
          </a:p>
        </p:txBody>
      </p:sp>
      <p:sp>
        <p:nvSpPr>
          <p:cNvPr id="8" name="Better efficacy and...">
            <a:extLst>
              <a:ext uri="{FF2B5EF4-FFF2-40B4-BE49-F238E27FC236}">
                <a16:creationId xmlns:a16="http://schemas.microsoft.com/office/drawing/2014/main" id="{A82E6E75-76B1-4157-B854-D6AF7225EACD}"/>
              </a:ext>
            </a:extLst>
          </p:cNvPr>
          <p:cNvSpPr txBox="1">
            <a:spLocks/>
          </p:cNvSpPr>
          <p:nvPr/>
        </p:nvSpPr>
        <p:spPr bwMode="auto">
          <a:xfrm>
            <a:off x="4814795" y="3999907"/>
            <a:ext cx="1655903" cy="66479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non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t>Reduced time</a:t>
            </a:r>
          </a:p>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t>to deployment </a:t>
            </a:r>
          </a:p>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t>and configuration </a:t>
            </a:r>
          </a:p>
        </p:txBody>
      </p:sp>
      <p:sp>
        <p:nvSpPr>
          <p:cNvPr id="9" name="Machine-scale...">
            <a:extLst>
              <a:ext uri="{FF2B5EF4-FFF2-40B4-BE49-F238E27FC236}">
                <a16:creationId xmlns:a16="http://schemas.microsoft.com/office/drawing/2014/main" id="{5CAC7D03-83AE-40DE-BCE4-E2CBFE96CF9F}"/>
              </a:ext>
            </a:extLst>
          </p:cNvPr>
          <p:cNvSpPr txBox="1">
            <a:spLocks/>
          </p:cNvSpPr>
          <p:nvPr/>
        </p:nvSpPr>
        <p:spPr bwMode="auto">
          <a:xfrm>
            <a:off x="6861790" y="3999907"/>
            <a:ext cx="1750399" cy="66479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t>The best balance of security and user experience</a:t>
            </a:r>
          </a:p>
        </p:txBody>
      </p:sp>
      <p:sp>
        <p:nvSpPr>
          <p:cNvPr id="19" name="Rectangle 18">
            <a:extLst>
              <a:ext uri="{FF2B5EF4-FFF2-40B4-BE49-F238E27FC236}">
                <a16:creationId xmlns:a16="http://schemas.microsoft.com/office/drawing/2014/main" id="{C8FC272D-22CF-4BC0-8858-1F81ACCFF5BE}"/>
              </a:ext>
            </a:extLst>
          </p:cNvPr>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marL="0" marR="0" lvl="0" indent="0" algn="l"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20" normalizeH="0" baseline="0" noProof="0">
                <a:ln>
                  <a:noFill/>
                </a:ln>
                <a:solidFill>
                  <a:srgbClr val="9E9EA2"/>
                </a:solidFill>
                <a:effectLst/>
                <a:uLnTx/>
                <a:uFillTx/>
                <a:latin typeface="CiscoSansTT ExtraLight"/>
                <a:ea typeface="ＭＳ Ｐゴシック" charset="0"/>
                <a:cs typeface="CiscoSans Thin"/>
              </a:rPr>
              <a:t>© 2019  Cisco and/or its affiliates. All rights reserved. Cisco Confidential</a:t>
            </a:r>
          </a:p>
        </p:txBody>
      </p:sp>
      <p:pic>
        <p:nvPicPr>
          <p:cNvPr id="141" name="Picture 140" descr="A picture containing smoke, train, coming, air&#10;&#10;Description automatically generated">
            <a:extLst>
              <a:ext uri="{FF2B5EF4-FFF2-40B4-BE49-F238E27FC236}">
                <a16:creationId xmlns:a16="http://schemas.microsoft.com/office/drawing/2014/main" id="{0ADF0A17-4CED-4782-B209-EF95A7EB04D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91704" y="720952"/>
            <a:ext cx="4094907" cy="2303386"/>
          </a:xfrm>
          <a:prstGeom prst="rect">
            <a:avLst/>
          </a:prstGeom>
        </p:spPr>
      </p:pic>
      <p:pic>
        <p:nvPicPr>
          <p:cNvPr id="10" name="Picture 9" descr="A close up of a mountain&#10;&#10;Description automatically generated">
            <a:extLst>
              <a:ext uri="{FF2B5EF4-FFF2-40B4-BE49-F238E27FC236}">
                <a16:creationId xmlns:a16="http://schemas.microsoft.com/office/drawing/2014/main" id="{7A531B1A-540D-406D-9D98-52F25232793D}"/>
              </a:ext>
            </a:extLst>
          </p:cNvPr>
          <p:cNvPicPr>
            <a:picLocks noChangeAspect="1"/>
          </p:cNvPicPr>
          <p:nvPr/>
        </p:nvPicPr>
        <p:blipFill>
          <a:blip r:embed="rId4"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5398851" y="720276"/>
            <a:ext cx="2889786" cy="1439858"/>
          </a:xfrm>
          <a:prstGeom prst="rect">
            <a:avLst/>
          </a:prstGeom>
        </p:spPr>
      </p:pic>
      <p:grpSp>
        <p:nvGrpSpPr>
          <p:cNvPr id="22" name="Group 21">
            <a:extLst>
              <a:ext uri="{FF2B5EF4-FFF2-40B4-BE49-F238E27FC236}">
                <a16:creationId xmlns:a16="http://schemas.microsoft.com/office/drawing/2014/main" id="{DB0BBDEB-D2CD-48D4-BB23-6FC1CC6BA2E3}"/>
              </a:ext>
            </a:extLst>
          </p:cNvPr>
          <p:cNvGrpSpPr/>
          <p:nvPr/>
        </p:nvGrpSpPr>
        <p:grpSpPr>
          <a:xfrm>
            <a:off x="6848658" y="472681"/>
            <a:ext cx="813507" cy="808462"/>
            <a:chOff x="8050587" y="-3721939"/>
            <a:chExt cx="1349056" cy="1340689"/>
          </a:xfrm>
        </p:grpSpPr>
        <p:sp>
          <p:nvSpPr>
            <p:cNvPr id="274" name="Freeform: Shape 273">
              <a:extLst>
                <a:ext uri="{FF2B5EF4-FFF2-40B4-BE49-F238E27FC236}">
                  <a16:creationId xmlns:a16="http://schemas.microsoft.com/office/drawing/2014/main" id="{E45C8505-8DB0-4405-BA71-EE48445AB859}"/>
                </a:ext>
              </a:extLst>
            </p:cNvPr>
            <p:cNvSpPr/>
            <p:nvPr/>
          </p:nvSpPr>
          <p:spPr>
            <a:xfrm>
              <a:off x="8050587" y="-3721939"/>
              <a:ext cx="1340691" cy="1340689"/>
            </a:xfrm>
            <a:custGeom>
              <a:avLst/>
              <a:gdLst>
                <a:gd name="connsiteX0" fmla="*/ 3371503 w 3371503"/>
                <a:gd name="connsiteY0" fmla="*/ 1685752 h 3371503"/>
                <a:gd name="connsiteX1" fmla="*/ 1685752 w 3371503"/>
                <a:gd name="connsiteY1" fmla="*/ 3371503 h 3371503"/>
                <a:gd name="connsiteX2" fmla="*/ 0 w 3371503"/>
                <a:gd name="connsiteY2" fmla="*/ 1685752 h 3371503"/>
                <a:gd name="connsiteX3" fmla="*/ 1685752 w 3371503"/>
                <a:gd name="connsiteY3" fmla="*/ 0 h 3371503"/>
                <a:gd name="connsiteX4" fmla="*/ 3371503 w 3371503"/>
                <a:gd name="connsiteY4" fmla="*/ 1685752 h 3371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503" h="3371503">
                  <a:moveTo>
                    <a:pt x="3371503" y="1685752"/>
                  </a:moveTo>
                  <a:cubicBezTo>
                    <a:pt x="3371503" y="2616767"/>
                    <a:pt x="2616767" y="3371503"/>
                    <a:pt x="1685752" y="3371503"/>
                  </a:cubicBezTo>
                  <a:cubicBezTo>
                    <a:pt x="754737" y="3371503"/>
                    <a:pt x="0" y="2616767"/>
                    <a:pt x="0" y="1685752"/>
                  </a:cubicBezTo>
                  <a:cubicBezTo>
                    <a:pt x="0" y="754737"/>
                    <a:pt x="754737" y="0"/>
                    <a:pt x="1685752" y="0"/>
                  </a:cubicBezTo>
                  <a:cubicBezTo>
                    <a:pt x="2616767" y="0"/>
                    <a:pt x="3371503" y="754737"/>
                    <a:pt x="3371503" y="1685752"/>
                  </a:cubicBezTo>
                  <a:close/>
                </a:path>
              </a:pathLst>
            </a:custGeom>
            <a:solidFill>
              <a:schemeClr val="bg2"/>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pic>
          <p:nvPicPr>
            <p:cNvPr id="291" name="Picture 290" descr="A picture containing building&#10;&#10;Description automatically generated">
              <a:extLst>
                <a:ext uri="{FF2B5EF4-FFF2-40B4-BE49-F238E27FC236}">
                  <a16:creationId xmlns:a16="http://schemas.microsoft.com/office/drawing/2014/main" id="{95C3F6CF-EFCB-4147-BDBF-8C7E33D4A9C5}"/>
                </a:ext>
              </a:extLst>
            </p:cNvPr>
            <p:cNvPicPr>
              <a:picLocks noChangeAspect="1"/>
            </p:cNvPicPr>
            <p:nvPr/>
          </p:nvPicPr>
          <p:blipFill>
            <a:blip r:embed="rId5" cstate="screen">
              <a:duotone>
                <a:prstClr val="black"/>
                <a:schemeClr val="accent3">
                  <a:tint val="45000"/>
                  <a:satMod val="400000"/>
                </a:schemeClr>
              </a:duotone>
              <a:extLst>
                <a:ext uri="{BEBA8EAE-BF5A-486C-A8C5-ECC9F3942E4B}">
                  <a14:imgProps xmlns:a14="http://schemas.microsoft.com/office/drawing/2010/main">
                    <a14:imgLayer r:embed="rId6">
                      <a14:imgEffect>
                        <a14:brightnessContrast bright="-81000"/>
                      </a14:imgEffect>
                    </a14:imgLayer>
                  </a14:imgProps>
                </a:ext>
                <a:ext uri="{28A0092B-C50C-407E-A947-70E740481C1C}">
                  <a14:useLocalDpi xmlns:a14="http://schemas.microsoft.com/office/drawing/2010/main"/>
                </a:ext>
              </a:extLst>
            </a:blip>
            <a:srcRect/>
            <a:stretch>
              <a:fillRect/>
            </a:stretch>
          </p:blipFill>
          <p:spPr>
            <a:xfrm>
              <a:off x="8050587" y="-3721939"/>
              <a:ext cx="1340691" cy="1340689"/>
            </a:xfrm>
            <a:custGeom>
              <a:avLst/>
              <a:gdLst>
                <a:gd name="connsiteX0" fmla="*/ 1287509 w 2575016"/>
                <a:gd name="connsiteY0" fmla="*/ 0 h 2575014"/>
                <a:gd name="connsiteX1" fmla="*/ 2575016 w 2575016"/>
                <a:gd name="connsiteY1" fmla="*/ 1287508 h 2575014"/>
                <a:gd name="connsiteX2" fmla="*/ 1287509 w 2575016"/>
                <a:gd name="connsiteY2" fmla="*/ 2575014 h 2575014"/>
                <a:gd name="connsiteX3" fmla="*/ 0 w 2575016"/>
                <a:gd name="connsiteY3" fmla="*/ 1287508 h 2575014"/>
                <a:gd name="connsiteX4" fmla="*/ 1287509 w 2575016"/>
                <a:gd name="connsiteY4" fmla="*/ 0 h 2575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016" h="2575014">
                  <a:moveTo>
                    <a:pt x="1287509" y="0"/>
                  </a:moveTo>
                  <a:cubicBezTo>
                    <a:pt x="1998580" y="0"/>
                    <a:pt x="2575016" y="576437"/>
                    <a:pt x="2575016" y="1287508"/>
                  </a:cubicBezTo>
                  <a:cubicBezTo>
                    <a:pt x="2575016" y="1998578"/>
                    <a:pt x="1998580" y="2575014"/>
                    <a:pt x="1287509" y="2575014"/>
                  </a:cubicBezTo>
                  <a:cubicBezTo>
                    <a:pt x="576437" y="2575014"/>
                    <a:pt x="0" y="1998578"/>
                    <a:pt x="0" y="1287508"/>
                  </a:cubicBezTo>
                  <a:cubicBezTo>
                    <a:pt x="0" y="576437"/>
                    <a:pt x="576437" y="0"/>
                    <a:pt x="1287509" y="0"/>
                  </a:cubicBezTo>
                  <a:close/>
                </a:path>
              </a:pathLst>
            </a:custGeom>
          </p:spPr>
        </p:pic>
        <p:sp>
          <p:nvSpPr>
            <p:cNvPr id="146" name="Rectangle 145">
              <a:extLst>
                <a:ext uri="{FF2B5EF4-FFF2-40B4-BE49-F238E27FC236}">
                  <a16:creationId xmlns:a16="http://schemas.microsoft.com/office/drawing/2014/main" id="{9F57143C-22C8-486D-A01A-95E81F5FF8DA}"/>
                </a:ext>
              </a:extLst>
            </p:cNvPr>
            <p:cNvSpPr/>
            <p:nvPr/>
          </p:nvSpPr>
          <p:spPr>
            <a:xfrm>
              <a:off x="8058952" y="-3209987"/>
              <a:ext cx="1340691" cy="260523"/>
            </a:xfrm>
            <a:prstGeom prst="rect">
              <a:avLst/>
            </a:prstGeom>
            <a:noFill/>
            <a:ln w="25400" cap="flat" cmpd="sng" algn="ctr">
              <a:no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BCEB"/>
                  </a:solidFill>
                  <a:effectLst/>
                  <a:uLnTx/>
                  <a:uFillTx/>
                  <a:latin typeface="CiscoSansTT ExtraLight"/>
                  <a:ea typeface="ＭＳ Ｐゴシック" charset="0"/>
                  <a:cs typeface="+mn-cs"/>
                </a:rPr>
                <a:t>Public Cloud </a:t>
              </a:r>
            </a:p>
          </p:txBody>
        </p:sp>
      </p:grpSp>
      <p:grpSp>
        <p:nvGrpSpPr>
          <p:cNvPr id="302" name="Group 301">
            <a:extLst>
              <a:ext uri="{FF2B5EF4-FFF2-40B4-BE49-F238E27FC236}">
                <a16:creationId xmlns:a16="http://schemas.microsoft.com/office/drawing/2014/main" id="{1373135F-6AA1-43B6-ABA3-495687271001}"/>
              </a:ext>
            </a:extLst>
          </p:cNvPr>
          <p:cNvGrpSpPr/>
          <p:nvPr/>
        </p:nvGrpSpPr>
        <p:grpSpPr>
          <a:xfrm>
            <a:off x="7724258" y="478127"/>
            <a:ext cx="813507" cy="808462"/>
            <a:chOff x="8050587" y="-3721939"/>
            <a:chExt cx="1349056" cy="1340689"/>
          </a:xfrm>
        </p:grpSpPr>
        <p:sp>
          <p:nvSpPr>
            <p:cNvPr id="303" name="Freeform: Shape 302">
              <a:extLst>
                <a:ext uri="{FF2B5EF4-FFF2-40B4-BE49-F238E27FC236}">
                  <a16:creationId xmlns:a16="http://schemas.microsoft.com/office/drawing/2014/main" id="{87D88822-B498-4DF1-8B6D-DECAB89F98C2}"/>
                </a:ext>
              </a:extLst>
            </p:cNvPr>
            <p:cNvSpPr/>
            <p:nvPr/>
          </p:nvSpPr>
          <p:spPr>
            <a:xfrm>
              <a:off x="8050587" y="-3721939"/>
              <a:ext cx="1340691" cy="1340689"/>
            </a:xfrm>
            <a:custGeom>
              <a:avLst/>
              <a:gdLst>
                <a:gd name="connsiteX0" fmla="*/ 3371503 w 3371503"/>
                <a:gd name="connsiteY0" fmla="*/ 1685752 h 3371503"/>
                <a:gd name="connsiteX1" fmla="*/ 1685752 w 3371503"/>
                <a:gd name="connsiteY1" fmla="*/ 3371503 h 3371503"/>
                <a:gd name="connsiteX2" fmla="*/ 0 w 3371503"/>
                <a:gd name="connsiteY2" fmla="*/ 1685752 h 3371503"/>
                <a:gd name="connsiteX3" fmla="*/ 1685752 w 3371503"/>
                <a:gd name="connsiteY3" fmla="*/ 0 h 3371503"/>
                <a:gd name="connsiteX4" fmla="*/ 3371503 w 3371503"/>
                <a:gd name="connsiteY4" fmla="*/ 1685752 h 3371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503" h="3371503">
                  <a:moveTo>
                    <a:pt x="3371503" y="1685752"/>
                  </a:moveTo>
                  <a:cubicBezTo>
                    <a:pt x="3371503" y="2616767"/>
                    <a:pt x="2616767" y="3371503"/>
                    <a:pt x="1685752" y="3371503"/>
                  </a:cubicBezTo>
                  <a:cubicBezTo>
                    <a:pt x="754737" y="3371503"/>
                    <a:pt x="0" y="2616767"/>
                    <a:pt x="0" y="1685752"/>
                  </a:cubicBezTo>
                  <a:cubicBezTo>
                    <a:pt x="0" y="754737"/>
                    <a:pt x="754737" y="0"/>
                    <a:pt x="1685752" y="0"/>
                  </a:cubicBezTo>
                  <a:cubicBezTo>
                    <a:pt x="2616767" y="0"/>
                    <a:pt x="3371503" y="754737"/>
                    <a:pt x="3371503" y="1685752"/>
                  </a:cubicBezTo>
                  <a:close/>
                </a:path>
              </a:pathLst>
            </a:custGeom>
            <a:solidFill>
              <a:schemeClr val="bg2"/>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pic>
          <p:nvPicPr>
            <p:cNvPr id="304" name="Picture 303" descr="A picture containing building&#10;&#10;Description automatically generated">
              <a:extLst>
                <a:ext uri="{FF2B5EF4-FFF2-40B4-BE49-F238E27FC236}">
                  <a16:creationId xmlns:a16="http://schemas.microsoft.com/office/drawing/2014/main" id="{157F7813-C5D8-4754-B0FF-67C9AEC43415}"/>
                </a:ext>
              </a:extLst>
            </p:cNvPr>
            <p:cNvPicPr>
              <a:picLocks noChangeAspect="1"/>
            </p:cNvPicPr>
            <p:nvPr/>
          </p:nvPicPr>
          <p:blipFill>
            <a:blip r:embed="rId5" cstate="screen">
              <a:duotone>
                <a:prstClr val="black"/>
                <a:schemeClr val="accent3">
                  <a:tint val="45000"/>
                  <a:satMod val="400000"/>
                </a:schemeClr>
              </a:duotone>
              <a:extLst>
                <a:ext uri="{BEBA8EAE-BF5A-486C-A8C5-ECC9F3942E4B}">
                  <a14:imgProps xmlns:a14="http://schemas.microsoft.com/office/drawing/2010/main">
                    <a14:imgLayer r:embed="rId6">
                      <a14:imgEffect>
                        <a14:brightnessContrast bright="-81000"/>
                      </a14:imgEffect>
                    </a14:imgLayer>
                  </a14:imgProps>
                </a:ext>
                <a:ext uri="{28A0092B-C50C-407E-A947-70E740481C1C}">
                  <a14:useLocalDpi xmlns:a14="http://schemas.microsoft.com/office/drawing/2010/main"/>
                </a:ext>
              </a:extLst>
            </a:blip>
            <a:srcRect/>
            <a:stretch>
              <a:fillRect/>
            </a:stretch>
          </p:blipFill>
          <p:spPr>
            <a:xfrm>
              <a:off x="8050587" y="-3721939"/>
              <a:ext cx="1340691" cy="1340689"/>
            </a:xfrm>
            <a:custGeom>
              <a:avLst/>
              <a:gdLst>
                <a:gd name="connsiteX0" fmla="*/ 1287509 w 2575016"/>
                <a:gd name="connsiteY0" fmla="*/ 0 h 2575014"/>
                <a:gd name="connsiteX1" fmla="*/ 2575016 w 2575016"/>
                <a:gd name="connsiteY1" fmla="*/ 1287508 h 2575014"/>
                <a:gd name="connsiteX2" fmla="*/ 1287509 w 2575016"/>
                <a:gd name="connsiteY2" fmla="*/ 2575014 h 2575014"/>
                <a:gd name="connsiteX3" fmla="*/ 0 w 2575016"/>
                <a:gd name="connsiteY3" fmla="*/ 1287508 h 2575014"/>
                <a:gd name="connsiteX4" fmla="*/ 1287509 w 2575016"/>
                <a:gd name="connsiteY4" fmla="*/ 0 h 2575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016" h="2575014">
                  <a:moveTo>
                    <a:pt x="1287509" y="0"/>
                  </a:moveTo>
                  <a:cubicBezTo>
                    <a:pt x="1998580" y="0"/>
                    <a:pt x="2575016" y="576437"/>
                    <a:pt x="2575016" y="1287508"/>
                  </a:cubicBezTo>
                  <a:cubicBezTo>
                    <a:pt x="2575016" y="1998578"/>
                    <a:pt x="1998580" y="2575014"/>
                    <a:pt x="1287509" y="2575014"/>
                  </a:cubicBezTo>
                  <a:cubicBezTo>
                    <a:pt x="576437" y="2575014"/>
                    <a:pt x="0" y="1998578"/>
                    <a:pt x="0" y="1287508"/>
                  </a:cubicBezTo>
                  <a:cubicBezTo>
                    <a:pt x="0" y="576437"/>
                    <a:pt x="576437" y="0"/>
                    <a:pt x="1287509" y="0"/>
                  </a:cubicBezTo>
                  <a:close/>
                </a:path>
              </a:pathLst>
            </a:custGeom>
          </p:spPr>
        </p:pic>
        <p:sp>
          <p:nvSpPr>
            <p:cNvPr id="305" name="Rectangle 304">
              <a:extLst>
                <a:ext uri="{FF2B5EF4-FFF2-40B4-BE49-F238E27FC236}">
                  <a16:creationId xmlns:a16="http://schemas.microsoft.com/office/drawing/2014/main" id="{DC8EC9FC-E6A9-46FA-A111-901E3C6E8B4C}"/>
                </a:ext>
              </a:extLst>
            </p:cNvPr>
            <p:cNvSpPr/>
            <p:nvPr/>
          </p:nvSpPr>
          <p:spPr>
            <a:xfrm>
              <a:off x="8058952" y="-3209987"/>
              <a:ext cx="1340691" cy="260523"/>
            </a:xfrm>
            <a:prstGeom prst="rect">
              <a:avLst/>
            </a:prstGeom>
            <a:noFill/>
            <a:ln w="25400" cap="flat" cmpd="sng" algn="ctr">
              <a:no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BCEB"/>
                  </a:solidFill>
                  <a:effectLst/>
                  <a:uLnTx/>
                  <a:uFillTx/>
                  <a:latin typeface="CiscoSansTT ExtraLight"/>
                  <a:ea typeface="ＭＳ Ｐゴシック" charset="0"/>
                  <a:cs typeface="+mn-cs"/>
                </a:rPr>
                <a:t>Web</a:t>
              </a:r>
            </a:p>
          </p:txBody>
        </p:sp>
      </p:grpSp>
      <p:sp>
        <p:nvSpPr>
          <p:cNvPr id="310" name="Oval 309">
            <a:extLst>
              <a:ext uri="{FF2B5EF4-FFF2-40B4-BE49-F238E27FC236}">
                <a16:creationId xmlns:a16="http://schemas.microsoft.com/office/drawing/2014/main" id="{06420BA3-8F24-431F-AE8F-47B551DE5606}"/>
              </a:ext>
            </a:extLst>
          </p:cNvPr>
          <p:cNvSpPr/>
          <p:nvPr/>
        </p:nvSpPr>
        <p:spPr>
          <a:xfrm>
            <a:off x="7668483" y="459662"/>
            <a:ext cx="94430" cy="94284"/>
          </a:xfrm>
          <a:prstGeom prst="ellipse">
            <a:avLst/>
          </a:prstGeom>
          <a:solidFill>
            <a:schemeClr val="accent1"/>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1" name="Oval 310">
            <a:extLst>
              <a:ext uri="{FF2B5EF4-FFF2-40B4-BE49-F238E27FC236}">
                <a16:creationId xmlns:a16="http://schemas.microsoft.com/office/drawing/2014/main" id="{A7F7F2BE-084F-4439-BCCE-6D0D668F8623}"/>
              </a:ext>
            </a:extLst>
          </p:cNvPr>
          <p:cNvSpPr/>
          <p:nvPr/>
        </p:nvSpPr>
        <p:spPr>
          <a:xfrm>
            <a:off x="7668483" y="459662"/>
            <a:ext cx="94430" cy="94284"/>
          </a:xfrm>
          <a:prstGeom prst="ellipse">
            <a:avLst/>
          </a:prstGeom>
          <a:solidFill>
            <a:schemeClr val="accent1"/>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2" name="Oval 311">
            <a:extLst>
              <a:ext uri="{FF2B5EF4-FFF2-40B4-BE49-F238E27FC236}">
                <a16:creationId xmlns:a16="http://schemas.microsoft.com/office/drawing/2014/main" id="{667F5EC8-C26A-4FD4-B720-558477228459}"/>
              </a:ext>
            </a:extLst>
          </p:cNvPr>
          <p:cNvSpPr/>
          <p:nvPr/>
        </p:nvSpPr>
        <p:spPr>
          <a:xfrm>
            <a:off x="8149622" y="352043"/>
            <a:ext cx="94430" cy="94284"/>
          </a:xfrm>
          <a:prstGeom prst="ellipse">
            <a:avLst/>
          </a:prstGeom>
          <a:solidFill>
            <a:schemeClr val="accent1"/>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3" name="Oval 312">
            <a:extLst>
              <a:ext uri="{FF2B5EF4-FFF2-40B4-BE49-F238E27FC236}">
                <a16:creationId xmlns:a16="http://schemas.microsoft.com/office/drawing/2014/main" id="{18461545-0CC7-4A80-A4D6-5D1804F78698}"/>
              </a:ext>
            </a:extLst>
          </p:cNvPr>
          <p:cNvSpPr/>
          <p:nvPr/>
        </p:nvSpPr>
        <p:spPr>
          <a:xfrm>
            <a:off x="8149037" y="352043"/>
            <a:ext cx="94430" cy="94284"/>
          </a:xfrm>
          <a:prstGeom prst="ellipse">
            <a:avLst/>
          </a:prstGeom>
          <a:solidFill>
            <a:schemeClr val="accent1"/>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24" name="Group 23">
            <a:extLst>
              <a:ext uri="{FF2B5EF4-FFF2-40B4-BE49-F238E27FC236}">
                <a16:creationId xmlns:a16="http://schemas.microsoft.com/office/drawing/2014/main" id="{905DABAA-6A19-476A-B469-4AA8155D7C80}"/>
              </a:ext>
            </a:extLst>
          </p:cNvPr>
          <p:cNvGrpSpPr/>
          <p:nvPr/>
        </p:nvGrpSpPr>
        <p:grpSpPr>
          <a:xfrm>
            <a:off x="8680828" y="915704"/>
            <a:ext cx="94430" cy="281392"/>
            <a:chOff x="8680828" y="915704"/>
            <a:chExt cx="94430" cy="281392"/>
          </a:xfrm>
          <a:solidFill>
            <a:schemeClr val="accent1"/>
          </a:solidFill>
        </p:grpSpPr>
        <p:sp>
          <p:nvSpPr>
            <p:cNvPr id="314" name="Freeform: Shape 313">
              <a:extLst>
                <a:ext uri="{FF2B5EF4-FFF2-40B4-BE49-F238E27FC236}">
                  <a16:creationId xmlns:a16="http://schemas.microsoft.com/office/drawing/2014/main" id="{1593429D-4747-4E54-8943-50EC6BB6F806}"/>
                </a:ext>
              </a:extLst>
            </p:cNvPr>
            <p:cNvSpPr/>
            <p:nvPr/>
          </p:nvSpPr>
          <p:spPr>
            <a:xfrm>
              <a:off x="8680828" y="915704"/>
              <a:ext cx="94430" cy="94284"/>
            </a:xfrm>
            <a:prstGeom prst="ellipse">
              <a:avLst/>
            </a:prstGeom>
            <a:grp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5" name="Freeform: Shape 314">
              <a:extLst>
                <a:ext uri="{FF2B5EF4-FFF2-40B4-BE49-F238E27FC236}">
                  <a16:creationId xmlns:a16="http://schemas.microsoft.com/office/drawing/2014/main" id="{4DC8AC19-986B-4A11-A5EA-302F19A4BDC2}"/>
                </a:ext>
              </a:extLst>
            </p:cNvPr>
            <p:cNvSpPr/>
            <p:nvPr/>
          </p:nvSpPr>
          <p:spPr>
            <a:xfrm>
              <a:off x="8680828" y="915704"/>
              <a:ext cx="94430" cy="94284"/>
            </a:xfrm>
            <a:prstGeom prst="ellipse">
              <a:avLst/>
            </a:prstGeom>
            <a:grp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6" name="Freeform: Shape 315">
              <a:extLst>
                <a:ext uri="{FF2B5EF4-FFF2-40B4-BE49-F238E27FC236}">
                  <a16:creationId xmlns:a16="http://schemas.microsoft.com/office/drawing/2014/main" id="{C3C5AE5B-C6BF-4515-B79A-1E19DA1A9FFD}"/>
                </a:ext>
              </a:extLst>
            </p:cNvPr>
            <p:cNvSpPr/>
            <p:nvPr/>
          </p:nvSpPr>
          <p:spPr>
            <a:xfrm>
              <a:off x="8680828" y="1102812"/>
              <a:ext cx="94430" cy="94284"/>
            </a:xfrm>
            <a:prstGeom prst="ellipse">
              <a:avLst/>
            </a:prstGeom>
            <a:grp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7" name="Freeform: Shape 316">
              <a:extLst>
                <a:ext uri="{FF2B5EF4-FFF2-40B4-BE49-F238E27FC236}">
                  <a16:creationId xmlns:a16="http://schemas.microsoft.com/office/drawing/2014/main" id="{401B301B-18D8-4C8D-B8AE-A687F0177718}"/>
                </a:ext>
              </a:extLst>
            </p:cNvPr>
            <p:cNvSpPr/>
            <p:nvPr/>
          </p:nvSpPr>
          <p:spPr>
            <a:xfrm>
              <a:off x="8680828" y="1102812"/>
              <a:ext cx="94430" cy="94284"/>
            </a:xfrm>
            <a:prstGeom prst="ellipse">
              <a:avLst/>
            </a:prstGeom>
            <a:grp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322" name="Oval 321">
            <a:extLst>
              <a:ext uri="{FF2B5EF4-FFF2-40B4-BE49-F238E27FC236}">
                <a16:creationId xmlns:a16="http://schemas.microsoft.com/office/drawing/2014/main" id="{85ACB6DC-D98E-4B75-96DE-0F1EE829F6DE}"/>
              </a:ext>
            </a:extLst>
          </p:cNvPr>
          <p:cNvSpPr/>
          <p:nvPr/>
        </p:nvSpPr>
        <p:spPr>
          <a:xfrm>
            <a:off x="7290029" y="310122"/>
            <a:ext cx="94430" cy="94284"/>
          </a:xfrm>
          <a:prstGeom prst="ellipse">
            <a:avLst/>
          </a:prstGeom>
          <a:solidFill>
            <a:schemeClr val="accent1"/>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23" name="Oval 322">
            <a:extLst>
              <a:ext uri="{FF2B5EF4-FFF2-40B4-BE49-F238E27FC236}">
                <a16:creationId xmlns:a16="http://schemas.microsoft.com/office/drawing/2014/main" id="{EB8319E9-7A49-4DDB-9961-CB8E6ACFAB95}"/>
              </a:ext>
            </a:extLst>
          </p:cNvPr>
          <p:cNvSpPr/>
          <p:nvPr/>
        </p:nvSpPr>
        <p:spPr>
          <a:xfrm>
            <a:off x="7289444" y="310122"/>
            <a:ext cx="94430" cy="94284"/>
          </a:xfrm>
          <a:prstGeom prst="ellipse">
            <a:avLst/>
          </a:prstGeom>
          <a:solidFill>
            <a:schemeClr val="accent1"/>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24" name="Oval 323">
            <a:extLst>
              <a:ext uri="{FF2B5EF4-FFF2-40B4-BE49-F238E27FC236}">
                <a16:creationId xmlns:a16="http://schemas.microsoft.com/office/drawing/2014/main" id="{93A0276F-315C-413B-9950-B4DB81387F7B}"/>
              </a:ext>
            </a:extLst>
          </p:cNvPr>
          <p:cNvSpPr/>
          <p:nvPr/>
        </p:nvSpPr>
        <p:spPr>
          <a:xfrm>
            <a:off x="8565937" y="537982"/>
            <a:ext cx="94430" cy="94284"/>
          </a:xfrm>
          <a:prstGeom prst="ellipse">
            <a:avLst/>
          </a:prstGeom>
          <a:solidFill>
            <a:schemeClr val="accent1"/>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25" name="Oval 324">
            <a:extLst>
              <a:ext uri="{FF2B5EF4-FFF2-40B4-BE49-F238E27FC236}">
                <a16:creationId xmlns:a16="http://schemas.microsoft.com/office/drawing/2014/main" id="{AA5FB214-C4E7-44FC-95FC-818AD78A8AF9}"/>
              </a:ext>
            </a:extLst>
          </p:cNvPr>
          <p:cNvSpPr/>
          <p:nvPr/>
        </p:nvSpPr>
        <p:spPr>
          <a:xfrm>
            <a:off x="8565937" y="538566"/>
            <a:ext cx="94430" cy="93700"/>
          </a:xfrm>
          <a:prstGeom prst="ellipse">
            <a:avLst/>
          </a:prstGeom>
          <a:solidFill>
            <a:schemeClr val="accent2"/>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pic>
        <p:nvPicPr>
          <p:cNvPr id="540" name="Picture 539" descr="A picture containing animal, shellfish, black, white&#10;&#10;Description automatically generated">
            <a:extLst>
              <a:ext uri="{FF2B5EF4-FFF2-40B4-BE49-F238E27FC236}">
                <a16:creationId xmlns:a16="http://schemas.microsoft.com/office/drawing/2014/main" id="{35937BF5-FB08-4AD0-9C72-B53AB2971B5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43333" y="3462077"/>
            <a:ext cx="782054" cy="439905"/>
          </a:xfrm>
          <a:prstGeom prst="rect">
            <a:avLst/>
          </a:prstGeom>
        </p:spPr>
      </p:pic>
      <p:pic>
        <p:nvPicPr>
          <p:cNvPr id="542" name="Picture 541" descr="A picture containing bottle&#10;&#10;Description automatically generated">
            <a:extLst>
              <a:ext uri="{FF2B5EF4-FFF2-40B4-BE49-F238E27FC236}">
                <a16:creationId xmlns:a16="http://schemas.microsoft.com/office/drawing/2014/main" id="{CC5023B8-B5E4-42C6-A588-E8BA1C689DFA}"/>
              </a:ext>
            </a:extLst>
          </p:cNvPr>
          <p:cNvPicPr>
            <a:picLocks noChangeAspect="1"/>
          </p:cNvPicPr>
          <p:nvPr/>
        </p:nvPicPr>
        <p:blipFill rotWithShape="1">
          <a:blip r:embed="rId8" cstate="screen">
            <a:duotone>
              <a:prstClr val="black"/>
              <a:schemeClr val="accent4">
                <a:tint val="45000"/>
                <a:satMod val="400000"/>
              </a:schemeClr>
            </a:duotone>
            <a:extLst>
              <a:ext uri="{28A0092B-C50C-407E-A947-70E740481C1C}">
                <a14:useLocalDpi xmlns:a14="http://schemas.microsoft.com/office/drawing/2010/main"/>
              </a:ext>
            </a:extLst>
          </a:blip>
          <a:srcRect/>
          <a:stretch/>
        </p:blipFill>
        <p:spPr>
          <a:xfrm>
            <a:off x="7652543" y="3170655"/>
            <a:ext cx="282174" cy="425786"/>
          </a:xfrm>
          <a:custGeom>
            <a:avLst/>
            <a:gdLst>
              <a:gd name="connsiteX0" fmla="*/ 148293 w 871703"/>
              <a:gd name="connsiteY0" fmla="*/ 0 h 1315354"/>
              <a:gd name="connsiteX1" fmla="*/ 735263 w 871703"/>
              <a:gd name="connsiteY1" fmla="*/ 0 h 1315354"/>
              <a:gd name="connsiteX2" fmla="*/ 847461 w 871703"/>
              <a:gd name="connsiteY2" fmla="*/ 60899 h 1315354"/>
              <a:gd name="connsiteX3" fmla="*/ 871703 w 871703"/>
              <a:gd name="connsiteY3" fmla="*/ 80901 h 1315354"/>
              <a:gd name="connsiteX4" fmla="*/ 871703 w 871703"/>
              <a:gd name="connsiteY4" fmla="*/ 1244234 h 1315354"/>
              <a:gd name="connsiteX5" fmla="*/ 847461 w 871703"/>
              <a:gd name="connsiteY5" fmla="*/ 1264235 h 1315354"/>
              <a:gd name="connsiteX6" fmla="*/ 753282 w 871703"/>
              <a:gd name="connsiteY6" fmla="*/ 1315354 h 1315354"/>
              <a:gd name="connsiteX7" fmla="*/ 130275 w 871703"/>
              <a:gd name="connsiteY7" fmla="*/ 1315354 h 1315354"/>
              <a:gd name="connsiteX8" fmla="*/ 36095 w 871703"/>
              <a:gd name="connsiteY8" fmla="*/ 1264235 h 1315354"/>
              <a:gd name="connsiteX9" fmla="*/ 0 w 871703"/>
              <a:gd name="connsiteY9" fmla="*/ 1234454 h 1315354"/>
              <a:gd name="connsiteX10" fmla="*/ 0 w 871703"/>
              <a:gd name="connsiteY10" fmla="*/ 90680 h 1315354"/>
              <a:gd name="connsiteX11" fmla="*/ 36095 w 871703"/>
              <a:gd name="connsiteY11" fmla="*/ 60899 h 1315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1703" h="1315354">
                <a:moveTo>
                  <a:pt x="148293" y="0"/>
                </a:moveTo>
                <a:lnTo>
                  <a:pt x="735263" y="0"/>
                </a:lnTo>
                <a:lnTo>
                  <a:pt x="847461" y="60899"/>
                </a:lnTo>
                <a:lnTo>
                  <a:pt x="871703" y="80901"/>
                </a:lnTo>
                <a:lnTo>
                  <a:pt x="871703" y="1244234"/>
                </a:lnTo>
                <a:lnTo>
                  <a:pt x="847461" y="1264235"/>
                </a:lnTo>
                <a:lnTo>
                  <a:pt x="753282" y="1315354"/>
                </a:lnTo>
                <a:lnTo>
                  <a:pt x="130275" y="1315354"/>
                </a:lnTo>
                <a:lnTo>
                  <a:pt x="36095" y="1264235"/>
                </a:lnTo>
                <a:lnTo>
                  <a:pt x="0" y="1234454"/>
                </a:lnTo>
                <a:lnTo>
                  <a:pt x="0" y="90680"/>
                </a:lnTo>
                <a:lnTo>
                  <a:pt x="36095" y="60899"/>
                </a:lnTo>
                <a:close/>
              </a:path>
            </a:pathLst>
          </a:custGeom>
        </p:spPr>
      </p:pic>
      <p:pic>
        <p:nvPicPr>
          <p:cNvPr id="603" name="Picture 602" descr="A person standing in front of a computer&#10;&#10;Description automatically generated">
            <a:extLst>
              <a:ext uri="{FF2B5EF4-FFF2-40B4-BE49-F238E27FC236}">
                <a16:creationId xmlns:a16="http://schemas.microsoft.com/office/drawing/2014/main" id="{10B6F3F7-6031-4AD8-80E4-1CD0B3394297}"/>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7744576" y="3059399"/>
            <a:ext cx="569385" cy="552484"/>
          </a:xfrm>
          <a:prstGeom prst="rect">
            <a:avLst/>
          </a:prstGeom>
        </p:spPr>
      </p:pic>
      <p:pic>
        <p:nvPicPr>
          <p:cNvPr id="645" name="Picture 644">
            <a:extLst>
              <a:ext uri="{FF2B5EF4-FFF2-40B4-BE49-F238E27FC236}">
                <a16:creationId xmlns:a16="http://schemas.microsoft.com/office/drawing/2014/main" id="{6187AB54-53D1-46C0-A430-ABFC468C85C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278664" y="3113164"/>
            <a:ext cx="789395" cy="707961"/>
          </a:xfrm>
          <a:custGeom>
            <a:avLst/>
            <a:gdLst>
              <a:gd name="connsiteX0" fmla="*/ 0 w 1888982"/>
              <a:gd name="connsiteY0" fmla="*/ 0 h 1694115"/>
              <a:gd name="connsiteX1" fmla="*/ 1888982 w 1888982"/>
              <a:gd name="connsiteY1" fmla="*/ 0 h 1694115"/>
              <a:gd name="connsiteX2" fmla="*/ 1888982 w 1888982"/>
              <a:gd name="connsiteY2" fmla="*/ 1694116 h 1694115"/>
              <a:gd name="connsiteX3" fmla="*/ 0 w 1888982"/>
              <a:gd name="connsiteY3" fmla="*/ 1694116 h 1694115"/>
            </a:gdLst>
            <a:ahLst/>
            <a:cxnLst>
              <a:cxn ang="0">
                <a:pos x="connsiteX0" y="connsiteY0"/>
              </a:cxn>
              <a:cxn ang="0">
                <a:pos x="connsiteX1" y="connsiteY1"/>
              </a:cxn>
              <a:cxn ang="0">
                <a:pos x="connsiteX2" y="connsiteY2"/>
              </a:cxn>
              <a:cxn ang="0">
                <a:pos x="connsiteX3" y="connsiteY3"/>
              </a:cxn>
            </a:cxnLst>
            <a:rect l="l" t="t" r="r" b="b"/>
            <a:pathLst>
              <a:path w="1888982" h="1694115">
                <a:moveTo>
                  <a:pt x="0" y="0"/>
                </a:moveTo>
                <a:lnTo>
                  <a:pt x="1888982" y="0"/>
                </a:lnTo>
                <a:lnTo>
                  <a:pt x="1888982" y="1694116"/>
                </a:lnTo>
                <a:lnTo>
                  <a:pt x="0" y="1694116"/>
                </a:lnTo>
                <a:close/>
              </a:path>
            </a:pathLst>
          </a:custGeom>
        </p:spPr>
      </p:pic>
      <p:grpSp>
        <p:nvGrpSpPr>
          <p:cNvPr id="143" name="Group 142">
            <a:extLst>
              <a:ext uri="{FF2B5EF4-FFF2-40B4-BE49-F238E27FC236}">
                <a16:creationId xmlns:a16="http://schemas.microsoft.com/office/drawing/2014/main" id="{88BEF09C-FA18-4E13-8C89-6C0DAFD2D18F}"/>
              </a:ext>
            </a:extLst>
          </p:cNvPr>
          <p:cNvGrpSpPr/>
          <p:nvPr/>
        </p:nvGrpSpPr>
        <p:grpSpPr>
          <a:xfrm flipV="1">
            <a:off x="2477758" y="4158537"/>
            <a:ext cx="4188486" cy="347536"/>
            <a:chOff x="2477758" y="3817139"/>
            <a:chExt cx="4188486" cy="259556"/>
          </a:xfrm>
        </p:grpSpPr>
        <p:cxnSp>
          <p:nvCxnSpPr>
            <p:cNvPr id="144" name="Straight Connector 143">
              <a:extLst>
                <a:ext uri="{FF2B5EF4-FFF2-40B4-BE49-F238E27FC236}">
                  <a16:creationId xmlns:a16="http://schemas.microsoft.com/office/drawing/2014/main" id="{19382A37-EDB5-4F0F-A95D-93BE23462007}"/>
                </a:ext>
              </a:extLst>
            </p:cNvPr>
            <p:cNvCxnSpPr>
              <a:cxnSpLocks/>
            </p:cNvCxnSpPr>
            <p:nvPr/>
          </p:nvCxnSpPr>
          <p:spPr>
            <a:xfrm>
              <a:off x="2477758" y="3817139"/>
              <a:ext cx="0" cy="259556"/>
            </a:xfrm>
            <a:prstGeom prst="line">
              <a:avLst/>
            </a:prstGeom>
            <a:ln w="6350">
              <a:gradFill flip="none" rotWithShape="1">
                <a:gsLst>
                  <a:gs pos="0">
                    <a:schemeClr val="tx1">
                      <a:lumMod val="75000"/>
                      <a:alpha val="0"/>
                    </a:schemeClr>
                  </a:gs>
                  <a:gs pos="100000">
                    <a:schemeClr val="tx1">
                      <a:lumMod val="75000"/>
                      <a:alpha val="0"/>
                    </a:schemeClr>
                  </a:gs>
                  <a:gs pos="57000">
                    <a:schemeClr val="tx1">
                      <a:lumMod val="7500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94E4783D-AA30-474D-91AA-E3313D76A123}"/>
                </a:ext>
              </a:extLst>
            </p:cNvPr>
            <p:cNvCxnSpPr>
              <a:cxnSpLocks/>
            </p:cNvCxnSpPr>
            <p:nvPr/>
          </p:nvCxnSpPr>
          <p:spPr>
            <a:xfrm>
              <a:off x="4619249" y="3817139"/>
              <a:ext cx="0" cy="259556"/>
            </a:xfrm>
            <a:prstGeom prst="line">
              <a:avLst/>
            </a:prstGeom>
            <a:ln w="6350">
              <a:gradFill flip="none" rotWithShape="1">
                <a:gsLst>
                  <a:gs pos="0">
                    <a:schemeClr val="tx1">
                      <a:lumMod val="75000"/>
                      <a:alpha val="0"/>
                    </a:schemeClr>
                  </a:gs>
                  <a:gs pos="100000">
                    <a:schemeClr val="tx1">
                      <a:lumMod val="75000"/>
                      <a:alpha val="0"/>
                    </a:schemeClr>
                  </a:gs>
                  <a:gs pos="57000">
                    <a:schemeClr val="tx1">
                      <a:lumMod val="7500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F6D5DE34-295F-408C-BA10-2DE1176E1EE6}"/>
                </a:ext>
              </a:extLst>
            </p:cNvPr>
            <p:cNvCxnSpPr>
              <a:cxnSpLocks/>
            </p:cNvCxnSpPr>
            <p:nvPr/>
          </p:nvCxnSpPr>
          <p:spPr>
            <a:xfrm>
              <a:off x="6666244" y="3817139"/>
              <a:ext cx="0" cy="259556"/>
            </a:xfrm>
            <a:prstGeom prst="line">
              <a:avLst/>
            </a:prstGeom>
            <a:ln w="6350">
              <a:gradFill flip="none" rotWithShape="1">
                <a:gsLst>
                  <a:gs pos="0">
                    <a:schemeClr val="tx1">
                      <a:lumMod val="75000"/>
                      <a:alpha val="0"/>
                    </a:schemeClr>
                  </a:gs>
                  <a:gs pos="100000">
                    <a:schemeClr val="tx1">
                      <a:lumMod val="75000"/>
                      <a:alpha val="0"/>
                    </a:schemeClr>
                  </a:gs>
                  <a:gs pos="57000">
                    <a:schemeClr val="tx1">
                      <a:lumMod val="7500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grpSp>
      <p:cxnSp>
        <p:nvCxnSpPr>
          <p:cNvPr id="181" name="Straight Connector 180">
            <a:extLst>
              <a:ext uri="{FF2B5EF4-FFF2-40B4-BE49-F238E27FC236}">
                <a16:creationId xmlns:a16="http://schemas.microsoft.com/office/drawing/2014/main" id="{959526EB-C132-4F6F-8AFE-7F529C281E62}"/>
              </a:ext>
            </a:extLst>
          </p:cNvPr>
          <p:cNvCxnSpPr>
            <a:cxnSpLocks/>
          </p:cNvCxnSpPr>
          <p:nvPr/>
        </p:nvCxnSpPr>
        <p:spPr>
          <a:xfrm>
            <a:off x="5600957" y="2755596"/>
            <a:ext cx="0" cy="295579"/>
          </a:xfrm>
          <a:prstGeom prst="line">
            <a:avLst/>
          </a:prstGeom>
          <a:noFill/>
          <a:ln w="25400" cap="rnd" cmpd="sng" algn="ctr">
            <a:solidFill>
              <a:schemeClr val="bg2"/>
            </a:solidFill>
            <a:prstDash val="sysDot"/>
            <a:headEnd type="arrow"/>
          </a:ln>
          <a:effectLst/>
        </p:spPr>
      </p:cxnSp>
      <p:cxnSp>
        <p:nvCxnSpPr>
          <p:cNvPr id="182" name="Straight Connector 181">
            <a:extLst>
              <a:ext uri="{FF2B5EF4-FFF2-40B4-BE49-F238E27FC236}">
                <a16:creationId xmlns:a16="http://schemas.microsoft.com/office/drawing/2014/main" id="{88A91BFF-3B2C-409A-A597-DCB87FC5F493}"/>
              </a:ext>
            </a:extLst>
          </p:cNvPr>
          <p:cNvCxnSpPr>
            <a:cxnSpLocks/>
          </p:cNvCxnSpPr>
          <p:nvPr/>
        </p:nvCxnSpPr>
        <p:spPr>
          <a:xfrm>
            <a:off x="7459232" y="2755596"/>
            <a:ext cx="0" cy="692031"/>
          </a:xfrm>
          <a:prstGeom prst="line">
            <a:avLst/>
          </a:prstGeom>
          <a:noFill/>
          <a:ln w="25400" cap="rnd" cmpd="sng" algn="ctr">
            <a:solidFill>
              <a:schemeClr val="bg2"/>
            </a:solidFill>
            <a:prstDash val="sysDot"/>
            <a:headEnd type="arrow"/>
          </a:ln>
          <a:effectLst/>
        </p:spPr>
      </p:cxnSp>
      <p:pic>
        <p:nvPicPr>
          <p:cNvPr id="123" name="Picture 122" descr="A picture containing ax, board, man, white&#10;&#10;Description automatically generated">
            <a:extLst>
              <a:ext uri="{FF2B5EF4-FFF2-40B4-BE49-F238E27FC236}">
                <a16:creationId xmlns:a16="http://schemas.microsoft.com/office/drawing/2014/main" id="{74EC0D79-7FF2-4C13-B917-A8B5825EB9F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192898" y="307913"/>
            <a:ext cx="1766888" cy="1766888"/>
          </a:xfrm>
          <a:prstGeom prst="rect">
            <a:avLst/>
          </a:prstGeom>
        </p:spPr>
      </p:pic>
      <p:pic>
        <p:nvPicPr>
          <p:cNvPr id="154" name="Picture 153" descr="A close up of a mountain&#10;&#10;Description automatically generated">
            <a:extLst>
              <a:ext uri="{FF2B5EF4-FFF2-40B4-BE49-F238E27FC236}">
                <a16:creationId xmlns:a16="http://schemas.microsoft.com/office/drawing/2014/main" id="{A969877D-D27A-42B3-931B-510C0A856E9F}"/>
              </a:ext>
            </a:extLst>
          </p:cNvPr>
          <p:cNvPicPr>
            <a:picLocks noChangeAspect="1"/>
          </p:cNvPicPr>
          <p:nvPr/>
        </p:nvPicPr>
        <p:blipFill>
          <a:blip r:embed="rId4"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5388010" y="1215538"/>
            <a:ext cx="2889786" cy="1439858"/>
          </a:xfrm>
          <a:prstGeom prst="rect">
            <a:avLst/>
          </a:prstGeom>
        </p:spPr>
      </p:pic>
      <p:grpSp>
        <p:nvGrpSpPr>
          <p:cNvPr id="306" name="Group 305">
            <a:extLst>
              <a:ext uri="{FF2B5EF4-FFF2-40B4-BE49-F238E27FC236}">
                <a16:creationId xmlns:a16="http://schemas.microsoft.com/office/drawing/2014/main" id="{F86714E1-EB96-43FF-BDD7-9DFBBEE83050}"/>
              </a:ext>
            </a:extLst>
          </p:cNvPr>
          <p:cNvGrpSpPr/>
          <p:nvPr/>
        </p:nvGrpSpPr>
        <p:grpSpPr>
          <a:xfrm>
            <a:off x="8058815" y="1286927"/>
            <a:ext cx="813507" cy="808462"/>
            <a:chOff x="8050587" y="-3721939"/>
            <a:chExt cx="1349056" cy="1340689"/>
          </a:xfrm>
        </p:grpSpPr>
        <p:sp>
          <p:nvSpPr>
            <p:cNvPr id="307" name="Freeform: Shape 306">
              <a:extLst>
                <a:ext uri="{FF2B5EF4-FFF2-40B4-BE49-F238E27FC236}">
                  <a16:creationId xmlns:a16="http://schemas.microsoft.com/office/drawing/2014/main" id="{755A145E-5677-4844-816E-E51C466F21A9}"/>
                </a:ext>
              </a:extLst>
            </p:cNvPr>
            <p:cNvSpPr/>
            <p:nvPr/>
          </p:nvSpPr>
          <p:spPr>
            <a:xfrm>
              <a:off x="8050587" y="-3721939"/>
              <a:ext cx="1340691" cy="1340689"/>
            </a:xfrm>
            <a:custGeom>
              <a:avLst/>
              <a:gdLst>
                <a:gd name="connsiteX0" fmla="*/ 3371503 w 3371503"/>
                <a:gd name="connsiteY0" fmla="*/ 1685752 h 3371503"/>
                <a:gd name="connsiteX1" fmla="*/ 1685752 w 3371503"/>
                <a:gd name="connsiteY1" fmla="*/ 3371503 h 3371503"/>
                <a:gd name="connsiteX2" fmla="*/ 0 w 3371503"/>
                <a:gd name="connsiteY2" fmla="*/ 1685752 h 3371503"/>
                <a:gd name="connsiteX3" fmla="*/ 1685752 w 3371503"/>
                <a:gd name="connsiteY3" fmla="*/ 0 h 3371503"/>
                <a:gd name="connsiteX4" fmla="*/ 3371503 w 3371503"/>
                <a:gd name="connsiteY4" fmla="*/ 1685752 h 3371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503" h="3371503">
                  <a:moveTo>
                    <a:pt x="3371503" y="1685752"/>
                  </a:moveTo>
                  <a:cubicBezTo>
                    <a:pt x="3371503" y="2616767"/>
                    <a:pt x="2616767" y="3371503"/>
                    <a:pt x="1685752" y="3371503"/>
                  </a:cubicBezTo>
                  <a:cubicBezTo>
                    <a:pt x="754737" y="3371503"/>
                    <a:pt x="0" y="2616767"/>
                    <a:pt x="0" y="1685752"/>
                  </a:cubicBezTo>
                  <a:cubicBezTo>
                    <a:pt x="0" y="754737"/>
                    <a:pt x="754737" y="0"/>
                    <a:pt x="1685752" y="0"/>
                  </a:cubicBezTo>
                  <a:cubicBezTo>
                    <a:pt x="2616767" y="0"/>
                    <a:pt x="3371503" y="754737"/>
                    <a:pt x="3371503" y="1685752"/>
                  </a:cubicBezTo>
                  <a:close/>
                </a:path>
              </a:pathLst>
            </a:custGeom>
            <a:solidFill>
              <a:schemeClr val="bg2"/>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pic>
          <p:nvPicPr>
            <p:cNvPr id="308" name="Picture 307" descr="A picture containing building&#10;&#10;Description automatically generated">
              <a:extLst>
                <a:ext uri="{FF2B5EF4-FFF2-40B4-BE49-F238E27FC236}">
                  <a16:creationId xmlns:a16="http://schemas.microsoft.com/office/drawing/2014/main" id="{2E0F6DD1-3F03-4B59-AB1A-83B52622B93C}"/>
                </a:ext>
              </a:extLst>
            </p:cNvPr>
            <p:cNvPicPr>
              <a:picLocks noChangeAspect="1"/>
            </p:cNvPicPr>
            <p:nvPr/>
          </p:nvPicPr>
          <p:blipFill>
            <a:blip r:embed="rId5" cstate="screen">
              <a:duotone>
                <a:prstClr val="black"/>
                <a:schemeClr val="accent3">
                  <a:tint val="45000"/>
                  <a:satMod val="400000"/>
                </a:schemeClr>
              </a:duotone>
              <a:extLst>
                <a:ext uri="{BEBA8EAE-BF5A-486C-A8C5-ECC9F3942E4B}">
                  <a14:imgProps xmlns:a14="http://schemas.microsoft.com/office/drawing/2010/main">
                    <a14:imgLayer r:embed="rId6">
                      <a14:imgEffect>
                        <a14:brightnessContrast bright="-81000"/>
                      </a14:imgEffect>
                    </a14:imgLayer>
                  </a14:imgProps>
                </a:ext>
                <a:ext uri="{28A0092B-C50C-407E-A947-70E740481C1C}">
                  <a14:useLocalDpi xmlns:a14="http://schemas.microsoft.com/office/drawing/2010/main"/>
                </a:ext>
              </a:extLst>
            </a:blip>
            <a:srcRect/>
            <a:stretch>
              <a:fillRect/>
            </a:stretch>
          </p:blipFill>
          <p:spPr>
            <a:xfrm>
              <a:off x="8050587" y="-3721939"/>
              <a:ext cx="1340691" cy="1340689"/>
            </a:xfrm>
            <a:custGeom>
              <a:avLst/>
              <a:gdLst>
                <a:gd name="connsiteX0" fmla="*/ 1287509 w 2575016"/>
                <a:gd name="connsiteY0" fmla="*/ 0 h 2575014"/>
                <a:gd name="connsiteX1" fmla="*/ 2575016 w 2575016"/>
                <a:gd name="connsiteY1" fmla="*/ 1287508 h 2575014"/>
                <a:gd name="connsiteX2" fmla="*/ 1287509 w 2575016"/>
                <a:gd name="connsiteY2" fmla="*/ 2575014 h 2575014"/>
                <a:gd name="connsiteX3" fmla="*/ 0 w 2575016"/>
                <a:gd name="connsiteY3" fmla="*/ 1287508 h 2575014"/>
                <a:gd name="connsiteX4" fmla="*/ 1287509 w 2575016"/>
                <a:gd name="connsiteY4" fmla="*/ 0 h 2575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016" h="2575014">
                  <a:moveTo>
                    <a:pt x="1287509" y="0"/>
                  </a:moveTo>
                  <a:cubicBezTo>
                    <a:pt x="1998580" y="0"/>
                    <a:pt x="2575016" y="576437"/>
                    <a:pt x="2575016" y="1287508"/>
                  </a:cubicBezTo>
                  <a:cubicBezTo>
                    <a:pt x="2575016" y="1998578"/>
                    <a:pt x="1998580" y="2575014"/>
                    <a:pt x="1287509" y="2575014"/>
                  </a:cubicBezTo>
                  <a:cubicBezTo>
                    <a:pt x="576437" y="2575014"/>
                    <a:pt x="0" y="1998578"/>
                    <a:pt x="0" y="1287508"/>
                  </a:cubicBezTo>
                  <a:cubicBezTo>
                    <a:pt x="0" y="576437"/>
                    <a:pt x="576437" y="0"/>
                    <a:pt x="1287509" y="0"/>
                  </a:cubicBezTo>
                  <a:close/>
                </a:path>
              </a:pathLst>
            </a:custGeom>
          </p:spPr>
        </p:pic>
        <p:sp>
          <p:nvSpPr>
            <p:cNvPr id="309" name="Rectangle 308">
              <a:extLst>
                <a:ext uri="{FF2B5EF4-FFF2-40B4-BE49-F238E27FC236}">
                  <a16:creationId xmlns:a16="http://schemas.microsoft.com/office/drawing/2014/main" id="{B7DE2DE7-FF7D-4119-9A24-B1292D36FD45}"/>
                </a:ext>
              </a:extLst>
            </p:cNvPr>
            <p:cNvSpPr/>
            <p:nvPr/>
          </p:nvSpPr>
          <p:spPr>
            <a:xfrm>
              <a:off x="8058952" y="-3209987"/>
              <a:ext cx="1340691" cy="260523"/>
            </a:xfrm>
            <a:prstGeom prst="rect">
              <a:avLst/>
            </a:prstGeom>
            <a:noFill/>
            <a:ln w="25400" cap="flat" cmpd="sng" algn="ctr">
              <a:noFill/>
              <a:prstDash val="solid"/>
            </a:ln>
            <a:effectLst/>
          </p:spPr>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BCEB"/>
                  </a:solidFill>
                  <a:effectLst/>
                  <a:uLnTx/>
                  <a:uFillTx/>
                  <a:latin typeface="CiscoSansTT ExtraLight"/>
                  <a:ea typeface="ＭＳ Ｐゴシック" charset="0"/>
                  <a:cs typeface="+mn-cs"/>
                </a:rPr>
                <a:t>Cloud Apps</a:t>
              </a:r>
            </a:p>
          </p:txBody>
        </p:sp>
      </p:grpSp>
      <p:sp>
        <p:nvSpPr>
          <p:cNvPr id="318" name="Oval 317">
            <a:extLst>
              <a:ext uri="{FF2B5EF4-FFF2-40B4-BE49-F238E27FC236}">
                <a16:creationId xmlns:a16="http://schemas.microsoft.com/office/drawing/2014/main" id="{66F37FEB-9D89-4ACE-8604-D8C961D7BA9C}"/>
              </a:ext>
            </a:extLst>
          </p:cNvPr>
          <p:cNvSpPr/>
          <p:nvPr/>
        </p:nvSpPr>
        <p:spPr>
          <a:xfrm>
            <a:off x="8785627" y="1314553"/>
            <a:ext cx="94430" cy="94284"/>
          </a:xfrm>
          <a:prstGeom prst="ellipse">
            <a:avLst/>
          </a:prstGeom>
          <a:solidFill>
            <a:schemeClr val="accent2"/>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19" name="Oval 318">
            <a:extLst>
              <a:ext uri="{FF2B5EF4-FFF2-40B4-BE49-F238E27FC236}">
                <a16:creationId xmlns:a16="http://schemas.microsoft.com/office/drawing/2014/main" id="{B4FA7A78-F1F9-4F13-9631-886790E9DD15}"/>
              </a:ext>
            </a:extLst>
          </p:cNvPr>
          <p:cNvSpPr/>
          <p:nvPr/>
        </p:nvSpPr>
        <p:spPr>
          <a:xfrm>
            <a:off x="8785627" y="1314553"/>
            <a:ext cx="94430" cy="94284"/>
          </a:xfrm>
          <a:prstGeom prst="ellipse">
            <a:avLst/>
          </a:prstGeom>
          <a:solidFill>
            <a:schemeClr val="accent2"/>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20" name="Oval 319">
            <a:extLst>
              <a:ext uri="{FF2B5EF4-FFF2-40B4-BE49-F238E27FC236}">
                <a16:creationId xmlns:a16="http://schemas.microsoft.com/office/drawing/2014/main" id="{AF7488A6-6D6A-40EF-86FF-C3082CCC7686}"/>
              </a:ext>
            </a:extLst>
          </p:cNvPr>
          <p:cNvSpPr/>
          <p:nvPr/>
        </p:nvSpPr>
        <p:spPr>
          <a:xfrm>
            <a:off x="8742391" y="2053751"/>
            <a:ext cx="94430" cy="94284"/>
          </a:xfrm>
          <a:prstGeom prst="ellipse">
            <a:avLst/>
          </a:prstGeom>
          <a:solidFill>
            <a:schemeClr val="accent1"/>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21" name="Oval 320">
            <a:extLst>
              <a:ext uri="{FF2B5EF4-FFF2-40B4-BE49-F238E27FC236}">
                <a16:creationId xmlns:a16="http://schemas.microsoft.com/office/drawing/2014/main" id="{50C7C435-B191-4191-BE5F-14C537918E4C}"/>
              </a:ext>
            </a:extLst>
          </p:cNvPr>
          <p:cNvSpPr/>
          <p:nvPr/>
        </p:nvSpPr>
        <p:spPr>
          <a:xfrm>
            <a:off x="8742391" y="2053751"/>
            <a:ext cx="94430" cy="94284"/>
          </a:xfrm>
          <a:prstGeom prst="ellipse">
            <a:avLst/>
          </a:prstGeom>
          <a:solidFill>
            <a:schemeClr val="accent1"/>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26" name="Freeform: Shape 325">
            <a:extLst>
              <a:ext uri="{FF2B5EF4-FFF2-40B4-BE49-F238E27FC236}">
                <a16:creationId xmlns:a16="http://schemas.microsoft.com/office/drawing/2014/main" id="{C9CFE43C-A8DB-4679-A8A0-B73455722295}"/>
              </a:ext>
            </a:extLst>
          </p:cNvPr>
          <p:cNvSpPr/>
          <p:nvPr/>
        </p:nvSpPr>
        <p:spPr>
          <a:xfrm>
            <a:off x="5782192" y="1881860"/>
            <a:ext cx="1448769" cy="239062"/>
          </a:xfrm>
          <a:custGeom>
            <a:avLst/>
            <a:gdLst>
              <a:gd name="connsiteX0" fmla="*/ 2895338 w 3739118"/>
              <a:gd name="connsiteY0" fmla="*/ 475966 h 616993"/>
              <a:gd name="connsiteX1" fmla="*/ 2965852 w 3739118"/>
              <a:gd name="connsiteY1" fmla="*/ 546480 h 616993"/>
              <a:gd name="connsiteX2" fmla="*/ 2895338 w 3739118"/>
              <a:gd name="connsiteY2" fmla="*/ 616993 h 616993"/>
              <a:gd name="connsiteX3" fmla="*/ 2824824 w 3739118"/>
              <a:gd name="connsiteY3" fmla="*/ 546480 h 616993"/>
              <a:gd name="connsiteX4" fmla="*/ 2895338 w 3739118"/>
              <a:gd name="connsiteY4" fmla="*/ 475966 h 616993"/>
              <a:gd name="connsiteX5" fmla="*/ 1603704 w 3739118"/>
              <a:gd name="connsiteY5" fmla="*/ 464531 h 616993"/>
              <a:gd name="connsiteX6" fmla="*/ 1674218 w 3739118"/>
              <a:gd name="connsiteY6" fmla="*/ 535045 h 616993"/>
              <a:gd name="connsiteX7" fmla="*/ 1603704 w 3739118"/>
              <a:gd name="connsiteY7" fmla="*/ 605558 h 616993"/>
              <a:gd name="connsiteX8" fmla="*/ 1533191 w 3739118"/>
              <a:gd name="connsiteY8" fmla="*/ 535045 h 616993"/>
              <a:gd name="connsiteX9" fmla="*/ 1603704 w 3739118"/>
              <a:gd name="connsiteY9" fmla="*/ 464531 h 616993"/>
              <a:gd name="connsiteX10" fmla="*/ 1347854 w 3739118"/>
              <a:gd name="connsiteY10" fmla="*/ 464531 h 616993"/>
              <a:gd name="connsiteX11" fmla="*/ 1418368 w 3739118"/>
              <a:gd name="connsiteY11" fmla="*/ 535045 h 616993"/>
              <a:gd name="connsiteX12" fmla="*/ 1347854 w 3739118"/>
              <a:gd name="connsiteY12" fmla="*/ 605558 h 616993"/>
              <a:gd name="connsiteX13" fmla="*/ 1277341 w 3739118"/>
              <a:gd name="connsiteY13" fmla="*/ 535045 h 616993"/>
              <a:gd name="connsiteX14" fmla="*/ 1347854 w 3739118"/>
              <a:gd name="connsiteY14" fmla="*/ 464531 h 616993"/>
              <a:gd name="connsiteX15" fmla="*/ 1092481 w 3739118"/>
              <a:gd name="connsiteY15" fmla="*/ 464531 h 616993"/>
              <a:gd name="connsiteX16" fmla="*/ 1162995 w 3739118"/>
              <a:gd name="connsiteY16" fmla="*/ 535045 h 616993"/>
              <a:gd name="connsiteX17" fmla="*/ 1092481 w 3739118"/>
              <a:gd name="connsiteY17" fmla="*/ 605558 h 616993"/>
              <a:gd name="connsiteX18" fmla="*/ 1021968 w 3739118"/>
              <a:gd name="connsiteY18" fmla="*/ 535045 h 616993"/>
              <a:gd name="connsiteX19" fmla="*/ 1092481 w 3739118"/>
              <a:gd name="connsiteY19" fmla="*/ 464531 h 616993"/>
              <a:gd name="connsiteX20" fmla="*/ 837108 w 3739118"/>
              <a:gd name="connsiteY20" fmla="*/ 464531 h 616993"/>
              <a:gd name="connsiteX21" fmla="*/ 907622 w 3739118"/>
              <a:gd name="connsiteY21" fmla="*/ 535045 h 616993"/>
              <a:gd name="connsiteX22" fmla="*/ 837108 w 3739118"/>
              <a:gd name="connsiteY22" fmla="*/ 605558 h 616993"/>
              <a:gd name="connsiteX23" fmla="*/ 766595 w 3739118"/>
              <a:gd name="connsiteY23" fmla="*/ 535045 h 616993"/>
              <a:gd name="connsiteX24" fmla="*/ 837108 w 3739118"/>
              <a:gd name="connsiteY24" fmla="*/ 464531 h 616993"/>
              <a:gd name="connsiteX25" fmla="*/ 581259 w 3739118"/>
              <a:gd name="connsiteY25" fmla="*/ 464531 h 616993"/>
              <a:gd name="connsiteX26" fmla="*/ 651773 w 3739118"/>
              <a:gd name="connsiteY26" fmla="*/ 535045 h 616993"/>
              <a:gd name="connsiteX27" fmla="*/ 581259 w 3739118"/>
              <a:gd name="connsiteY27" fmla="*/ 605558 h 616993"/>
              <a:gd name="connsiteX28" fmla="*/ 510746 w 3739118"/>
              <a:gd name="connsiteY28" fmla="*/ 535045 h 616993"/>
              <a:gd name="connsiteX29" fmla="*/ 581259 w 3739118"/>
              <a:gd name="connsiteY29" fmla="*/ 464531 h 616993"/>
              <a:gd name="connsiteX30" fmla="*/ 325886 w 3739118"/>
              <a:gd name="connsiteY30" fmla="*/ 464531 h 616993"/>
              <a:gd name="connsiteX31" fmla="*/ 396400 w 3739118"/>
              <a:gd name="connsiteY31" fmla="*/ 535045 h 616993"/>
              <a:gd name="connsiteX32" fmla="*/ 325886 w 3739118"/>
              <a:gd name="connsiteY32" fmla="*/ 605558 h 616993"/>
              <a:gd name="connsiteX33" fmla="*/ 255373 w 3739118"/>
              <a:gd name="connsiteY33" fmla="*/ 535045 h 616993"/>
              <a:gd name="connsiteX34" fmla="*/ 325886 w 3739118"/>
              <a:gd name="connsiteY34" fmla="*/ 464531 h 616993"/>
              <a:gd name="connsiteX35" fmla="*/ 70513 w 3739118"/>
              <a:gd name="connsiteY35" fmla="*/ 464531 h 616993"/>
              <a:gd name="connsiteX36" fmla="*/ 141027 w 3739118"/>
              <a:gd name="connsiteY36" fmla="*/ 535045 h 616993"/>
              <a:gd name="connsiteX37" fmla="*/ 70513 w 3739118"/>
              <a:gd name="connsiteY37" fmla="*/ 605558 h 616993"/>
              <a:gd name="connsiteX38" fmla="*/ 0 w 3739118"/>
              <a:gd name="connsiteY38" fmla="*/ 535045 h 616993"/>
              <a:gd name="connsiteX39" fmla="*/ 70513 w 3739118"/>
              <a:gd name="connsiteY39" fmla="*/ 464531 h 616993"/>
              <a:gd name="connsiteX40" fmla="*/ 3668605 w 3739118"/>
              <a:gd name="connsiteY40" fmla="*/ 235839 h 616993"/>
              <a:gd name="connsiteX41" fmla="*/ 3739118 w 3739118"/>
              <a:gd name="connsiteY41" fmla="*/ 306353 h 616993"/>
              <a:gd name="connsiteX42" fmla="*/ 3668605 w 3739118"/>
              <a:gd name="connsiteY42" fmla="*/ 376866 h 616993"/>
              <a:gd name="connsiteX43" fmla="*/ 3598090 w 3739118"/>
              <a:gd name="connsiteY43" fmla="*/ 306353 h 616993"/>
              <a:gd name="connsiteX44" fmla="*/ 3668605 w 3739118"/>
              <a:gd name="connsiteY44" fmla="*/ 235839 h 616993"/>
              <a:gd name="connsiteX45" fmla="*/ 2120167 w 3739118"/>
              <a:gd name="connsiteY45" fmla="*/ 235839 h 616993"/>
              <a:gd name="connsiteX46" fmla="*/ 2190681 w 3739118"/>
              <a:gd name="connsiteY46" fmla="*/ 306353 h 616993"/>
              <a:gd name="connsiteX47" fmla="*/ 2120167 w 3739118"/>
              <a:gd name="connsiteY47" fmla="*/ 376866 h 616993"/>
              <a:gd name="connsiteX48" fmla="*/ 2049653 w 3739118"/>
              <a:gd name="connsiteY48" fmla="*/ 306353 h 616993"/>
              <a:gd name="connsiteX49" fmla="*/ 2120167 w 3739118"/>
              <a:gd name="connsiteY49" fmla="*/ 235839 h 616993"/>
              <a:gd name="connsiteX50" fmla="*/ 1863365 w 3739118"/>
              <a:gd name="connsiteY50" fmla="*/ 235839 h 616993"/>
              <a:gd name="connsiteX51" fmla="*/ 1933879 w 3739118"/>
              <a:gd name="connsiteY51" fmla="*/ 306353 h 616993"/>
              <a:gd name="connsiteX52" fmla="*/ 1863365 w 3739118"/>
              <a:gd name="connsiteY52" fmla="*/ 376866 h 616993"/>
              <a:gd name="connsiteX53" fmla="*/ 1792852 w 3739118"/>
              <a:gd name="connsiteY53" fmla="*/ 306353 h 616993"/>
              <a:gd name="connsiteX54" fmla="*/ 1863365 w 3739118"/>
              <a:gd name="connsiteY54" fmla="*/ 235839 h 616993"/>
              <a:gd name="connsiteX55" fmla="*/ 1603704 w 3739118"/>
              <a:gd name="connsiteY55" fmla="*/ 228692 h 616993"/>
              <a:gd name="connsiteX56" fmla="*/ 1674218 w 3739118"/>
              <a:gd name="connsiteY56" fmla="*/ 299206 h 616993"/>
              <a:gd name="connsiteX57" fmla="*/ 1603704 w 3739118"/>
              <a:gd name="connsiteY57" fmla="*/ 369719 h 616993"/>
              <a:gd name="connsiteX58" fmla="*/ 1533191 w 3739118"/>
              <a:gd name="connsiteY58" fmla="*/ 299206 h 616993"/>
              <a:gd name="connsiteX59" fmla="*/ 1603704 w 3739118"/>
              <a:gd name="connsiteY59" fmla="*/ 228692 h 616993"/>
              <a:gd name="connsiteX60" fmla="*/ 1347854 w 3739118"/>
              <a:gd name="connsiteY60" fmla="*/ 228692 h 616993"/>
              <a:gd name="connsiteX61" fmla="*/ 1418368 w 3739118"/>
              <a:gd name="connsiteY61" fmla="*/ 299206 h 616993"/>
              <a:gd name="connsiteX62" fmla="*/ 1347854 w 3739118"/>
              <a:gd name="connsiteY62" fmla="*/ 369719 h 616993"/>
              <a:gd name="connsiteX63" fmla="*/ 1277341 w 3739118"/>
              <a:gd name="connsiteY63" fmla="*/ 299206 h 616993"/>
              <a:gd name="connsiteX64" fmla="*/ 1347854 w 3739118"/>
              <a:gd name="connsiteY64" fmla="*/ 228692 h 616993"/>
              <a:gd name="connsiteX65" fmla="*/ 1092481 w 3739118"/>
              <a:gd name="connsiteY65" fmla="*/ 228692 h 616993"/>
              <a:gd name="connsiteX66" fmla="*/ 1162995 w 3739118"/>
              <a:gd name="connsiteY66" fmla="*/ 299206 h 616993"/>
              <a:gd name="connsiteX67" fmla="*/ 1092481 w 3739118"/>
              <a:gd name="connsiteY67" fmla="*/ 369719 h 616993"/>
              <a:gd name="connsiteX68" fmla="*/ 1021968 w 3739118"/>
              <a:gd name="connsiteY68" fmla="*/ 299206 h 616993"/>
              <a:gd name="connsiteX69" fmla="*/ 1092481 w 3739118"/>
              <a:gd name="connsiteY69" fmla="*/ 228692 h 616993"/>
              <a:gd name="connsiteX70" fmla="*/ 837108 w 3739118"/>
              <a:gd name="connsiteY70" fmla="*/ 228692 h 616993"/>
              <a:gd name="connsiteX71" fmla="*/ 907622 w 3739118"/>
              <a:gd name="connsiteY71" fmla="*/ 299206 h 616993"/>
              <a:gd name="connsiteX72" fmla="*/ 837108 w 3739118"/>
              <a:gd name="connsiteY72" fmla="*/ 369719 h 616993"/>
              <a:gd name="connsiteX73" fmla="*/ 766595 w 3739118"/>
              <a:gd name="connsiteY73" fmla="*/ 299206 h 616993"/>
              <a:gd name="connsiteX74" fmla="*/ 837108 w 3739118"/>
              <a:gd name="connsiteY74" fmla="*/ 228692 h 616993"/>
              <a:gd name="connsiteX75" fmla="*/ 581259 w 3739118"/>
              <a:gd name="connsiteY75" fmla="*/ 228692 h 616993"/>
              <a:gd name="connsiteX76" fmla="*/ 651773 w 3739118"/>
              <a:gd name="connsiteY76" fmla="*/ 299206 h 616993"/>
              <a:gd name="connsiteX77" fmla="*/ 581259 w 3739118"/>
              <a:gd name="connsiteY77" fmla="*/ 369719 h 616993"/>
              <a:gd name="connsiteX78" fmla="*/ 510746 w 3739118"/>
              <a:gd name="connsiteY78" fmla="*/ 299206 h 616993"/>
              <a:gd name="connsiteX79" fmla="*/ 581259 w 3739118"/>
              <a:gd name="connsiteY79" fmla="*/ 228692 h 616993"/>
              <a:gd name="connsiteX80" fmla="*/ 325886 w 3739118"/>
              <a:gd name="connsiteY80" fmla="*/ 228692 h 616993"/>
              <a:gd name="connsiteX81" fmla="*/ 396400 w 3739118"/>
              <a:gd name="connsiteY81" fmla="*/ 299206 h 616993"/>
              <a:gd name="connsiteX82" fmla="*/ 325886 w 3739118"/>
              <a:gd name="connsiteY82" fmla="*/ 369719 h 616993"/>
              <a:gd name="connsiteX83" fmla="*/ 255373 w 3739118"/>
              <a:gd name="connsiteY83" fmla="*/ 299206 h 616993"/>
              <a:gd name="connsiteX84" fmla="*/ 325886 w 3739118"/>
              <a:gd name="connsiteY84" fmla="*/ 228692 h 616993"/>
              <a:gd name="connsiteX85" fmla="*/ 70513 w 3739118"/>
              <a:gd name="connsiteY85" fmla="*/ 228692 h 616993"/>
              <a:gd name="connsiteX86" fmla="*/ 141027 w 3739118"/>
              <a:gd name="connsiteY86" fmla="*/ 299206 h 616993"/>
              <a:gd name="connsiteX87" fmla="*/ 70513 w 3739118"/>
              <a:gd name="connsiteY87" fmla="*/ 369719 h 616993"/>
              <a:gd name="connsiteX88" fmla="*/ 0 w 3739118"/>
              <a:gd name="connsiteY88" fmla="*/ 299206 h 616993"/>
              <a:gd name="connsiteX89" fmla="*/ 70513 w 3739118"/>
              <a:gd name="connsiteY89" fmla="*/ 228692 h 616993"/>
              <a:gd name="connsiteX90" fmla="*/ 2635678 w 3739118"/>
              <a:gd name="connsiteY90" fmla="*/ 0 h 616993"/>
              <a:gd name="connsiteX91" fmla="*/ 2706192 w 3739118"/>
              <a:gd name="connsiteY91" fmla="*/ 70514 h 616993"/>
              <a:gd name="connsiteX92" fmla="*/ 2635678 w 3739118"/>
              <a:gd name="connsiteY92" fmla="*/ 141027 h 616993"/>
              <a:gd name="connsiteX93" fmla="*/ 2565164 w 3739118"/>
              <a:gd name="connsiteY93" fmla="*/ 70514 h 616993"/>
              <a:gd name="connsiteX94" fmla="*/ 2635678 w 3739118"/>
              <a:gd name="connsiteY94" fmla="*/ 0 h 616993"/>
              <a:gd name="connsiteX95" fmla="*/ 2381257 w 3739118"/>
              <a:gd name="connsiteY95" fmla="*/ 0 h 616993"/>
              <a:gd name="connsiteX96" fmla="*/ 2451771 w 3739118"/>
              <a:gd name="connsiteY96" fmla="*/ 70514 h 616993"/>
              <a:gd name="connsiteX97" fmla="*/ 2381257 w 3739118"/>
              <a:gd name="connsiteY97" fmla="*/ 141027 h 616993"/>
              <a:gd name="connsiteX98" fmla="*/ 2310744 w 3739118"/>
              <a:gd name="connsiteY98" fmla="*/ 70514 h 616993"/>
              <a:gd name="connsiteX99" fmla="*/ 2381257 w 3739118"/>
              <a:gd name="connsiteY99" fmla="*/ 0 h 616993"/>
              <a:gd name="connsiteX100" fmla="*/ 1603704 w 3739118"/>
              <a:gd name="connsiteY100" fmla="*/ 0 h 616993"/>
              <a:gd name="connsiteX101" fmla="*/ 1674218 w 3739118"/>
              <a:gd name="connsiteY101" fmla="*/ 70514 h 616993"/>
              <a:gd name="connsiteX102" fmla="*/ 1603704 w 3739118"/>
              <a:gd name="connsiteY102" fmla="*/ 141027 h 616993"/>
              <a:gd name="connsiteX103" fmla="*/ 1533191 w 3739118"/>
              <a:gd name="connsiteY103" fmla="*/ 70514 h 616993"/>
              <a:gd name="connsiteX104" fmla="*/ 1603704 w 3739118"/>
              <a:gd name="connsiteY104" fmla="*/ 0 h 616993"/>
              <a:gd name="connsiteX105" fmla="*/ 1347854 w 3739118"/>
              <a:gd name="connsiteY105" fmla="*/ 0 h 616993"/>
              <a:gd name="connsiteX106" fmla="*/ 1418368 w 3739118"/>
              <a:gd name="connsiteY106" fmla="*/ 70514 h 616993"/>
              <a:gd name="connsiteX107" fmla="*/ 1347854 w 3739118"/>
              <a:gd name="connsiteY107" fmla="*/ 141027 h 616993"/>
              <a:gd name="connsiteX108" fmla="*/ 1277341 w 3739118"/>
              <a:gd name="connsiteY108" fmla="*/ 70514 h 616993"/>
              <a:gd name="connsiteX109" fmla="*/ 1347854 w 3739118"/>
              <a:gd name="connsiteY109" fmla="*/ 0 h 616993"/>
              <a:gd name="connsiteX110" fmla="*/ 1092481 w 3739118"/>
              <a:gd name="connsiteY110" fmla="*/ 0 h 616993"/>
              <a:gd name="connsiteX111" fmla="*/ 1162995 w 3739118"/>
              <a:gd name="connsiteY111" fmla="*/ 70514 h 616993"/>
              <a:gd name="connsiteX112" fmla="*/ 1092481 w 3739118"/>
              <a:gd name="connsiteY112" fmla="*/ 141027 h 616993"/>
              <a:gd name="connsiteX113" fmla="*/ 1021968 w 3739118"/>
              <a:gd name="connsiteY113" fmla="*/ 70514 h 616993"/>
              <a:gd name="connsiteX114" fmla="*/ 1092481 w 3739118"/>
              <a:gd name="connsiteY114" fmla="*/ 0 h 616993"/>
              <a:gd name="connsiteX115" fmla="*/ 837108 w 3739118"/>
              <a:gd name="connsiteY115" fmla="*/ 0 h 616993"/>
              <a:gd name="connsiteX116" fmla="*/ 907622 w 3739118"/>
              <a:gd name="connsiteY116" fmla="*/ 70514 h 616993"/>
              <a:gd name="connsiteX117" fmla="*/ 837108 w 3739118"/>
              <a:gd name="connsiteY117" fmla="*/ 141027 h 616993"/>
              <a:gd name="connsiteX118" fmla="*/ 766595 w 3739118"/>
              <a:gd name="connsiteY118" fmla="*/ 70514 h 616993"/>
              <a:gd name="connsiteX119" fmla="*/ 837108 w 3739118"/>
              <a:gd name="connsiteY119" fmla="*/ 0 h 616993"/>
              <a:gd name="connsiteX120" fmla="*/ 581259 w 3739118"/>
              <a:gd name="connsiteY120" fmla="*/ 0 h 616993"/>
              <a:gd name="connsiteX121" fmla="*/ 651773 w 3739118"/>
              <a:gd name="connsiteY121" fmla="*/ 70514 h 616993"/>
              <a:gd name="connsiteX122" fmla="*/ 581259 w 3739118"/>
              <a:gd name="connsiteY122" fmla="*/ 141027 h 616993"/>
              <a:gd name="connsiteX123" fmla="*/ 510746 w 3739118"/>
              <a:gd name="connsiteY123" fmla="*/ 70514 h 616993"/>
              <a:gd name="connsiteX124" fmla="*/ 581259 w 3739118"/>
              <a:gd name="connsiteY124" fmla="*/ 0 h 616993"/>
              <a:gd name="connsiteX125" fmla="*/ 325886 w 3739118"/>
              <a:gd name="connsiteY125" fmla="*/ 0 h 616993"/>
              <a:gd name="connsiteX126" fmla="*/ 396400 w 3739118"/>
              <a:gd name="connsiteY126" fmla="*/ 70514 h 616993"/>
              <a:gd name="connsiteX127" fmla="*/ 325886 w 3739118"/>
              <a:gd name="connsiteY127" fmla="*/ 141027 h 616993"/>
              <a:gd name="connsiteX128" fmla="*/ 255373 w 3739118"/>
              <a:gd name="connsiteY128" fmla="*/ 70514 h 616993"/>
              <a:gd name="connsiteX129" fmla="*/ 325886 w 3739118"/>
              <a:gd name="connsiteY129" fmla="*/ 0 h 616993"/>
              <a:gd name="connsiteX130" fmla="*/ 70513 w 3739118"/>
              <a:gd name="connsiteY130" fmla="*/ 0 h 616993"/>
              <a:gd name="connsiteX131" fmla="*/ 141027 w 3739118"/>
              <a:gd name="connsiteY131" fmla="*/ 70514 h 616993"/>
              <a:gd name="connsiteX132" fmla="*/ 70513 w 3739118"/>
              <a:gd name="connsiteY132" fmla="*/ 141027 h 616993"/>
              <a:gd name="connsiteX133" fmla="*/ 0 w 3739118"/>
              <a:gd name="connsiteY133" fmla="*/ 70514 h 616993"/>
              <a:gd name="connsiteX134" fmla="*/ 70513 w 3739118"/>
              <a:gd name="connsiteY134" fmla="*/ 0 h 616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3739118" h="616993">
                <a:moveTo>
                  <a:pt x="2895338" y="475966"/>
                </a:moveTo>
                <a:cubicBezTo>
                  <a:pt x="2934282" y="475966"/>
                  <a:pt x="2965852" y="507536"/>
                  <a:pt x="2965852" y="546480"/>
                </a:cubicBezTo>
                <a:cubicBezTo>
                  <a:pt x="2965852" y="585423"/>
                  <a:pt x="2934282" y="616993"/>
                  <a:pt x="2895338" y="616993"/>
                </a:cubicBezTo>
                <a:cubicBezTo>
                  <a:pt x="2856395" y="616993"/>
                  <a:pt x="2824824" y="585423"/>
                  <a:pt x="2824824" y="546480"/>
                </a:cubicBezTo>
                <a:cubicBezTo>
                  <a:pt x="2824824" y="507536"/>
                  <a:pt x="2856395" y="475966"/>
                  <a:pt x="2895338" y="475966"/>
                </a:cubicBezTo>
                <a:close/>
                <a:moveTo>
                  <a:pt x="1603704" y="464531"/>
                </a:moveTo>
                <a:cubicBezTo>
                  <a:pt x="1642648" y="464531"/>
                  <a:pt x="1674218" y="496101"/>
                  <a:pt x="1674218" y="535045"/>
                </a:cubicBezTo>
                <a:cubicBezTo>
                  <a:pt x="1674218" y="573988"/>
                  <a:pt x="1642648" y="605558"/>
                  <a:pt x="1603704" y="605558"/>
                </a:cubicBezTo>
                <a:cubicBezTo>
                  <a:pt x="1564761" y="605558"/>
                  <a:pt x="1533191" y="573988"/>
                  <a:pt x="1533191" y="535045"/>
                </a:cubicBezTo>
                <a:cubicBezTo>
                  <a:pt x="1533191" y="496101"/>
                  <a:pt x="1564761" y="464531"/>
                  <a:pt x="1603704" y="464531"/>
                </a:cubicBezTo>
                <a:close/>
                <a:moveTo>
                  <a:pt x="1347854" y="464531"/>
                </a:moveTo>
                <a:cubicBezTo>
                  <a:pt x="1386798" y="464531"/>
                  <a:pt x="1418368" y="496101"/>
                  <a:pt x="1418368" y="535045"/>
                </a:cubicBezTo>
                <a:cubicBezTo>
                  <a:pt x="1418368" y="573988"/>
                  <a:pt x="1386798" y="605558"/>
                  <a:pt x="1347854" y="605558"/>
                </a:cubicBezTo>
                <a:cubicBezTo>
                  <a:pt x="1308911" y="605558"/>
                  <a:pt x="1277341" y="573988"/>
                  <a:pt x="1277341" y="535045"/>
                </a:cubicBezTo>
                <a:cubicBezTo>
                  <a:pt x="1277341" y="496101"/>
                  <a:pt x="1308911" y="464531"/>
                  <a:pt x="1347854" y="464531"/>
                </a:cubicBezTo>
                <a:close/>
                <a:moveTo>
                  <a:pt x="1092481" y="464531"/>
                </a:moveTo>
                <a:cubicBezTo>
                  <a:pt x="1131425" y="464531"/>
                  <a:pt x="1162995" y="496101"/>
                  <a:pt x="1162995" y="535045"/>
                </a:cubicBezTo>
                <a:cubicBezTo>
                  <a:pt x="1162995" y="573988"/>
                  <a:pt x="1131425" y="605558"/>
                  <a:pt x="1092481" y="605558"/>
                </a:cubicBezTo>
                <a:cubicBezTo>
                  <a:pt x="1053538" y="605558"/>
                  <a:pt x="1021968" y="573988"/>
                  <a:pt x="1021968" y="535045"/>
                </a:cubicBezTo>
                <a:cubicBezTo>
                  <a:pt x="1021968" y="496101"/>
                  <a:pt x="1053538" y="464531"/>
                  <a:pt x="1092481" y="464531"/>
                </a:cubicBezTo>
                <a:close/>
                <a:moveTo>
                  <a:pt x="837108" y="464531"/>
                </a:moveTo>
                <a:cubicBezTo>
                  <a:pt x="876052" y="464531"/>
                  <a:pt x="907622" y="496101"/>
                  <a:pt x="907622" y="535045"/>
                </a:cubicBezTo>
                <a:cubicBezTo>
                  <a:pt x="907622" y="573988"/>
                  <a:pt x="876052" y="605558"/>
                  <a:pt x="837108" y="605558"/>
                </a:cubicBezTo>
                <a:cubicBezTo>
                  <a:pt x="798165" y="605558"/>
                  <a:pt x="766595" y="573988"/>
                  <a:pt x="766595" y="535045"/>
                </a:cubicBezTo>
                <a:cubicBezTo>
                  <a:pt x="766595" y="496101"/>
                  <a:pt x="798165" y="464531"/>
                  <a:pt x="837108" y="464531"/>
                </a:cubicBezTo>
                <a:close/>
                <a:moveTo>
                  <a:pt x="581259" y="464531"/>
                </a:moveTo>
                <a:cubicBezTo>
                  <a:pt x="620203" y="464531"/>
                  <a:pt x="651773" y="496101"/>
                  <a:pt x="651773" y="535045"/>
                </a:cubicBezTo>
                <a:cubicBezTo>
                  <a:pt x="651773" y="573988"/>
                  <a:pt x="620203" y="605558"/>
                  <a:pt x="581259" y="605558"/>
                </a:cubicBezTo>
                <a:cubicBezTo>
                  <a:pt x="542316" y="605558"/>
                  <a:pt x="510746" y="573988"/>
                  <a:pt x="510746" y="535045"/>
                </a:cubicBezTo>
                <a:cubicBezTo>
                  <a:pt x="510746" y="496101"/>
                  <a:pt x="542316" y="464531"/>
                  <a:pt x="581259" y="464531"/>
                </a:cubicBezTo>
                <a:close/>
                <a:moveTo>
                  <a:pt x="325886" y="464531"/>
                </a:moveTo>
                <a:cubicBezTo>
                  <a:pt x="364830" y="464531"/>
                  <a:pt x="396400" y="496101"/>
                  <a:pt x="396400" y="535045"/>
                </a:cubicBezTo>
                <a:cubicBezTo>
                  <a:pt x="396400" y="573988"/>
                  <a:pt x="364830" y="605558"/>
                  <a:pt x="325886" y="605558"/>
                </a:cubicBezTo>
                <a:cubicBezTo>
                  <a:pt x="286943" y="605558"/>
                  <a:pt x="255373" y="573988"/>
                  <a:pt x="255373" y="535045"/>
                </a:cubicBezTo>
                <a:cubicBezTo>
                  <a:pt x="255373" y="496101"/>
                  <a:pt x="286943" y="464531"/>
                  <a:pt x="325886" y="464531"/>
                </a:cubicBezTo>
                <a:close/>
                <a:moveTo>
                  <a:pt x="70513" y="464531"/>
                </a:moveTo>
                <a:cubicBezTo>
                  <a:pt x="109457" y="464531"/>
                  <a:pt x="141027" y="496101"/>
                  <a:pt x="141027" y="535045"/>
                </a:cubicBezTo>
                <a:cubicBezTo>
                  <a:pt x="141027" y="573988"/>
                  <a:pt x="109457" y="605558"/>
                  <a:pt x="70513" y="605558"/>
                </a:cubicBezTo>
                <a:cubicBezTo>
                  <a:pt x="31570" y="605558"/>
                  <a:pt x="0" y="573988"/>
                  <a:pt x="0" y="535045"/>
                </a:cubicBezTo>
                <a:cubicBezTo>
                  <a:pt x="0" y="496101"/>
                  <a:pt x="31570" y="464531"/>
                  <a:pt x="70513" y="464531"/>
                </a:cubicBezTo>
                <a:close/>
                <a:moveTo>
                  <a:pt x="3668605" y="235839"/>
                </a:moveTo>
                <a:cubicBezTo>
                  <a:pt x="3707548" y="235839"/>
                  <a:pt x="3739118" y="267409"/>
                  <a:pt x="3739118" y="306353"/>
                </a:cubicBezTo>
                <a:cubicBezTo>
                  <a:pt x="3739118" y="345296"/>
                  <a:pt x="3707548" y="376866"/>
                  <a:pt x="3668605" y="376866"/>
                </a:cubicBezTo>
                <a:cubicBezTo>
                  <a:pt x="3629661" y="376866"/>
                  <a:pt x="3598090" y="345296"/>
                  <a:pt x="3598090" y="306353"/>
                </a:cubicBezTo>
                <a:cubicBezTo>
                  <a:pt x="3598090" y="267409"/>
                  <a:pt x="3629661" y="235839"/>
                  <a:pt x="3668605" y="235839"/>
                </a:cubicBezTo>
                <a:close/>
                <a:moveTo>
                  <a:pt x="2120167" y="235839"/>
                </a:moveTo>
                <a:cubicBezTo>
                  <a:pt x="2159111" y="235839"/>
                  <a:pt x="2190681" y="267409"/>
                  <a:pt x="2190681" y="306353"/>
                </a:cubicBezTo>
                <a:cubicBezTo>
                  <a:pt x="2190681" y="345296"/>
                  <a:pt x="2159111" y="376866"/>
                  <a:pt x="2120167" y="376866"/>
                </a:cubicBezTo>
                <a:cubicBezTo>
                  <a:pt x="2081224" y="376866"/>
                  <a:pt x="2049653" y="345296"/>
                  <a:pt x="2049653" y="306353"/>
                </a:cubicBezTo>
                <a:cubicBezTo>
                  <a:pt x="2049653" y="267409"/>
                  <a:pt x="2081224" y="235839"/>
                  <a:pt x="2120167" y="235839"/>
                </a:cubicBezTo>
                <a:close/>
                <a:moveTo>
                  <a:pt x="1863365" y="235839"/>
                </a:moveTo>
                <a:cubicBezTo>
                  <a:pt x="1902309" y="235839"/>
                  <a:pt x="1933879" y="267409"/>
                  <a:pt x="1933879" y="306353"/>
                </a:cubicBezTo>
                <a:cubicBezTo>
                  <a:pt x="1933879" y="345296"/>
                  <a:pt x="1902309" y="376866"/>
                  <a:pt x="1863365" y="376866"/>
                </a:cubicBezTo>
                <a:cubicBezTo>
                  <a:pt x="1824422" y="376866"/>
                  <a:pt x="1792852" y="345296"/>
                  <a:pt x="1792852" y="306353"/>
                </a:cubicBezTo>
                <a:cubicBezTo>
                  <a:pt x="1792852" y="267409"/>
                  <a:pt x="1824422" y="235839"/>
                  <a:pt x="1863365" y="235839"/>
                </a:cubicBezTo>
                <a:close/>
                <a:moveTo>
                  <a:pt x="1603704" y="228692"/>
                </a:moveTo>
                <a:cubicBezTo>
                  <a:pt x="1642648" y="228692"/>
                  <a:pt x="1674218" y="260262"/>
                  <a:pt x="1674218" y="299206"/>
                </a:cubicBezTo>
                <a:cubicBezTo>
                  <a:pt x="1674218" y="338149"/>
                  <a:pt x="1642648" y="369719"/>
                  <a:pt x="1603704" y="369719"/>
                </a:cubicBezTo>
                <a:cubicBezTo>
                  <a:pt x="1564761" y="369719"/>
                  <a:pt x="1533191" y="338149"/>
                  <a:pt x="1533191" y="299206"/>
                </a:cubicBezTo>
                <a:cubicBezTo>
                  <a:pt x="1533191" y="260262"/>
                  <a:pt x="1564761" y="228692"/>
                  <a:pt x="1603704" y="228692"/>
                </a:cubicBezTo>
                <a:close/>
                <a:moveTo>
                  <a:pt x="1347854" y="228692"/>
                </a:moveTo>
                <a:cubicBezTo>
                  <a:pt x="1386798" y="228692"/>
                  <a:pt x="1418368" y="260262"/>
                  <a:pt x="1418368" y="299206"/>
                </a:cubicBezTo>
                <a:cubicBezTo>
                  <a:pt x="1418368" y="338149"/>
                  <a:pt x="1386798" y="369719"/>
                  <a:pt x="1347854" y="369719"/>
                </a:cubicBezTo>
                <a:cubicBezTo>
                  <a:pt x="1308911" y="369719"/>
                  <a:pt x="1277341" y="338149"/>
                  <a:pt x="1277341" y="299206"/>
                </a:cubicBezTo>
                <a:cubicBezTo>
                  <a:pt x="1277341" y="260262"/>
                  <a:pt x="1308911" y="228692"/>
                  <a:pt x="1347854" y="228692"/>
                </a:cubicBezTo>
                <a:close/>
                <a:moveTo>
                  <a:pt x="1092481" y="228692"/>
                </a:moveTo>
                <a:cubicBezTo>
                  <a:pt x="1131425" y="228692"/>
                  <a:pt x="1162995" y="260262"/>
                  <a:pt x="1162995" y="299206"/>
                </a:cubicBezTo>
                <a:cubicBezTo>
                  <a:pt x="1162995" y="338149"/>
                  <a:pt x="1131425" y="369719"/>
                  <a:pt x="1092481" y="369719"/>
                </a:cubicBezTo>
                <a:cubicBezTo>
                  <a:pt x="1053538" y="369719"/>
                  <a:pt x="1021968" y="338149"/>
                  <a:pt x="1021968" y="299206"/>
                </a:cubicBezTo>
                <a:cubicBezTo>
                  <a:pt x="1021968" y="260262"/>
                  <a:pt x="1053538" y="228692"/>
                  <a:pt x="1092481" y="228692"/>
                </a:cubicBezTo>
                <a:close/>
                <a:moveTo>
                  <a:pt x="837108" y="228692"/>
                </a:moveTo>
                <a:cubicBezTo>
                  <a:pt x="876052" y="228692"/>
                  <a:pt x="907622" y="260262"/>
                  <a:pt x="907622" y="299206"/>
                </a:cubicBezTo>
                <a:cubicBezTo>
                  <a:pt x="907622" y="338149"/>
                  <a:pt x="876052" y="369719"/>
                  <a:pt x="837108" y="369719"/>
                </a:cubicBezTo>
                <a:cubicBezTo>
                  <a:pt x="798165" y="369719"/>
                  <a:pt x="766595" y="338149"/>
                  <a:pt x="766595" y="299206"/>
                </a:cubicBezTo>
                <a:cubicBezTo>
                  <a:pt x="766595" y="260262"/>
                  <a:pt x="798165" y="228692"/>
                  <a:pt x="837108" y="228692"/>
                </a:cubicBezTo>
                <a:close/>
                <a:moveTo>
                  <a:pt x="581259" y="228692"/>
                </a:moveTo>
                <a:cubicBezTo>
                  <a:pt x="620203" y="228692"/>
                  <a:pt x="651773" y="260262"/>
                  <a:pt x="651773" y="299206"/>
                </a:cubicBezTo>
                <a:cubicBezTo>
                  <a:pt x="651773" y="338149"/>
                  <a:pt x="620203" y="369719"/>
                  <a:pt x="581259" y="369719"/>
                </a:cubicBezTo>
                <a:cubicBezTo>
                  <a:pt x="542316" y="369719"/>
                  <a:pt x="510746" y="338149"/>
                  <a:pt x="510746" y="299206"/>
                </a:cubicBezTo>
                <a:cubicBezTo>
                  <a:pt x="510746" y="260262"/>
                  <a:pt x="542316" y="228692"/>
                  <a:pt x="581259" y="228692"/>
                </a:cubicBezTo>
                <a:close/>
                <a:moveTo>
                  <a:pt x="325886" y="228692"/>
                </a:moveTo>
                <a:cubicBezTo>
                  <a:pt x="364830" y="228692"/>
                  <a:pt x="396400" y="260262"/>
                  <a:pt x="396400" y="299206"/>
                </a:cubicBezTo>
                <a:cubicBezTo>
                  <a:pt x="396400" y="338149"/>
                  <a:pt x="364830" y="369719"/>
                  <a:pt x="325886" y="369719"/>
                </a:cubicBezTo>
                <a:cubicBezTo>
                  <a:pt x="286943" y="369719"/>
                  <a:pt x="255373" y="338149"/>
                  <a:pt x="255373" y="299206"/>
                </a:cubicBezTo>
                <a:cubicBezTo>
                  <a:pt x="255373" y="260262"/>
                  <a:pt x="286943" y="228692"/>
                  <a:pt x="325886" y="228692"/>
                </a:cubicBezTo>
                <a:close/>
                <a:moveTo>
                  <a:pt x="70513" y="228692"/>
                </a:moveTo>
                <a:cubicBezTo>
                  <a:pt x="109457" y="228692"/>
                  <a:pt x="141027" y="260262"/>
                  <a:pt x="141027" y="299206"/>
                </a:cubicBezTo>
                <a:cubicBezTo>
                  <a:pt x="141027" y="338149"/>
                  <a:pt x="109457" y="369719"/>
                  <a:pt x="70513" y="369719"/>
                </a:cubicBezTo>
                <a:cubicBezTo>
                  <a:pt x="31570" y="369719"/>
                  <a:pt x="0" y="338149"/>
                  <a:pt x="0" y="299206"/>
                </a:cubicBezTo>
                <a:cubicBezTo>
                  <a:pt x="0" y="260262"/>
                  <a:pt x="31570" y="228692"/>
                  <a:pt x="70513" y="228692"/>
                </a:cubicBezTo>
                <a:close/>
                <a:moveTo>
                  <a:pt x="2635678" y="0"/>
                </a:moveTo>
                <a:cubicBezTo>
                  <a:pt x="2674622" y="0"/>
                  <a:pt x="2706192" y="31570"/>
                  <a:pt x="2706192" y="70514"/>
                </a:cubicBezTo>
                <a:cubicBezTo>
                  <a:pt x="2706192" y="109457"/>
                  <a:pt x="2674622" y="141027"/>
                  <a:pt x="2635678" y="141027"/>
                </a:cubicBezTo>
                <a:cubicBezTo>
                  <a:pt x="2596735" y="141027"/>
                  <a:pt x="2565164" y="109457"/>
                  <a:pt x="2565164" y="70514"/>
                </a:cubicBezTo>
                <a:cubicBezTo>
                  <a:pt x="2565164" y="31570"/>
                  <a:pt x="2596735" y="0"/>
                  <a:pt x="2635678" y="0"/>
                </a:cubicBezTo>
                <a:close/>
                <a:moveTo>
                  <a:pt x="2381257" y="0"/>
                </a:moveTo>
                <a:cubicBezTo>
                  <a:pt x="2420201" y="0"/>
                  <a:pt x="2451771" y="31570"/>
                  <a:pt x="2451771" y="70514"/>
                </a:cubicBezTo>
                <a:cubicBezTo>
                  <a:pt x="2451771" y="109457"/>
                  <a:pt x="2420201" y="141027"/>
                  <a:pt x="2381257" y="141027"/>
                </a:cubicBezTo>
                <a:cubicBezTo>
                  <a:pt x="2342314" y="141027"/>
                  <a:pt x="2310744" y="109457"/>
                  <a:pt x="2310744" y="70514"/>
                </a:cubicBezTo>
                <a:cubicBezTo>
                  <a:pt x="2310744" y="31570"/>
                  <a:pt x="2342314" y="0"/>
                  <a:pt x="2381257" y="0"/>
                </a:cubicBezTo>
                <a:close/>
                <a:moveTo>
                  <a:pt x="1603704" y="0"/>
                </a:moveTo>
                <a:cubicBezTo>
                  <a:pt x="1642648" y="0"/>
                  <a:pt x="1674218" y="31570"/>
                  <a:pt x="1674218" y="70514"/>
                </a:cubicBezTo>
                <a:cubicBezTo>
                  <a:pt x="1674218" y="109457"/>
                  <a:pt x="1642648" y="141027"/>
                  <a:pt x="1603704" y="141027"/>
                </a:cubicBezTo>
                <a:cubicBezTo>
                  <a:pt x="1564761" y="141027"/>
                  <a:pt x="1533191" y="109457"/>
                  <a:pt x="1533191" y="70514"/>
                </a:cubicBezTo>
                <a:cubicBezTo>
                  <a:pt x="1533191" y="31570"/>
                  <a:pt x="1564761" y="0"/>
                  <a:pt x="1603704" y="0"/>
                </a:cubicBezTo>
                <a:close/>
                <a:moveTo>
                  <a:pt x="1347854" y="0"/>
                </a:moveTo>
                <a:cubicBezTo>
                  <a:pt x="1386798" y="0"/>
                  <a:pt x="1418368" y="31570"/>
                  <a:pt x="1418368" y="70514"/>
                </a:cubicBezTo>
                <a:cubicBezTo>
                  <a:pt x="1418368" y="109457"/>
                  <a:pt x="1386798" y="141027"/>
                  <a:pt x="1347854" y="141027"/>
                </a:cubicBezTo>
                <a:cubicBezTo>
                  <a:pt x="1308911" y="141027"/>
                  <a:pt x="1277341" y="109457"/>
                  <a:pt x="1277341" y="70514"/>
                </a:cubicBezTo>
                <a:cubicBezTo>
                  <a:pt x="1277341" y="31570"/>
                  <a:pt x="1308911" y="0"/>
                  <a:pt x="1347854" y="0"/>
                </a:cubicBezTo>
                <a:close/>
                <a:moveTo>
                  <a:pt x="1092481" y="0"/>
                </a:moveTo>
                <a:cubicBezTo>
                  <a:pt x="1131425" y="0"/>
                  <a:pt x="1162995" y="31570"/>
                  <a:pt x="1162995" y="70514"/>
                </a:cubicBezTo>
                <a:cubicBezTo>
                  <a:pt x="1162995" y="109457"/>
                  <a:pt x="1131425" y="141027"/>
                  <a:pt x="1092481" y="141027"/>
                </a:cubicBezTo>
                <a:cubicBezTo>
                  <a:pt x="1053538" y="141027"/>
                  <a:pt x="1021968" y="109457"/>
                  <a:pt x="1021968" y="70514"/>
                </a:cubicBezTo>
                <a:cubicBezTo>
                  <a:pt x="1021968" y="31570"/>
                  <a:pt x="1053538" y="0"/>
                  <a:pt x="1092481" y="0"/>
                </a:cubicBezTo>
                <a:close/>
                <a:moveTo>
                  <a:pt x="837108" y="0"/>
                </a:moveTo>
                <a:cubicBezTo>
                  <a:pt x="876052" y="0"/>
                  <a:pt x="907622" y="31570"/>
                  <a:pt x="907622" y="70514"/>
                </a:cubicBezTo>
                <a:cubicBezTo>
                  <a:pt x="907622" y="109457"/>
                  <a:pt x="876052" y="141027"/>
                  <a:pt x="837108" y="141027"/>
                </a:cubicBezTo>
                <a:cubicBezTo>
                  <a:pt x="798165" y="141027"/>
                  <a:pt x="766595" y="109457"/>
                  <a:pt x="766595" y="70514"/>
                </a:cubicBezTo>
                <a:cubicBezTo>
                  <a:pt x="766595" y="31570"/>
                  <a:pt x="798165" y="0"/>
                  <a:pt x="837108" y="0"/>
                </a:cubicBezTo>
                <a:close/>
                <a:moveTo>
                  <a:pt x="581259" y="0"/>
                </a:moveTo>
                <a:cubicBezTo>
                  <a:pt x="620203" y="0"/>
                  <a:pt x="651773" y="31570"/>
                  <a:pt x="651773" y="70514"/>
                </a:cubicBezTo>
                <a:cubicBezTo>
                  <a:pt x="651773" y="109457"/>
                  <a:pt x="620203" y="141027"/>
                  <a:pt x="581259" y="141027"/>
                </a:cubicBezTo>
                <a:cubicBezTo>
                  <a:pt x="542316" y="141027"/>
                  <a:pt x="510746" y="109457"/>
                  <a:pt x="510746" y="70514"/>
                </a:cubicBezTo>
                <a:cubicBezTo>
                  <a:pt x="510746" y="31570"/>
                  <a:pt x="542316" y="0"/>
                  <a:pt x="581259" y="0"/>
                </a:cubicBezTo>
                <a:close/>
                <a:moveTo>
                  <a:pt x="325886" y="0"/>
                </a:moveTo>
                <a:cubicBezTo>
                  <a:pt x="364830" y="0"/>
                  <a:pt x="396400" y="31570"/>
                  <a:pt x="396400" y="70514"/>
                </a:cubicBezTo>
                <a:cubicBezTo>
                  <a:pt x="396400" y="109457"/>
                  <a:pt x="364830" y="141027"/>
                  <a:pt x="325886" y="141027"/>
                </a:cubicBezTo>
                <a:cubicBezTo>
                  <a:pt x="286943" y="141027"/>
                  <a:pt x="255373" y="109457"/>
                  <a:pt x="255373" y="70514"/>
                </a:cubicBezTo>
                <a:cubicBezTo>
                  <a:pt x="255373" y="31570"/>
                  <a:pt x="286943" y="0"/>
                  <a:pt x="325886" y="0"/>
                </a:cubicBezTo>
                <a:close/>
                <a:moveTo>
                  <a:pt x="70513" y="0"/>
                </a:moveTo>
                <a:cubicBezTo>
                  <a:pt x="109457" y="0"/>
                  <a:pt x="141027" y="31570"/>
                  <a:pt x="141027" y="70514"/>
                </a:cubicBezTo>
                <a:cubicBezTo>
                  <a:pt x="141027" y="109457"/>
                  <a:pt x="109457" y="141027"/>
                  <a:pt x="70513" y="141027"/>
                </a:cubicBezTo>
                <a:cubicBezTo>
                  <a:pt x="31570" y="141027"/>
                  <a:pt x="0" y="109457"/>
                  <a:pt x="0" y="70514"/>
                </a:cubicBezTo>
                <a:cubicBezTo>
                  <a:pt x="0" y="31570"/>
                  <a:pt x="31570" y="0"/>
                  <a:pt x="70513" y="0"/>
                </a:cubicBezTo>
                <a:close/>
              </a:path>
            </a:pathLst>
          </a:custGeom>
          <a:solidFill>
            <a:schemeClr val="accent1">
              <a:lumMod val="75000"/>
              <a:alpha val="56000"/>
            </a:schemeClr>
          </a:solidFill>
          <a:ln w="61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29" name="Isosceles Triangle 22">
            <a:extLst>
              <a:ext uri="{FF2B5EF4-FFF2-40B4-BE49-F238E27FC236}">
                <a16:creationId xmlns:a16="http://schemas.microsoft.com/office/drawing/2014/main" id="{544A0F1E-E863-4949-87E4-1C9779D0818A}"/>
              </a:ext>
            </a:extLst>
          </p:cNvPr>
          <p:cNvSpPr/>
          <p:nvPr/>
        </p:nvSpPr>
        <p:spPr>
          <a:xfrm rot="10800000" flipV="1">
            <a:off x="7198659" y="1323333"/>
            <a:ext cx="125548" cy="115518"/>
          </a:xfrm>
          <a:custGeom>
            <a:avLst/>
            <a:gdLst>
              <a:gd name="connsiteX0" fmla="*/ 0 w 857250"/>
              <a:gd name="connsiteY0" fmla="*/ 739009 h 739009"/>
              <a:gd name="connsiteX1" fmla="*/ 428625 w 857250"/>
              <a:gd name="connsiteY1" fmla="*/ 0 h 739009"/>
              <a:gd name="connsiteX2" fmla="*/ 857250 w 857250"/>
              <a:gd name="connsiteY2" fmla="*/ 739009 h 739009"/>
              <a:gd name="connsiteX3" fmla="*/ 0 w 857250"/>
              <a:gd name="connsiteY3" fmla="*/ 739009 h 739009"/>
              <a:gd name="connsiteX0" fmla="*/ 0 w 857250"/>
              <a:gd name="connsiteY0" fmla="*/ 739009 h 739009"/>
              <a:gd name="connsiteX1" fmla="*/ 428625 w 857250"/>
              <a:gd name="connsiteY1" fmla="*/ 0 h 739009"/>
              <a:gd name="connsiteX2" fmla="*/ 490538 w 857250"/>
              <a:gd name="connsiteY2" fmla="*/ 104775 h 739009"/>
              <a:gd name="connsiteX3" fmla="*/ 857250 w 857250"/>
              <a:gd name="connsiteY3" fmla="*/ 739009 h 739009"/>
              <a:gd name="connsiteX4" fmla="*/ 0 w 857250"/>
              <a:gd name="connsiteY4" fmla="*/ 739009 h 739009"/>
              <a:gd name="connsiteX0" fmla="*/ 0 w 857250"/>
              <a:gd name="connsiteY0" fmla="*/ 739009 h 739009"/>
              <a:gd name="connsiteX1" fmla="*/ 369094 w 857250"/>
              <a:gd name="connsiteY1" fmla="*/ 104775 h 739009"/>
              <a:gd name="connsiteX2" fmla="*/ 428625 w 857250"/>
              <a:gd name="connsiteY2" fmla="*/ 0 h 739009"/>
              <a:gd name="connsiteX3" fmla="*/ 490538 w 857250"/>
              <a:gd name="connsiteY3" fmla="*/ 104775 h 739009"/>
              <a:gd name="connsiteX4" fmla="*/ 857250 w 857250"/>
              <a:gd name="connsiteY4" fmla="*/ 739009 h 739009"/>
              <a:gd name="connsiteX5" fmla="*/ 0 w 857250"/>
              <a:gd name="connsiteY5" fmla="*/ 739009 h 739009"/>
              <a:gd name="connsiteX0" fmla="*/ 0 w 857250"/>
              <a:gd name="connsiteY0" fmla="*/ 739009 h 739009"/>
              <a:gd name="connsiteX1" fmla="*/ 61913 w 857250"/>
              <a:gd name="connsiteY1" fmla="*/ 633412 h 739009"/>
              <a:gd name="connsiteX2" fmla="*/ 369094 w 857250"/>
              <a:gd name="connsiteY2" fmla="*/ 104775 h 739009"/>
              <a:gd name="connsiteX3" fmla="*/ 428625 w 857250"/>
              <a:gd name="connsiteY3" fmla="*/ 0 h 739009"/>
              <a:gd name="connsiteX4" fmla="*/ 490538 w 857250"/>
              <a:gd name="connsiteY4" fmla="*/ 104775 h 739009"/>
              <a:gd name="connsiteX5" fmla="*/ 857250 w 857250"/>
              <a:gd name="connsiteY5" fmla="*/ 739009 h 739009"/>
              <a:gd name="connsiteX6" fmla="*/ 0 w 857250"/>
              <a:gd name="connsiteY6" fmla="*/ 739009 h 739009"/>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857250 w 857250"/>
              <a:gd name="connsiteY5" fmla="*/ 739009 h 740568"/>
              <a:gd name="connsiteX6" fmla="*/ 114300 w 857250"/>
              <a:gd name="connsiteY6" fmla="*/ 740568 h 740568"/>
              <a:gd name="connsiteX7" fmla="*/ 0 w 857250"/>
              <a:gd name="connsiteY7"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114300 w 857250"/>
              <a:gd name="connsiteY7" fmla="*/ 740568 h 740568"/>
              <a:gd name="connsiteX8" fmla="*/ 0 w 857250"/>
              <a:gd name="connsiteY8"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750094 w 857250"/>
              <a:gd name="connsiteY7" fmla="*/ 738186 h 740568"/>
              <a:gd name="connsiteX8" fmla="*/ 114300 w 857250"/>
              <a:gd name="connsiteY8" fmla="*/ 740568 h 740568"/>
              <a:gd name="connsiteX9" fmla="*/ 0 w 857250"/>
              <a:gd name="connsiteY9" fmla="*/ 739009 h 740568"/>
              <a:gd name="connsiteX0" fmla="*/ 0 w 797719"/>
              <a:gd name="connsiteY0" fmla="*/ 739009 h 740568"/>
              <a:gd name="connsiteX1" fmla="*/ 61913 w 797719"/>
              <a:gd name="connsiteY1" fmla="*/ 633412 h 740568"/>
              <a:gd name="connsiteX2" fmla="*/ 369094 w 797719"/>
              <a:gd name="connsiteY2" fmla="*/ 104775 h 740568"/>
              <a:gd name="connsiteX3" fmla="*/ 428625 w 797719"/>
              <a:gd name="connsiteY3" fmla="*/ 0 h 740568"/>
              <a:gd name="connsiteX4" fmla="*/ 490538 w 797719"/>
              <a:gd name="connsiteY4" fmla="*/ 104775 h 740568"/>
              <a:gd name="connsiteX5" fmla="*/ 797719 w 797719"/>
              <a:gd name="connsiteY5" fmla="*/ 638174 h 740568"/>
              <a:gd name="connsiteX6" fmla="*/ 750094 w 797719"/>
              <a:gd name="connsiteY6" fmla="*/ 738186 h 740568"/>
              <a:gd name="connsiteX7" fmla="*/ 114300 w 797719"/>
              <a:gd name="connsiteY7" fmla="*/ 740568 h 740568"/>
              <a:gd name="connsiteX8" fmla="*/ 0 w 797719"/>
              <a:gd name="connsiteY8" fmla="*/ 739009 h 740568"/>
              <a:gd name="connsiteX0" fmla="*/ 0 w 812104"/>
              <a:gd name="connsiteY0" fmla="*/ 739009 h 740568"/>
              <a:gd name="connsiteX1" fmla="*/ 61913 w 812104"/>
              <a:gd name="connsiteY1" fmla="*/ 633412 h 740568"/>
              <a:gd name="connsiteX2" fmla="*/ 369094 w 812104"/>
              <a:gd name="connsiteY2" fmla="*/ 104775 h 740568"/>
              <a:gd name="connsiteX3" fmla="*/ 428625 w 812104"/>
              <a:gd name="connsiteY3" fmla="*/ 0 h 740568"/>
              <a:gd name="connsiteX4" fmla="*/ 490538 w 812104"/>
              <a:gd name="connsiteY4" fmla="*/ 104775 h 740568"/>
              <a:gd name="connsiteX5" fmla="*/ 797719 w 812104"/>
              <a:gd name="connsiteY5" fmla="*/ 638174 h 740568"/>
              <a:gd name="connsiteX6" fmla="*/ 750094 w 812104"/>
              <a:gd name="connsiteY6" fmla="*/ 738186 h 740568"/>
              <a:gd name="connsiteX7" fmla="*/ 114300 w 812104"/>
              <a:gd name="connsiteY7" fmla="*/ 740568 h 740568"/>
              <a:gd name="connsiteX8" fmla="*/ 0 w 812104"/>
              <a:gd name="connsiteY8" fmla="*/ 739009 h 740568"/>
              <a:gd name="connsiteX0" fmla="*/ 0 w 818915"/>
              <a:gd name="connsiteY0" fmla="*/ 739009 h 740568"/>
              <a:gd name="connsiteX1" fmla="*/ 61913 w 818915"/>
              <a:gd name="connsiteY1" fmla="*/ 633412 h 740568"/>
              <a:gd name="connsiteX2" fmla="*/ 369094 w 818915"/>
              <a:gd name="connsiteY2" fmla="*/ 104775 h 740568"/>
              <a:gd name="connsiteX3" fmla="*/ 428625 w 818915"/>
              <a:gd name="connsiteY3" fmla="*/ 0 h 740568"/>
              <a:gd name="connsiteX4" fmla="*/ 490538 w 818915"/>
              <a:gd name="connsiteY4" fmla="*/ 104775 h 740568"/>
              <a:gd name="connsiteX5" fmla="*/ 797719 w 818915"/>
              <a:gd name="connsiteY5" fmla="*/ 638174 h 740568"/>
              <a:gd name="connsiteX6" fmla="*/ 750094 w 818915"/>
              <a:gd name="connsiteY6" fmla="*/ 738186 h 740568"/>
              <a:gd name="connsiteX7" fmla="*/ 114300 w 818915"/>
              <a:gd name="connsiteY7" fmla="*/ 740568 h 740568"/>
              <a:gd name="connsiteX8" fmla="*/ 0 w 818915"/>
              <a:gd name="connsiteY8" fmla="*/ 739009 h 740568"/>
              <a:gd name="connsiteX0" fmla="*/ 52387 w 757002"/>
              <a:gd name="connsiteY0" fmla="*/ 740568 h 740568"/>
              <a:gd name="connsiteX1" fmla="*/ 0 w 757002"/>
              <a:gd name="connsiteY1" fmla="*/ 633412 h 740568"/>
              <a:gd name="connsiteX2" fmla="*/ 307181 w 757002"/>
              <a:gd name="connsiteY2" fmla="*/ 104775 h 740568"/>
              <a:gd name="connsiteX3" fmla="*/ 366712 w 757002"/>
              <a:gd name="connsiteY3" fmla="*/ 0 h 740568"/>
              <a:gd name="connsiteX4" fmla="*/ 428625 w 757002"/>
              <a:gd name="connsiteY4" fmla="*/ 104775 h 740568"/>
              <a:gd name="connsiteX5" fmla="*/ 735806 w 757002"/>
              <a:gd name="connsiteY5" fmla="*/ 638174 h 740568"/>
              <a:gd name="connsiteX6" fmla="*/ 688181 w 757002"/>
              <a:gd name="connsiteY6" fmla="*/ 738186 h 740568"/>
              <a:gd name="connsiteX7" fmla="*/ 52387 w 757002"/>
              <a:gd name="connsiteY7" fmla="*/ 740568 h 740568"/>
              <a:gd name="connsiteX0" fmla="*/ 61912 w 766527"/>
              <a:gd name="connsiteY0" fmla="*/ 740568 h 740568"/>
              <a:gd name="connsiteX1" fmla="*/ 0 w 766527"/>
              <a:gd name="connsiteY1" fmla="*/ 645318 h 740568"/>
              <a:gd name="connsiteX2" fmla="*/ 316706 w 766527"/>
              <a:gd name="connsiteY2" fmla="*/ 104775 h 740568"/>
              <a:gd name="connsiteX3" fmla="*/ 376237 w 766527"/>
              <a:gd name="connsiteY3" fmla="*/ 0 h 740568"/>
              <a:gd name="connsiteX4" fmla="*/ 438150 w 766527"/>
              <a:gd name="connsiteY4" fmla="*/ 104775 h 740568"/>
              <a:gd name="connsiteX5" fmla="*/ 745331 w 766527"/>
              <a:gd name="connsiteY5" fmla="*/ 638174 h 740568"/>
              <a:gd name="connsiteX6" fmla="*/ 697706 w 766527"/>
              <a:gd name="connsiteY6" fmla="*/ 738186 h 740568"/>
              <a:gd name="connsiteX7" fmla="*/ 61912 w 766527"/>
              <a:gd name="connsiteY7" fmla="*/ 740568 h 740568"/>
              <a:gd name="connsiteX0" fmla="*/ 71526 w 776141"/>
              <a:gd name="connsiteY0" fmla="*/ 740568 h 740568"/>
              <a:gd name="connsiteX1" fmla="*/ 9614 w 776141"/>
              <a:gd name="connsiteY1" fmla="*/ 645318 h 740568"/>
              <a:gd name="connsiteX2" fmla="*/ 326320 w 776141"/>
              <a:gd name="connsiteY2" fmla="*/ 104775 h 740568"/>
              <a:gd name="connsiteX3" fmla="*/ 385851 w 776141"/>
              <a:gd name="connsiteY3" fmla="*/ 0 h 740568"/>
              <a:gd name="connsiteX4" fmla="*/ 447764 w 776141"/>
              <a:gd name="connsiteY4" fmla="*/ 104775 h 740568"/>
              <a:gd name="connsiteX5" fmla="*/ 754945 w 776141"/>
              <a:gd name="connsiteY5" fmla="*/ 638174 h 740568"/>
              <a:gd name="connsiteX6" fmla="*/ 707320 w 776141"/>
              <a:gd name="connsiteY6" fmla="*/ 738186 h 740568"/>
              <a:gd name="connsiteX7" fmla="*/ 71526 w 776141"/>
              <a:gd name="connsiteY7" fmla="*/ 740568 h 740568"/>
              <a:gd name="connsiteX0" fmla="*/ 78919 w 783534"/>
              <a:gd name="connsiteY0" fmla="*/ 740568 h 740614"/>
              <a:gd name="connsiteX1" fmla="*/ 17007 w 783534"/>
              <a:gd name="connsiteY1" fmla="*/ 645318 h 740614"/>
              <a:gd name="connsiteX2" fmla="*/ 333713 w 783534"/>
              <a:gd name="connsiteY2" fmla="*/ 104775 h 740614"/>
              <a:gd name="connsiteX3" fmla="*/ 393244 w 783534"/>
              <a:gd name="connsiteY3" fmla="*/ 0 h 740614"/>
              <a:gd name="connsiteX4" fmla="*/ 455157 w 783534"/>
              <a:gd name="connsiteY4" fmla="*/ 104775 h 740614"/>
              <a:gd name="connsiteX5" fmla="*/ 762338 w 783534"/>
              <a:gd name="connsiteY5" fmla="*/ 638174 h 740614"/>
              <a:gd name="connsiteX6" fmla="*/ 714713 w 783534"/>
              <a:gd name="connsiteY6" fmla="*/ 738186 h 740614"/>
              <a:gd name="connsiteX7" fmla="*/ 78919 w 783534"/>
              <a:gd name="connsiteY7" fmla="*/ 740568 h 740614"/>
              <a:gd name="connsiteX0" fmla="*/ 78919 w 783534"/>
              <a:gd name="connsiteY0" fmla="*/ 635793 h 635839"/>
              <a:gd name="connsiteX1" fmla="*/ 17007 w 783534"/>
              <a:gd name="connsiteY1" fmla="*/ 540543 h 635839"/>
              <a:gd name="connsiteX2" fmla="*/ 333713 w 783534"/>
              <a:gd name="connsiteY2" fmla="*/ 0 h 635839"/>
              <a:gd name="connsiteX3" fmla="*/ 455157 w 783534"/>
              <a:gd name="connsiteY3" fmla="*/ 0 h 635839"/>
              <a:gd name="connsiteX4" fmla="*/ 762338 w 783534"/>
              <a:gd name="connsiteY4" fmla="*/ 533399 h 635839"/>
              <a:gd name="connsiteX5" fmla="*/ 714713 w 783534"/>
              <a:gd name="connsiteY5" fmla="*/ 633411 h 635839"/>
              <a:gd name="connsiteX6" fmla="*/ 78919 w 783534"/>
              <a:gd name="connsiteY6" fmla="*/ 635793 h 635839"/>
              <a:gd name="connsiteX0" fmla="*/ 78919 w 783534"/>
              <a:gd name="connsiteY0" fmla="*/ 667542 h 667588"/>
              <a:gd name="connsiteX1" fmla="*/ 17007 w 783534"/>
              <a:gd name="connsiteY1" fmla="*/ 572292 h 667588"/>
              <a:gd name="connsiteX2" fmla="*/ 333713 w 783534"/>
              <a:gd name="connsiteY2" fmla="*/ 31749 h 667588"/>
              <a:gd name="connsiteX3" fmla="*/ 455157 w 783534"/>
              <a:gd name="connsiteY3" fmla="*/ 31749 h 667588"/>
              <a:gd name="connsiteX4" fmla="*/ 762338 w 783534"/>
              <a:gd name="connsiteY4" fmla="*/ 565148 h 667588"/>
              <a:gd name="connsiteX5" fmla="*/ 714713 w 783534"/>
              <a:gd name="connsiteY5" fmla="*/ 665160 h 667588"/>
              <a:gd name="connsiteX6" fmla="*/ 78919 w 783534"/>
              <a:gd name="connsiteY6" fmla="*/ 667542 h 667588"/>
              <a:gd name="connsiteX0" fmla="*/ 78919 w 783534"/>
              <a:gd name="connsiteY0" fmla="*/ 691171 h 691217"/>
              <a:gd name="connsiteX1" fmla="*/ 17007 w 783534"/>
              <a:gd name="connsiteY1" fmla="*/ 595921 h 691217"/>
              <a:gd name="connsiteX2" fmla="*/ 333713 w 783534"/>
              <a:gd name="connsiteY2" fmla="*/ 55378 h 691217"/>
              <a:gd name="connsiteX3" fmla="*/ 455157 w 783534"/>
              <a:gd name="connsiteY3" fmla="*/ 55378 h 691217"/>
              <a:gd name="connsiteX4" fmla="*/ 762338 w 783534"/>
              <a:gd name="connsiteY4" fmla="*/ 588777 h 691217"/>
              <a:gd name="connsiteX5" fmla="*/ 714713 w 783534"/>
              <a:gd name="connsiteY5" fmla="*/ 688789 h 691217"/>
              <a:gd name="connsiteX6" fmla="*/ 78919 w 783534"/>
              <a:gd name="connsiteY6" fmla="*/ 691171 h 691217"/>
              <a:gd name="connsiteX0" fmla="*/ 78919 w 783534"/>
              <a:gd name="connsiteY0" fmla="*/ 693838 h 693884"/>
              <a:gd name="connsiteX1" fmla="*/ 17007 w 783534"/>
              <a:gd name="connsiteY1" fmla="*/ 598588 h 693884"/>
              <a:gd name="connsiteX2" fmla="*/ 333713 w 783534"/>
              <a:gd name="connsiteY2" fmla="*/ 58045 h 693884"/>
              <a:gd name="connsiteX3" fmla="*/ 455157 w 783534"/>
              <a:gd name="connsiteY3" fmla="*/ 58045 h 693884"/>
              <a:gd name="connsiteX4" fmla="*/ 762338 w 783534"/>
              <a:gd name="connsiteY4" fmla="*/ 591444 h 693884"/>
              <a:gd name="connsiteX5" fmla="*/ 714713 w 783534"/>
              <a:gd name="connsiteY5" fmla="*/ 691456 h 693884"/>
              <a:gd name="connsiteX6" fmla="*/ 78919 w 783534"/>
              <a:gd name="connsiteY6" fmla="*/ 693838 h 69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534" h="693884">
                <a:moveTo>
                  <a:pt x="78919" y="693838"/>
                </a:moveTo>
                <a:cubicBezTo>
                  <a:pt x="3514" y="695425"/>
                  <a:pt x="-19506" y="656532"/>
                  <a:pt x="17007" y="598588"/>
                </a:cubicBezTo>
                <a:lnTo>
                  <a:pt x="333713" y="58045"/>
                </a:lnTo>
                <a:cubicBezTo>
                  <a:pt x="374195" y="-20535"/>
                  <a:pt x="417057" y="-18155"/>
                  <a:pt x="455157" y="58045"/>
                </a:cubicBezTo>
                <a:lnTo>
                  <a:pt x="762338" y="591444"/>
                </a:lnTo>
                <a:cubicBezTo>
                  <a:pt x="808375" y="648593"/>
                  <a:pt x="773450" y="691457"/>
                  <a:pt x="714713" y="691456"/>
                </a:cubicBezTo>
                <a:lnTo>
                  <a:pt x="78919" y="693838"/>
                </a:lnTo>
                <a:close/>
              </a:path>
            </a:pathLst>
          </a:custGeom>
          <a:solidFill>
            <a:schemeClr val="bg1"/>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sp>
        <p:nvSpPr>
          <p:cNvPr id="330" name="Freeform: Shape 329">
            <a:extLst>
              <a:ext uri="{FF2B5EF4-FFF2-40B4-BE49-F238E27FC236}">
                <a16:creationId xmlns:a16="http://schemas.microsoft.com/office/drawing/2014/main" id="{41312C1C-71B0-4A8B-B55B-7C122D91ACDF}"/>
              </a:ext>
            </a:extLst>
          </p:cNvPr>
          <p:cNvSpPr/>
          <p:nvPr/>
        </p:nvSpPr>
        <p:spPr>
          <a:xfrm>
            <a:off x="7700085" y="1559316"/>
            <a:ext cx="328918" cy="432929"/>
          </a:xfrm>
          <a:custGeom>
            <a:avLst/>
            <a:gdLst>
              <a:gd name="connsiteX0" fmla="*/ 6603 w 328918"/>
              <a:gd name="connsiteY0" fmla="*/ 432930 h 432929"/>
              <a:gd name="connsiteX1" fmla="*/ 1176 w 328918"/>
              <a:gd name="connsiteY1" fmla="*/ 430084 h 432929"/>
              <a:gd name="connsiteX2" fmla="*/ 2862 w 328918"/>
              <a:gd name="connsiteY2" fmla="*/ 420916 h 432929"/>
              <a:gd name="connsiteX3" fmla="*/ 310369 w 328918"/>
              <a:gd name="connsiteY3" fmla="*/ 210150 h 432929"/>
              <a:gd name="connsiteX4" fmla="*/ 3020 w 328918"/>
              <a:gd name="connsiteY4" fmla="*/ 12135 h 432929"/>
              <a:gd name="connsiteX5" fmla="*/ 1070 w 328918"/>
              <a:gd name="connsiteY5" fmla="*/ 3020 h 432929"/>
              <a:gd name="connsiteX6" fmla="*/ 10186 w 328918"/>
              <a:gd name="connsiteY6" fmla="*/ 1070 h 432929"/>
              <a:gd name="connsiteX7" fmla="*/ 325913 w 328918"/>
              <a:gd name="connsiteY7" fmla="*/ 204459 h 432929"/>
              <a:gd name="connsiteX8" fmla="*/ 328917 w 328918"/>
              <a:gd name="connsiteY8" fmla="*/ 209886 h 432929"/>
              <a:gd name="connsiteX9" fmla="*/ 326071 w 328918"/>
              <a:gd name="connsiteY9" fmla="*/ 215419 h 432929"/>
              <a:gd name="connsiteX10" fmla="*/ 10344 w 328918"/>
              <a:gd name="connsiteY10" fmla="*/ 431770 h 432929"/>
              <a:gd name="connsiteX11" fmla="*/ 6603 w 328918"/>
              <a:gd name="connsiteY11" fmla="*/ 432930 h 432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918" h="432929">
                <a:moveTo>
                  <a:pt x="6603" y="432930"/>
                </a:moveTo>
                <a:cubicBezTo>
                  <a:pt x="4495" y="432930"/>
                  <a:pt x="2440" y="431928"/>
                  <a:pt x="1176" y="430084"/>
                </a:cubicBezTo>
                <a:cubicBezTo>
                  <a:pt x="-879" y="427081"/>
                  <a:pt x="-142" y="422971"/>
                  <a:pt x="2862" y="420916"/>
                </a:cubicBezTo>
                <a:lnTo>
                  <a:pt x="310369" y="210150"/>
                </a:lnTo>
                <a:lnTo>
                  <a:pt x="3020" y="12135"/>
                </a:lnTo>
                <a:cubicBezTo>
                  <a:pt x="-37" y="10186"/>
                  <a:pt x="-932" y="6076"/>
                  <a:pt x="1070" y="3020"/>
                </a:cubicBezTo>
                <a:cubicBezTo>
                  <a:pt x="3073" y="-36"/>
                  <a:pt x="7130" y="-932"/>
                  <a:pt x="10186" y="1070"/>
                </a:cubicBezTo>
                <a:lnTo>
                  <a:pt x="325913" y="204459"/>
                </a:lnTo>
                <a:cubicBezTo>
                  <a:pt x="327758" y="205671"/>
                  <a:pt x="328917" y="207673"/>
                  <a:pt x="328917" y="209886"/>
                </a:cubicBezTo>
                <a:cubicBezTo>
                  <a:pt x="328969" y="212100"/>
                  <a:pt x="327863" y="214155"/>
                  <a:pt x="326071" y="215419"/>
                </a:cubicBezTo>
                <a:lnTo>
                  <a:pt x="10344" y="431770"/>
                </a:lnTo>
                <a:cubicBezTo>
                  <a:pt x="9184" y="432561"/>
                  <a:pt x="7920" y="432930"/>
                  <a:pt x="6603" y="432930"/>
                </a:cubicBezTo>
                <a:close/>
              </a:path>
            </a:pathLst>
          </a:custGeom>
          <a:solidFill>
            <a:srgbClr val="76C049"/>
          </a:solidFill>
          <a:ln w="52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40" name="Freeform: Shape 339">
            <a:extLst>
              <a:ext uri="{FF2B5EF4-FFF2-40B4-BE49-F238E27FC236}">
                <a16:creationId xmlns:a16="http://schemas.microsoft.com/office/drawing/2014/main" id="{6FDA8714-47A8-4A52-865D-2CDDEA15E268}"/>
              </a:ext>
            </a:extLst>
          </p:cNvPr>
          <p:cNvSpPr/>
          <p:nvPr/>
        </p:nvSpPr>
        <p:spPr>
          <a:xfrm rot="10800000" flipV="1">
            <a:off x="7589712" y="1160149"/>
            <a:ext cx="421921" cy="89738"/>
          </a:xfrm>
          <a:custGeom>
            <a:avLst/>
            <a:gdLst>
              <a:gd name="connsiteX0" fmla="*/ 567575 w 635116"/>
              <a:gd name="connsiteY0" fmla="*/ 135083 h 135083"/>
              <a:gd name="connsiteX1" fmla="*/ 67542 w 635116"/>
              <a:gd name="connsiteY1" fmla="*/ 135083 h 135083"/>
              <a:gd name="connsiteX2" fmla="*/ 0 w 635116"/>
              <a:gd name="connsiteY2" fmla="*/ 67542 h 135083"/>
              <a:gd name="connsiteX3" fmla="*/ 0 w 635116"/>
              <a:gd name="connsiteY3" fmla="*/ 67542 h 135083"/>
              <a:gd name="connsiteX4" fmla="*/ 67542 w 635116"/>
              <a:gd name="connsiteY4" fmla="*/ 0 h 135083"/>
              <a:gd name="connsiteX5" fmla="*/ 567575 w 635116"/>
              <a:gd name="connsiteY5" fmla="*/ 0 h 135083"/>
              <a:gd name="connsiteX6" fmla="*/ 635116 w 635116"/>
              <a:gd name="connsiteY6" fmla="*/ 67542 h 135083"/>
              <a:gd name="connsiteX7" fmla="*/ 635116 w 635116"/>
              <a:gd name="connsiteY7" fmla="*/ 67542 h 135083"/>
              <a:gd name="connsiteX8" fmla="*/ 567575 w 635116"/>
              <a:gd name="connsiteY8" fmla="*/ 135083 h 13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116" h="135083">
                <a:moveTo>
                  <a:pt x="567575" y="135083"/>
                </a:moveTo>
                <a:lnTo>
                  <a:pt x="67542" y="135083"/>
                </a:lnTo>
                <a:cubicBezTo>
                  <a:pt x="30225" y="135083"/>
                  <a:pt x="0" y="104858"/>
                  <a:pt x="0" y="67542"/>
                </a:cubicBezTo>
                <a:lnTo>
                  <a:pt x="0" y="67542"/>
                </a:lnTo>
                <a:cubicBezTo>
                  <a:pt x="0" y="30225"/>
                  <a:pt x="30225" y="0"/>
                  <a:pt x="67542" y="0"/>
                </a:cubicBezTo>
                <a:lnTo>
                  <a:pt x="567575" y="0"/>
                </a:lnTo>
                <a:cubicBezTo>
                  <a:pt x="604892" y="0"/>
                  <a:pt x="635116" y="30225"/>
                  <a:pt x="635116" y="67542"/>
                </a:cubicBezTo>
                <a:lnTo>
                  <a:pt x="635116" y="67542"/>
                </a:lnTo>
                <a:cubicBezTo>
                  <a:pt x="635183" y="104792"/>
                  <a:pt x="604892" y="135083"/>
                  <a:pt x="567575" y="135083"/>
                </a:cubicBezTo>
                <a:close/>
              </a:path>
            </a:pathLst>
          </a:custGeom>
          <a:solidFill>
            <a:schemeClr val="tx2">
              <a:alpha val="48000"/>
            </a:schemeClr>
          </a:solidFill>
          <a:ln w="66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148" name="Group 147">
            <a:extLst>
              <a:ext uri="{FF2B5EF4-FFF2-40B4-BE49-F238E27FC236}">
                <a16:creationId xmlns:a16="http://schemas.microsoft.com/office/drawing/2014/main" id="{85CC85A8-B47A-4DCC-8FE4-77A3D4BBCCBD}"/>
              </a:ext>
            </a:extLst>
          </p:cNvPr>
          <p:cNvGrpSpPr/>
          <p:nvPr/>
        </p:nvGrpSpPr>
        <p:grpSpPr>
          <a:xfrm>
            <a:off x="5563777" y="2183597"/>
            <a:ext cx="3098711" cy="449660"/>
            <a:chOff x="5189925" y="2183597"/>
            <a:chExt cx="3098711" cy="449660"/>
          </a:xfrm>
        </p:grpSpPr>
        <p:sp>
          <p:nvSpPr>
            <p:cNvPr id="149" name="Rectangle: Rounded Corners 148">
              <a:extLst>
                <a:ext uri="{FF2B5EF4-FFF2-40B4-BE49-F238E27FC236}">
                  <a16:creationId xmlns:a16="http://schemas.microsoft.com/office/drawing/2014/main" id="{40148014-B5C9-4D99-A65A-D3FADF8C0D2C}"/>
                </a:ext>
              </a:extLst>
            </p:cNvPr>
            <p:cNvSpPr/>
            <p:nvPr/>
          </p:nvSpPr>
          <p:spPr>
            <a:xfrm>
              <a:off x="5189925" y="2183597"/>
              <a:ext cx="3098711" cy="449660"/>
            </a:xfrm>
            <a:prstGeom prst="roundRect">
              <a:avLst>
                <a:gd name="adj" fmla="val 25140"/>
              </a:avLst>
            </a:prstGeom>
            <a:solidFill>
              <a:schemeClr val="tx2"/>
            </a:solidFill>
            <a:ln w="621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50" name="Rectangle 426">
              <a:extLst>
                <a:ext uri="{FF2B5EF4-FFF2-40B4-BE49-F238E27FC236}">
                  <a16:creationId xmlns:a16="http://schemas.microsoft.com/office/drawing/2014/main" id="{8F42EDCE-D0AB-4AB8-BA8C-4A63EAF14891}"/>
                </a:ext>
              </a:extLst>
            </p:cNvPr>
            <p:cNvSpPr/>
            <p:nvPr/>
          </p:nvSpPr>
          <p:spPr>
            <a:xfrm>
              <a:off x="6742500" y="2247575"/>
              <a:ext cx="525785" cy="307777"/>
            </a:xfrm>
            <a:prstGeom prst="rect">
              <a:avLst/>
            </a:prstGeom>
            <a:noFill/>
            <a:ln w="19050" cap="flat" cmpd="sng" algn="ctr">
              <a:noFill/>
              <a:prstDash val="solid"/>
            </a:ln>
            <a:effectLst/>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CiscoSansTT ExtraLight"/>
                  <a:ea typeface="ＭＳ Ｐゴシック" charset="0"/>
                  <a:cs typeface="+mn-cs"/>
                </a:rPr>
                <a:t>DNS</a:t>
              </a:r>
            </a:p>
          </p:txBody>
        </p:sp>
        <p:sp>
          <p:nvSpPr>
            <p:cNvPr id="151" name="Rectangle 427">
              <a:extLst>
                <a:ext uri="{FF2B5EF4-FFF2-40B4-BE49-F238E27FC236}">
                  <a16:creationId xmlns:a16="http://schemas.microsoft.com/office/drawing/2014/main" id="{40EFA3E1-5B8C-497F-B011-2F96057D91C8}"/>
                </a:ext>
              </a:extLst>
            </p:cNvPr>
            <p:cNvSpPr/>
            <p:nvPr/>
          </p:nvSpPr>
          <p:spPr>
            <a:xfrm>
              <a:off x="7563648" y="2247575"/>
              <a:ext cx="599523" cy="307777"/>
            </a:xfrm>
            <a:prstGeom prst="rect">
              <a:avLst/>
            </a:prstGeom>
            <a:noFill/>
            <a:ln w="19050" cap="flat" cmpd="sng" algn="ctr">
              <a:noFill/>
              <a:prstDash val="solid"/>
            </a:ln>
            <a:effectLst/>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CiscoSansTT ExtraLight"/>
                  <a:ea typeface="ＭＳ Ｐゴシック" charset="0"/>
                  <a:cs typeface="+mn-cs"/>
                </a:rPr>
                <a:t>SWG</a:t>
              </a:r>
            </a:p>
          </p:txBody>
        </p:sp>
        <p:sp>
          <p:nvSpPr>
            <p:cNvPr id="152" name="Rectangle 3">
              <a:extLst>
                <a:ext uri="{FF2B5EF4-FFF2-40B4-BE49-F238E27FC236}">
                  <a16:creationId xmlns:a16="http://schemas.microsoft.com/office/drawing/2014/main" id="{762D1E0B-1DE4-44A3-A6FB-53E8CEC38634}"/>
                </a:ext>
              </a:extLst>
            </p:cNvPr>
            <p:cNvSpPr/>
            <p:nvPr/>
          </p:nvSpPr>
          <p:spPr>
            <a:xfrm>
              <a:off x="5293670" y="2247575"/>
              <a:ext cx="1203856" cy="307777"/>
            </a:xfrm>
            <a:prstGeom prst="rect">
              <a:avLst/>
            </a:prstGeom>
            <a:noFill/>
            <a:ln w="19050" cap="flat" cmpd="sng" algn="ctr">
              <a:noFill/>
              <a:prstDash val="solid"/>
            </a:ln>
            <a:effectLst/>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CiscoSansTT ExtraLight"/>
                  <a:ea typeface="ＭＳ Ｐゴシック" charset="0"/>
                  <a:cs typeface="+mn-cs"/>
                </a:rPr>
                <a:t>FIREWALL</a:t>
              </a:r>
            </a:p>
          </p:txBody>
        </p:sp>
      </p:grpSp>
      <p:sp>
        <p:nvSpPr>
          <p:cNvPr id="153" name="Rectangle: Rounded Corners 152">
            <a:extLst>
              <a:ext uri="{FF2B5EF4-FFF2-40B4-BE49-F238E27FC236}">
                <a16:creationId xmlns:a16="http://schemas.microsoft.com/office/drawing/2014/main" id="{F5A0E746-90E2-4A6A-B201-F0A5D08EE222}"/>
              </a:ext>
            </a:extLst>
          </p:cNvPr>
          <p:cNvSpPr/>
          <p:nvPr/>
        </p:nvSpPr>
        <p:spPr>
          <a:xfrm rot="5400000">
            <a:off x="6794964" y="2217610"/>
            <a:ext cx="386415" cy="45719"/>
          </a:xfrm>
          <a:prstGeom prst="roundRect">
            <a:avLst>
              <a:gd name="adj" fmla="val 50000"/>
            </a:avLst>
          </a:prstGeom>
          <a:solidFill>
            <a:schemeClr val="bg2"/>
          </a:solidFill>
          <a:ln w="621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55" name="Rectangle: Rounded Corners 154">
            <a:extLst>
              <a:ext uri="{FF2B5EF4-FFF2-40B4-BE49-F238E27FC236}">
                <a16:creationId xmlns:a16="http://schemas.microsoft.com/office/drawing/2014/main" id="{4B94DC38-4E25-4223-89FA-33E1C7264A3B}"/>
              </a:ext>
            </a:extLst>
          </p:cNvPr>
          <p:cNvSpPr/>
          <p:nvPr/>
        </p:nvSpPr>
        <p:spPr>
          <a:xfrm rot="5400000">
            <a:off x="7613855" y="2518029"/>
            <a:ext cx="386415" cy="45719"/>
          </a:xfrm>
          <a:prstGeom prst="roundRect">
            <a:avLst>
              <a:gd name="adj" fmla="val 50000"/>
            </a:avLst>
          </a:prstGeom>
          <a:solidFill>
            <a:schemeClr val="bg2"/>
          </a:solidFill>
          <a:ln w="621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5" name="Group 4">
            <a:extLst>
              <a:ext uri="{FF2B5EF4-FFF2-40B4-BE49-F238E27FC236}">
                <a16:creationId xmlns:a16="http://schemas.microsoft.com/office/drawing/2014/main" id="{DC6A6868-0FDC-48F7-A1E9-21AECC8736E1}"/>
              </a:ext>
            </a:extLst>
          </p:cNvPr>
          <p:cNvGrpSpPr/>
          <p:nvPr/>
        </p:nvGrpSpPr>
        <p:grpSpPr>
          <a:xfrm>
            <a:off x="4998869" y="3111242"/>
            <a:ext cx="665621" cy="672770"/>
            <a:chOff x="5078438" y="3196312"/>
            <a:chExt cx="564417" cy="570478"/>
          </a:xfrm>
        </p:grpSpPr>
        <p:sp>
          <p:nvSpPr>
            <p:cNvPr id="129" name="Isosceles Triangle 22">
              <a:extLst>
                <a:ext uri="{FF2B5EF4-FFF2-40B4-BE49-F238E27FC236}">
                  <a16:creationId xmlns:a16="http://schemas.microsoft.com/office/drawing/2014/main" id="{3F54E06F-5933-47D8-9655-66A3664CFFED}"/>
                </a:ext>
              </a:extLst>
            </p:cNvPr>
            <p:cNvSpPr/>
            <p:nvPr/>
          </p:nvSpPr>
          <p:spPr>
            <a:xfrm rot="5400000">
              <a:off x="5101422" y="3267887"/>
              <a:ext cx="489912" cy="496877"/>
            </a:xfrm>
            <a:prstGeom prst="ellipse">
              <a:avLst/>
            </a:prstGeom>
            <a:solidFill>
              <a:schemeClr val="tx1"/>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sp>
          <p:nvSpPr>
            <p:cNvPr id="532" name="Isosceles Triangle 22">
              <a:extLst>
                <a:ext uri="{FF2B5EF4-FFF2-40B4-BE49-F238E27FC236}">
                  <a16:creationId xmlns:a16="http://schemas.microsoft.com/office/drawing/2014/main" id="{9E824E04-7111-4845-9D8B-39DEAFC02023}"/>
                </a:ext>
              </a:extLst>
            </p:cNvPr>
            <p:cNvSpPr/>
            <p:nvPr/>
          </p:nvSpPr>
          <p:spPr>
            <a:xfrm rot="5400000">
              <a:off x="5120354" y="3255598"/>
              <a:ext cx="489912" cy="496877"/>
            </a:xfrm>
            <a:prstGeom prst="ellipse">
              <a:avLst/>
            </a:prstGeom>
            <a:solidFill>
              <a:schemeClr val="accent1">
                <a:alpha val="56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sp>
          <p:nvSpPr>
            <p:cNvPr id="533" name="Freeform 5">
              <a:extLst>
                <a:ext uri="{FF2B5EF4-FFF2-40B4-BE49-F238E27FC236}">
                  <a16:creationId xmlns:a16="http://schemas.microsoft.com/office/drawing/2014/main" id="{B5027D32-5A1A-45C7-88CC-A5D5155E2B5C}"/>
                </a:ext>
              </a:extLst>
            </p:cNvPr>
            <p:cNvSpPr>
              <a:spLocks noEditPoints="1"/>
            </p:cNvSpPr>
            <p:nvPr/>
          </p:nvSpPr>
          <p:spPr bwMode="auto">
            <a:xfrm>
              <a:off x="5094266" y="3276878"/>
              <a:ext cx="496877" cy="489912"/>
            </a:xfrm>
            <a:custGeom>
              <a:avLst/>
              <a:gdLst>
                <a:gd name="T0" fmla="*/ 248 w 496"/>
                <a:gd name="T1" fmla="*/ 496 h 496"/>
                <a:gd name="T2" fmla="*/ 0 w 496"/>
                <a:gd name="T3" fmla="*/ 248 h 496"/>
                <a:gd name="T4" fmla="*/ 248 w 496"/>
                <a:gd name="T5" fmla="*/ 0 h 496"/>
                <a:gd name="T6" fmla="*/ 496 w 496"/>
                <a:gd name="T7" fmla="*/ 248 h 496"/>
                <a:gd name="T8" fmla="*/ 248 w 496"/>
                <a:gd name="T9" fmla="*/ 496 h 496"/>
                <a:gd name="T10" fmla="*/ 248 w 496"/>
                <a:gd name="T11" fmla="*/ 3 h 496"/>
                <a:gd name="T12" fmla="*/ 3 w 496"/>
                <a:gd name="T13" fmla="*/ 248 h 496"/>
                <a:gd name="T14" fmla="*/ 248 w 496"/>
                <a:gd name="T15" fmla="*/ 493 h 496"/>
                <a:gd name="T16" fmla="*/ 493 w 496"/>
                <a:gd name="T17" fmla="*/ 248 h 496"/>
                <a:gd name="T18" fmla="*/ 248 w 496"/>
                <a:gd name="T19" fmla="*/ 3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6" h="496">
                  <a:moveTo>
                    <a:pt x="248" y="496"/>
                  </a:moveTo>
                  <a:cubicBezTo>
                    <a:pt x="111" y="496"/>
                    <a:pt x="0" y="385"/>
                    <a:pt x="0" y="248"/>
                  </a:cubicBezTo>
                  <a:cubicBezTo>
                    <a:pt x="0" y="111"/>
                    <a:pt x="111" y="0"/>
                    <a:pt x="248" y="0"/>
                  </a:cubicBezTo>
                  <a:cubicBezTo>
                    <a:pt x="385" y="0"/>
                    <a:pt x="496" y="111"/>
                    <a:pt x="496" y="248"/>
                  </a:cubicBezTo>
                  <a:cubicBezTo>
                    <a:pt x="496" y="385"/>
                    <a:pt x="385" y="496"/>
                    <a:pt x="248" y="496"/>
                  </a:cubicBezTo>
                  <a:close/>
                  <a:moveTo>
                    <a:pt x="248" y="3"/>
                  </a:moveTo>
                  <a:cubicBezTo>
                    <a:pt x="113" y="3"/>
                    <a:pt x="3" y="113"/>
                    <a:pt x="3" y="248"/>
                  </a:cubicBezTo>
                  <a:cubicBezTo>
                    <a:pt x="3" y="383"/>
                    <a:pt x="113" y="493"/>
                    <a:pt x="248" y="493"/>
                  </a:cubicBezTo>
                  <a:cubicBezTo>
                    <a:pt x="383" y="493"/>
                    <a:pt x="493" y="383"/>
                    <a:pt x="493" y="248"/>
                  </a:cubicBezTo>
                  <a:cubicBezTo>
                    <a:pt x="493" y="113"/>
                    <a:pt x="383" y="3"/>
                    <a:pt x="248" y="3"/>
                  </a:cubicBezTo>
                  <a:close/>
                </a:path>
              </a:pathLst>
            </a:custGeom>
            <a:solidFill>
              <a:schemeClr val="tx2"/>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39" name="Freeform: Shape 538">
              <a:extLst>
                <a:ext uri="{FF2B5EF4-FFF2-40B4-BE49-F238E27FC236}">
                  <a16:creationId xmlns:a16="http://schemas.microsoft.com/office/drawing/2014/main" id="{6808BF66-52FD-47DE-8890-A57364A5E5FD}"/>
                </a:ext>
              </a:extLst>
            </p:cNvPr>
            <p:cNvSpPr/>
            <p:nvPr/>
          </p:nvSpPr>
          <p:spPr>
            <a:xfrm rot="19938584" flipV="1">
              <a:off x="5078438" y="3196312"/>
              <a:ext cx="222952" cy="89738"/>
            </a:xfrm>
            <a:custGeom>
              <a:avLst/>
              <a:gdLst>
                <a:gd name="connsiteX0" fmla="*/ 567575 w 635116"/>
                <a:gd name="connsiteY0" fmla="*/ 135083 h 135083"/>
                <a:gd name="connsiteX1" fmla="*/ 67542 w 635116"/>
                <a:gd name="connsiteY1" fmla="*/ 135083 h 135083"/>
                <a:gd name="connsiteX2" fmla="*/ 0 w 635116"/>
                <a:gd name="connsiteY2" fmla="*/ 67542 h 135083"/>
                <a:gd name="connsiteX3" fmla="*/ 0 w 635116"/>
                <a:gd name="connsiteY3" fmla="*/ 67542 h 135083"/>
                <a:gd name="connsiteX4" fmla="*/ 67542 w 635116"/>
                <a:gd name="connsiteY4" fmla="*/ 0 h 135083"/>
                <a:gd name="connsiteX5" fmla="*/ 567575 w 635116"/>
                <a:gd name="connsiteY5" fmla="*/ 0 h 135083"/>
                <a:gd name="connsiteX6" fmla="*/ 635116 w 635116"/>
                <a:gd name="connsiteY6" fmla="*/ 67542 h 135083"/>
                <a:gd name="connsiteX7" fmla="*/ 635116 w 635116"/>
                <a:gd name="connsiteY7" fmla="*/ 67542 h 135083"/>
                <a:gd name="connsiteX8" fmla="*/ 567575 w 635116"/>
                <a:gd name="connsiteY8" fmla="*/ 135083 h 13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116" h="135083">
                  <a:moveTo>
                    <a:pt x="567575" y="135083"/>
                  </a:moveTo>
                  <a:lnTo>
                    <a:pt x="67542" y="135083"/>
                  </a:lnTo>
                  <a:cubicBezTo>
                    <a:pt x="30225" y="135083"/>
                    <a:pt x="0" y="104858"/>
                    <a:pt x="0" y="67542"/>
                  </a:cubicBezTo>
                  <a:lnTo>
                    <a:pt x="0" y="67542"/>
                  </a:lnTo>
                  <a:cubicBezTo>
                    <a:pt x="0" y="30225"/>
                    <a:pt x="30225" y="0"/>
                    <a:pt x="67542" y="0"/>
                  </a:cubicBezTo>
                  <a:lnTo>
                    <a:pt x="567575" y="0"/>
                  </a:lnTo>
                  <a:cubicBezTo>
                    <a:pt x="604892" y="0"/>
                    <a:pt x="635116" y="30225"/>
                    <a:pt x="635116" y="67542"/>
                  </a:cubicBezTo>
                  <a:lnTo>
                    <a:pt x="635116" y="67542"/>
                  </a:lnTo>
                  <a:cubicBezTo>
                    <a:pt x="635183" y="104792"/>
                    <a:pt x="604892" y="135083"/>
                    <a:pt x="567575" y="135083"/>
                  </a:cubicBezTo>
                  <a:close/>
                </a:path>
              </a:pathLst>
            </a:custGeom>
            <a:solidFill>
              <a:schemeClr val="tx2">
                <a:alpha val="48000"/>
              </a:schemeClr>
            </a:solidFill>
            <a:ln w="66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25" name="Freeform: Shape 124">
              <a:extLst>
                <a:ext uri="{FF2B5EF4-FFF2-40B4-BE49-F238E27FC236}">
                  <a16:creationId xmlns:a16="http://schemas.microsoft.com/office/drawing/2014/main" id="{785B1C06-5D59-49DD-A60D-504523851BB5}"/>
                </a:ext>
              </a:extLst>
            </p:cNvPr>
            <p:cNvSpPr/>
            <p:nvPr/>
          </p:nvSpPr>
          <p:spPr>
            <a:xfrm rot="1973674" flipV="1">
              <a:off x="5416383" y="3199911"/>
              <a:ext cx="222952" cy="89738"/>
            </a:xfrm>
            <a:custGeom>
              <a:avLst/>
              <a:gdLst>
                <a:gd name="connsiteX0" fmla="*/ 567575 w 635116"/>
                <a:gd name="connsiteY0" fmla="*/ 135083 h 135083"/>
                <a:gd name="connsiteX1" fmla="*/ 67542 w 635116"/>
                <a:gd name="connsiteY1" fmla="*/ 135083 h 135083"/>
                <a:gd name="connsiteX2" fmla="*/ 0 w 635116"/>
                <a:gd name="connsiteY2" fmla="*/ 67542 h 135083"/>
                <a:gd name="connsiteX3" fmla="*/ 0 w 635116"/>
                <a:gd name="connsiteY3" fmla="*/ 67542 h 135083"/>
                <a:gd name="connsiteX4" fmla="*/ 67542 w 635116"/>
                <a:gd name="connsiteY4" fmla="*/ 0 h 135083"/>
                <a:gd name="connsiteX5" fmla="*/ 567575 w 635116"/>
                <a:gd name="connsiteY5" fmla="*/ 0 h 135083"/>
                <a:gd name="connsiteX6" fmla="*/ 635116 w 635116"/>
                <a:gd name="connsiteY6" fmla="*/ 67542 h 135083"/>
                <a:gd name="connsiteX7" fmla="*/ 635116 w 635116"/>
                <a:gd name="connsiteY7" fmla="*/ 67542 h 135083"/>
                <a:gd name="connsiteX8" fmla="*/ 567575 w 635116"/>
                <a:gd name="connsiteY8" fmla="*/ 135083 h 135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116" h="135083">
                  <a:moveTo>
                    <a:pt x="567575" y="135083"/>
                  </a:moveTo>
                  <a:lnTo>
                    <a:pt x="67542" y="135083"/>
                  </a:lnTo>
                  <a:cubicBezTo>
                    <a:pt x="30225" y="135083"/>
                    <a:pt x="0" y="104858"/>
                    <a:pt x="0" y="67542"/>
                  </a:cubicBezTo>
                  <a:lnTo>
                    <a:pt x="0" y="67542"/>
                  </a:lnTo>
                  <a:cubicBezTo>
                    <a:pt x="0" y="30225"/>
                    <a:pt x="30225" y="0"/>
                    <a:pt x="67542" y="0"/>
                  </a:cubicBezTo>
                  <a:lnTo>
                    <a:pt x="567575" y="0"/>
                  </a:lnTo>
                  <a:cubicBezTo>
                    <a:pt x="604892" y="0"/>
                    <a:pt x="635116" y="30225"/>
                    <a:pt x="635116" y="67542"/>
                  </a:cubicBezTo>
                  <a:lnTo>
                    <a:pt x="635116" y="67542"/>
                  </a:lnTo>
                  <a:cubicBezTo>
                    <a:pt x="635183" y="104792"/>
                    <a:pt x="604892" y="135083"/>
                    <a:pt x="567575" y="135083"/>
                  </a:cubicBezTo>
                  <a:close/>
                </a:path>
              </a:pathLst>
            </a:custGeom>
            <a:solidFill>
              <a:schemeClr val="tx2">
                <a:alpha val="48000"/>
              </a:schemeClr>
            </a:solidFill>
            <a:ln w="66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 name="Rectangle: Rounded Corners 3">
              <a:extLst>
                <a:ext uri="{FF2B5EF4-FFF2-40B4-BE49-F238E27FC236}">
                  <a16:creationId xmlns:a16="http://schemas.microsoft.com/office/drawing/2014/main" id="{6659F561-5B35-4AD9-AECE-AFFC7CEF3D24}"/>
                </a:ext>
              </a:extLst>
            </p:cNvPr>
            <p:cNvSpPr/>
            <p:nvPr/>
          </p:nvSpPr>
          <p:spPr>
            <a:xfrm rot="20860247">
              <a:off x="5296621" y="3437278"/>
              <a:ext cx="346234" cy="77849"/>
            </a:xfrm>
            <a:prstGeom prst="roundRect">
              <a:avLst>
                <a:gd name="adj" fmla="val 44197"/>
              </a:avLst>
            </a:prstGeom>
            <a:no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ectangle: Rounded Corners 131">
              <a:extLst>
                <a:ext uri="{FF2B5EF4-FFF2-40B4-BE49-F238E27FC236}">
                  <a16:creationId xmlns:a16="http://schemas.microsoft.com/office/drawing/2014/main" id="{19B33FD9-5818-4CB9-A811-6031079FE602}"/>
                </a:ext>
              </a:extLst>
            </p:cNvPr>
            <p:cNvSpPr/>
            <p:nvPr/>
          </p:nvSpPr>
          <p:spPr>
            <a:xfrm rot="1313342">
              <a:off x="5240339" y="3504879"/>
              <a:ext cx="238526" cy="77849"/>
            </a:xfrm>
            <a:prstGeom prst="roundRect">
              <a:avLst>
                <a:gd name="adj" fmla="val 44197"/>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34" name="Picture 133">
            <a:extLst>
              <a:ext uri="{FF2B5EF4-FFF2-40B4-BE49-F238E27FC236}">
                <a16:creationId xmlns:a16="http://schemas.microsoft.com/office/drawing/2014/main" id="{6AEA49F6-7F60-40A6-80A9-5D7EAE9D56DB}"/>
              </a:ext>
            </a:extLst>
          </p:cNvPr>
          <p:cNvPicPr>
            <a:picLocks noChangeAspect="1"/>
          </p:cNvPicPr>
          <p:nvPr/>
        </p:nvPicPr>
        <p:blipFill rotWithShape="1">
          <a:blip r:embed="rId12" cstate="screen">
            <a:alphaModFix/>
            <a:extLst>
              <a:ext uri="{28A0092B-C50C-407E-A947-70E740481C1C}">
                <a14:useLocalDpi xmlns:a14="http://schemas.microsoft.com/office/drawing/2010/main"/>
              </a:ext>
            </a:extLst>
          </a:blip>
          <a:srcRect/>
          <a:stretch/>
        </p:blipFill>
        <p:spPr>
          <a:xfrm rot="10800000" flipH="1" flipV="1">
            <a:off x="5627666" y="3372831"/>
            <a:ext cx="547538" cy="292678"/>
          </a:xfrm>
          <a:prstGeom prst="rect">
            <a:avLst/>
          </a:prstGeom>
        </p:spPr>
      </p:pic>
      <p:sp>
        <p:nvSpPr>
          <p:cNvPr id="11" name="Arc 10">
            <a:extLst>
              <a:ext uri="{FF2B5EF4-FFF2-40B4-BE49-F238E27FC236}">
                <a16:creationId xmlns:a16="http://schemas.microsoft.com/office/drawing/2014/main" id="{4B8941DD-F6EB-4FA9-A7F4-552110A14A83}"/>
              </a:ext>
            </a:extLst>
          </p:cNvPr>
          <p:cNvSpPr/>
          <p:nvPr/>
        </p:nvSpPr>
        <p:spPr>
          <a:xfrm rot="5400000">
            <a:off x="4967455" y="3145993"/>
            <a:ext cx="725984" cy="725984"/>
          </a:xfrm>
          <a:prstGeom prst="arc">
            <a:avLst>
              <a:gd name="adj1" fmla="val 16631735"/>
              <a:gd name="adj2" fmla="val 31991"/>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7" name="Isosceles Triangle 49">
            <a:extLst>
              <a:ext uri="{FF2B5EF4-FFF2-40B4-BE49-F238E27FC236}">
                <a16:creationId xmlns:a16="http://schemas.microsoft.com/office/drawing/2014/main" id="{2349E163-AD9A-452B-B3D3-CE59B5E7B663}"/>
              </a:ext>
            </a:extLst>
          </p:cNvPr>
          <p:cNvSpPr/>
          <p:nvPr/>
        </p:nvSpPr>
        <p:spPr>
          <a:xfrm>
            <a:off x="5631705" y="3489799"/>
            <a:ext cx="101718" cy="8871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tx1"/>
          </a:solidFill>
          <a:ln>
            <a:solidFill>
              <a:schemeClr val="accent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131" name="Group 130">
            <a:extLst>
              <a:ext uri="{FF2B5EF4-FFF2-40B4-BE49-F238E27FC236}">
                <a16:creationId xmlns:a16="http://schemas.microsoft.com/office/drawing/2014/main" id="{26666438-A644-435E-85D4-979290E63C94}"/>
              </a:ext>
            </a:extLst>
          </p:cNvPr>
          <p:cNvGrpSpPr/>
          <p:nvPr/>
        </p:nvGrpSpPr>
        <p:grpSpPr>
          <a:xfrm>
            <a:off x="3020734" y="3179582"/>
            <a:ext cx="941852" cy="673632"/>
            <a:chOff x="3020734" y="3179582"/>
            <a:chExt cx="941852" cy="673632"/>
          </a:xfrm>
        </p:grpSpPr>
        <p:sp>
          <p:nvSpPr>
            <p:cNvPr id="133" name="Isosceles Triangle 22">
              <a:extLst>
                <a:ext uri="{FF2B5EF4-FFF2-40B4-BE49-F238E27FC236}">
                  <a16:creationId xmlns:a16="http://schemas.microsoft.com/office/drawing/2014/main" id="{3E24CFE3-9184-4FBA-8EC7-687456266E77}"/>
                </a:ext>
              </a:extLst>
            </p:cNvPr>
            <p:cNvSpPr/>
            <p:nvPr/>
          </p:nvSpPr>
          <p:spPr>
            <a:xfrm rot="5400000">
              <a:off x="3231293" y="3306697"/>
              <a:ext cx="446374" cy="452720"/>
            </a:xfrm>
            <a:prstGeom prst="ellipse">
              <a:avLst/>
            </a:prstGeom>
            <a:solidFill>
              <a:schemeClr val="accent2">
                <a:alpha val="80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sp>
          <p:nvSpPr>
            <p:cNvPr id="135" name="Isosceles Triangle 22">
              <a:extLst>
                <a:ext uri="{FF2B5EF4-FFF2-40B4-BE49-F238E27FC236}">
                  <a16:creationId xmlns:a16="http://schemas.microsoft.com/office/drawing/2014/main" id="{BB7F4606-1540-4790-95DA-C5FB00991F0B}"/>
                </a:ext>
              </a:extLst>
            </p:cNvPr>
            <p:cNvSpPr/>
            <p:nvPr/>
          </p:nvSpPr>
          <p:spPr>
            <a:xfrm rot="5400000">
              <a:off x="3656368" y="3178791"/>
              <a:ext cx="111267" cy="112849"/>
            </a:xfrm>
            <a:prstGeom prst="ellipse">
              <a:avLst/>
            </a:prstGeom>
            <a:solidFill>
              <a:schemeClr val="accent4">
                <a:alpha val="80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sp>
          <p:nvSpPr>
            <p:cNvPr id="136" name="Isosceles Triangle 22">
              <a:extLst>
                <a:ext uri="{FF2B5EF4-FFF2-40B4-BE49-F238E27FC236}">
                  <a16:creationId xmlns:a16="http://schemas.microsoft.com/office/drawing/2014/main" id="{59B8231E-15F8-48AF-AFEC-AB8739554AE0}"/>
                </a:ext>
              </a:extLst>
            </p:cNvPr>
            <p:cNvSpPr/>
            <p:nvPr/>
          </p:nvSpPr>
          <p:spPr>
            <a:xfrm rot="5400000">
              <a:off x="3168538" y="3246141"/>
              <a:ext cx="111267" cy="112849"/>
            </a:xfrm>
            <a:prstGeom prst="ellipse">
              <a:avLst/>
            </a:prstGeom>
            <a:solidFill>
              <a:schemeClr val="accent4">
                <a:alpha val="80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sp>
          <p:nvSpPr>
            <p:cNvPr id="138" name="Isosceles Triangle 22">
              <a:extLst>
                <a:ext uri="{FF2B5EF4-FFF2-40B4-BE49-F238E27FC236}">
                  <a16:creationId xmlns:a16="http://schemas.microsoft.com/office/drawing/2014/main" id="{F2DEB6AD-B73D-4E2F-9258-E49290E88703}"/>
                </a:ext>
              </a:extLst>
            </p:cNvPr>
            <p:cNvSpPr/>
            <p:nvPr/>
          </p:nvSpPr>
          <p:spPr>
            <a:xfrm rot="5400000">
              <a:off x="3565158" y="3737404"/>
              <a:ext cx="55558" cy="56348"/>
            </a:xfrm>
            <a:prstGeom prst="ellipse">
              <a:avLst/>
            </a:prstGeom>
            <a:solidFill>
              <a:schemeClr val="accent4">
                <a:alpha val="80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cxnSp>
          <p:nvCxnSpPr>
            <p:cNvPr id="139" name="Straight Connector 138">
              <a:extLst>
                <a:ext uri="{FF2B5EF4-FFF2-40B4-BE49-F238E27FC236}">
                  <a16:creationId xmlns:a16="http://schemas.microsoft.com/office/drawing/2014/main" id="{53243628-654A-4883-8E70-1AD9AA4F9EFD}"/>
                </a:ext>
              </a:extLst>
            </p:cNvPr>
            <p:cNvCxnSpPr>
              <a:cxnSpLocks/>
            </p:cNvCxnSpPr>
            <p:nvPr/>
          </p:nvCxnSpPr>
          <p:spPr>
            <a:xfrm flipH="1" flipV="1">
              <a:off x="3342318" y="3235268"/>
              <a:ext cx="50551" cy="12554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B78102E8-248A-46D4-B0C5-2DB99CDF14E2}"/>
                </a:ext>
              </a:extLst>
            </p:cNvPr>
            <p:cNvCxnSpPr>
              <a:cxnSpLocks/>
            </p:cNvCxnSpPr>
            <p:nvPr/>
          </p:nvCxnSpPr>
          <p:spPr>
            <a:xfrm flipV="1">
              <a:off x="3547350" y="3244611"/>
              <a:ext cx="48042" cy="11155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8278370F-FAD5-43C4-9BC7-4EE28767A675}"/>
                </a:ext>
              </a:extLst>
            </p:cNvPr>
            <p:cNvCxnSpPr>
              <a:cxnSpLocks/>
            </p:cNvCxnSpPr>
            <p:nvPr/>
          </p:nvCxnSpPr>
          <p:spPr>
            <a:xfrm flipH="1" flipV="1">
              <a:off x="3468718" y="3203159"/>
              <a:ext cx="2395" cy="142853"/>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43552317-BD7F-4542-BA7A-7F226B71CFE7}"/>
                </a:ext>
              </a:extLst>
            </p:cNvPr>
            <p:cNvGrpSpPr/>
            <p:nvPr/>
          </p:nvGrpSpPr>
          <p:grpSpPr>
            <a:xfrm rot="10800000">
              <a:off x="3363906" y="3695563"/>
              <a:ext cx="253074" cy="157651"/>
              <a:chOff x="3262574" y="3764695"/>
              <a:chExt cx="277758" cy="173028"/>
            </a:xfrm>
          </p:grpSpPr>
          <p:cxnSp>
            <p:nvCxnSpPr>
              <p:cNvPr id="166" name="Straight Connector 165">
                <a:extLst>
                  <a:ext uri="{FF2B5EF4-FFF2-40B4-BE49-F238E27FC236}">
                    <a16:creationId xmlns:a16="http://schemas.microsoft.com/office/drawing/2014/main" id="{C0434A94-A2F8-4223-B42D-142796EF1174}"/>
                  </a:ext>
                </a:extLst>
              </p:cNvPr>
              <p:cNvCxnSpPr>
                <a:cxnSpLocks/>
              </p:cNvCxnSpPr>
              <p:nvPr/>
            </p:nvCxnSpPr>
            <p:spPr>
              <a:xfrm flipH="1" flipV="1">
                <a:off x="3262574" y="3799936"/>
                <a:ext cx="55482" cy="13778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637DED7E-E05D-4A84-9C4C-47CC32A88CA8}"/>
                  </a:ext>
                </a:extLst>
              </p:cNvPr>
              <p:cNvCxnSpPr>
                <a:cxnSpLocks/>
              </p:cNvCxnSpPr>
              <p:nvPr/>
            </p:nvCxnSpPr>
            <p:spPr>
              <a:xfrm flipV="1">
                <a:off x="3487604" y="3810190"/>
                <a:ext cx="52728" cy="12243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0E8F190A-5C51-4D55-8230-7BFB7F377166}"/>
                  </a:ext>
                </a:extLst>
              </p:cNvPr>
              <p:cNvCxnSpPr>
                <a:cxnSpLocks/>
              </p:cNvCxnSpPr>
              <p:nvPr/>
            </p:nvCxnSpPr>
            <p:spPr>
              <a:xfrm flipH="1" flipV="1">
                <a:off x="3401303" y="3764695"/>
                <a:ext cx="2629" cy="15678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65" name="Picture 164" descr="A picture containing knife&#10;&#10;Description automatically generated">
              <a:extLst>
                <a:ext uri="{FF2B5EF4-FFF2-40B4-BE49-F238E27FC236}">
                  <a16:creationId xmlns:a16="http://schemas.microsoft.com/office/drawing/2014/main" id="{BF5F276E-AA99-4162-9AE2-1C2F52D519EA}"/>
                </a:ext>
              </a:extLst>
            </p:cNvPr>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a:xfrm>
              <a:off x="3020734" y="3343425"/>
              <a:ext cx="941852" cy="422126"/>
            </a:xfrm>
            <a:custGeom>
              <a:avLst/>
              <a:gdLst>
                <a:gd name="connsiteX0" fmla="*/ 49319 w 941852"/>
                <a:gd name="connsiteY0" fmla="*/ 0 h 422126"/>
                <a:gd name="connsiteX1" fmla="*/ 892534 w 941852"/>
                <a:gd name="connsiteY1" fmla="*/ 0 h 422126"/>
                <a:gd name="connsiteX2" fmla="*/ 904844 w 941852"/>
                <a:gd name="connsiteY2" fmla="*/ 21272 h 422126"/>
                <a:gd name="connsiteX3" fmla="*/ 941852 w 941852"/>
                <a:gd name="connsiteY3" fmla="*/ 193187 h 422126"/>
                <a:gd name="connsiteX4" fmla="*/ 904844 w 941852"/>
                <a:gd name="connsiteY4" fmla="*/ 365103 h 422126"/>
                <a:gd name="connsiteX5" fmla="*/ 871842 w 941852"/>
                <a:gd name="connsiteY5" fmla="*/ 422126 h 422126"/>
                <a:gd name="connsiteX6" fmla="*/ 70010 w 941852"/>
                <a:gd name="connsiteY6" fmla="*/ 422126 h 422126"/>
                <a:gd name="connsiteX7" fmla="*/ 37008 w 941852"/>
                <a:gd name="connsiteY7" fmla="*/ 365103 h 422126"/>
                <a:gd name="connsiteX8" fmla="*/ 0 w 941852"/>
                <a:gd name="connsiteY8" fmla="*/ 193187 h 422126"/>
                <a:gd name="connsiteX9" fmla="*/ 37008 w 941852"/>
                <a:gd name="connsiteY9" fmla="*/ 21272 h 422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1852" h="422126">
                  <a:moveTo>
                    <a:pt x="49319" y="0"/>
                  </a:moveTo>
                  <a:lnTo>
                    <a:pt x="892534" y="0"/>
                  </a:lnTo>
                  <a:lnTo>
                    <a:pt x="904844" y="21272"/>
                  </a:lnTo>
                  <a:cubicBezTo>
                    <a:pt x="928675" y="74112"/>
                    <a:pt x="941852" y="132206"/>
                    <a:pt x="941852" y="193187"/>
                  </a:cubicBezTo>
                  <a:cubicBezTo>
                    <a:pt x="941852" y="254168"/>
                    <a:pt x="928675" y="312263"/>
                    <a:pt x="904844" y="365103"/>
                  </a:cubicBezTo>
                  <a:lnTo>
                    <a:pt x="871842" y="422126"/>
                  </a:lnTo>
                  <a:lnTo>
                    <a:pt x="70010" y="422126"/>
                  </a:lnTo>
                  <a:lnTo>
                    <a:pt x="37008" y="365103"/>
                  </a:lnTo>
                  <a:cubicBezTo>
                    <a:pt x="13178" y="312263"/>
                    <a:pt x="0" y="254168"/>
                    <a:pt x="0" y="193187"/>
                  </a:cubicBezTo>
                  <a:cubicBezTo>
                    <a:pt x="0" y="132206"/>
                    <a:pt x="13178" y="74112"/>
                    <a:pt x="37008" y="21272"/>
                  </a:cubicBezTo>
                  <a:close/>
                </a:path>
              </a:pathLst>
            </a:custGeom>
          </p:spPr>
        </p:pic>
      </p:grpSp>
      <p:sp>
        <p:nvSpPr>
          <p:cNvPr id="3" name="Freeform: Shape 2">
            <a:extLst>
              <a:ext uri="{FF2B5EF4-FFF2-40B4-BE49-F238E27FC236}">
                <a16:creationId xmlns:a16="http://schemas.microsoft.com/office/drawing/2014/main" id="{8E890F5B-1FA7-447D-8047-BB01EC3DB4B1}"/>
              </a:ext>
            </a:extLst>
          </p:cNvPr>
          <p:cNvSpPr/>
          <p:nvPr/>
        </p:nvSpPr>
        <p:spPr>
          <a:xfrm>
            <a:off x="1377206" y="2271713"/>
            <a:ext cx="3699619" cy="914400"/>
          </a:xfrm>
          <a:custGeom>
            <a:avLst/>
            <a:gdLst>
              <a:gd name="connsiteX0" fmla="*/ 0 w 3819525"/>
              <a:gd name="connsiteY0" fmla="*/ 914400 h 914400"/>
              <a:gd name="connsiteX1" fmla="*/ 14288 w 3819525"/>
              <a:gd name="connsiteY1" fmla="*/ 128587 h 914400"/>
              <a:gd name="connsiteX2" fmla="*/ 104775 w 3819525"/>
              <a:gd name="connsiteY2" fmla="*/ 0 h 914400"/>
              <a:gd name="connsiteX3" fmla="*/ 3819525 w 3819525"/>
              <a:gd name="connsiteY3" fmla="*/ 0 h 914400"/>
              <a:gd name="connsiteX0" fmla="*/ 0 w 3819525"/>
              <a:gd name="connsiteY0" fmla="*/ 914400 h 914400"/>
              <a:gd name="connsiteX1" fmla="*/ 6913 w 3819525"/>
              <a:gd name="connsiteY1" fmla="*/ 128587 h 914400"/>
              <a:gd name="connsiteX2" fmla="*/ 104775 w 3819525"/>
              <a:gd name="connsiteY2" fmla="*/ 0 h 914400"/>
              <a:gd name="connsiteX3" fmla="*/ 3819525 w 3819525"/>
              <a:gd name="connsiteY3" fmla="*/ 0 h 914400"/>
              <a:gd name="connsiteX0" fmla="*/ 0 w 3819525"/>
              <a:gd name="connsiteY0" fmla="*/ 914400 h 914400"/>
              <a:gd name="connsiteX1" fmla="*/ 6913 w 3819525"/>
              <a:gd name="connsiteY1" fmla="*/ 128587 h 914400"/>
              <a:gd name="connsiteX2" fmla="*/ 104775 w 3819525"/>
              <a:gd name="connsiteY2" fmla="*/ 0 h 914400"/>
              <a:gd name="connsiteX3" fmla="*/ 3819525 w 3819525"/>
              <a:gd name="connsiteY3" fmla="*/ 0 h 914400"/>
              <a:gd name="connsiteX0" fmla="*/ 0 w 3819525"/>
              <a:gd name="connsiteY0" fmla="*/ 914400 h 914400"/>
              <a:gd name="connsiteX1" fmla="*/ 6913 w 3819525"/>
              <a:gd name="connsiteY1" fmla="*/ 128587 h 914400"/>
              <a:gd name="connsiteX2" fmla="*/ 104775 w 3819525"/>
              <a:gd name="connsiteY2" fmla="*/ 0 h 914400"/>
              <a:gd name="connsiteX3" fmla="*/ 3819525 w 3819525"/>
              <a:gd name="connsiteY3" fmla="*/ 0 h 914400"/>
            </a:gdLst>
            <a:ahLst/>
            <a:cxnLst>
              <a:cxn ang="0">
                <a:pos x="connsiteX0" y="connsiteY0"/>
              </a:cxn>
              <a:cxn ang="0">
                <a:pos x="connsiteX1" y="connsiteY1"/>
              </a:cxn>
              <a:cxn ang="0">
                <a:pos x="connsiteX2" y="connsiteY2"/>
              </a:cxn>
              <a:cxn ang="0">
                <a:pos x="connsiteX3" y="connsiteY3"/>
              </a:cxn>
            </a:cxnLst>
            <a:rect l="l" t="t" r="r" b="b"/>
            <a:pathLst>
              <a:path w="3819525" h="914400">
                <a:moveTo>
                  <a:pt x="0" y="914400"/>
                </a:moveTo>
                <a:cubicBezTo>
                  <a:pt x="2304" y="652462"/>
                  <a:pt x="4609" y="390525"/>
                  <a:pt x="6913" y="128587"/>
                </a:cubicBezTo>
                <a:cubicBezTo>
                  <a:pt x="10033" y="33337"/>
                  <a:pt x="37737" y="4762"/>
                  <a:pt x="104775" y="0"/>
                </a:cubicBezTo>
                <a:lnTo>
                  <a:pt x="3819525" y="0"/>
                </a:lnTo>
              </a:path>
            </a:pathLst>
          </a:custGeom>
          <a:noFill/>
          <a:ln w="25400" cap="rnd" cmpd="sng" algn="ctr">
            <a:solidFill>
              <a:schemeClr val="bg2"/>
            </a:solidFill>
            <a:prstDash val="sysDot"/>
            <a:round/>
            <a:tailEnd type="arrow"/>
          </a:ln>
          <a:effectLst/>
        </p:spPr>
        <p:txBody>
          <a:bodyPr rtlCol="0" anchor="ctr"/>
          <a:lstStyle/>
          <a:p>
            <a:pPr algn="ctr"/>
            <a:endParaRPr lang="en-US"/>
          </a:p>
        </p:txBody>
      </p:sp>
      <p:sp>
        <p:nvSpPr>
          <p:cNvPr id="12" name="Freeform: Shape 11">
            <a:extLst>
              <a:ext uri="{FF2B5EF4-FFF2-40B4-BE49-F238E27FC236}">
                <a16:creationId xmlns:a16="http://schemas.microsoft.com/office/drawing/2014/main" id="{0AEBABC9-6428-40F7-B5D5-8E673B566714}"/>
              </a:ext>
            </a:extLst>
          </p:cNvPr>
          <p:cNvSpPr/>
          <p:nvPr/>
        </p:nvSpPr>
        <p:spPr>
          <a:xfrm>
            <a:off x="3461849" y="2296954"/>
            <a:ext cx="114300" cy="852850"/>
          </a:xfrm>
          <a:custGeom>
            <a:avLst/>
            <a:gdLst>
              <a:gd name="connsiteX0" fmla="*/ 0 w 76200"/>
              <a:gd name="connsiteY0" fmla="*/ 957262 h 957262"/>
              <a:gd name="connsiteX1" fmla="*/ 0 w 76200"/>
              <a:gd name="connsiteY1" fmla="*/ 76200 h 957262"/>
              <a:gd name="connsiteX2" fmla="*/ 76200 w 76200"/>
              <a:gd name="connsiteY2" fmla="*/ 0 h 957262"/>
              <a:gd name="connsiteX0" fmla="*/ 0 w 76200"/>
              <a:gd name="connsiteY0" fmla="*/ 957262 h 957262"/>
              <a:gd name="connsiteX1" fmla="*/ 0 w 76200"/>
              <a:gd name="connsiteY1" fmla="*/ 76200 h 957262"/>
              <a:gd name="connsiteX2" fmla="*/ 76200 w 76200"/>
              <a:gd name="connsiteY2" fmla="*/ 0 h 957262"/>
              <a:gd name="connsiteX0" fmla="*/ 0 w 76200"/>
              <a:gd name="connsiteY0" fmla="*/ 957262 h 957262"/>
              <a:gd name="connsiteX1" fmla="*/ 0 w 76200"/>
              <a:gd name="connsiteY1" fmla="*/ 76200 h 957262"/>
              <a:gd name="connsiteX2" fmla="*/ 76200 w 76200"/>
              <a:gd name="connsiteY2" fmla="*/ 0 h 957262"/>
              <a:gd name="connsiteX0" fmla="*/ 0 w 85725"/>
              <a:gd name="connsiteY0" fmla="*/ 957262 h 957262"/>
              <a:gd name="connsiteX1" fmla="*/ 0 w 85725"/>
              <a:gd name="connsiteY1" fmla="*/ 76200 h 957262"/>
              <a:gd name="connsiteX2" fmla="*/ 85725 w 85725"/>
              <a:gd name="connsiteY2" fmla="*/ 0 h 957262"/>
              <a:gd name="connsiteX0" fmla="*/ 0 w 114300"/>
              <a:gd name="connsiteY0" fmla="*/ 957262 h 957262"/>
              <a:gd name="connsiteX1" fmla="*/ 0 w 114300"/>
              <a:gd name="connsiteY1" fmla="*/ 76200 h 957262"/>
              <a:gd name="connsiteX2" fmla="*/ 114300 w 114300"/>
              <a:gd name="connsiteY2" fmla="*/ 0 h 957262"/>
              <a:gd name="connsiteX0" fmla="*/ 0 w 114300"/>
              <a:gd name="connsiteY0" fmla="*/ 957262 h 957262"/>
              <a:gd name="connsiteX1" fmla="*/ 2381 w 114300"/>
              <a:gd name="connsiteY1" fmla="*/ 105601 h 957262"/>
              <a:gd name="connsiteX2" fmla="*/ 114300 w 114300"/>
              <a:gd name="connsiteY2" fmla="*/ 0 h 957262"/>
              <a:gd name="connsiteX0" fmla="*/ 0 w 114300"/>
              <a:gd name="connsiteY0" fmla="*/ 957262 h 957262"/>
              <a:gd name="connsiteX1" fmla="*/ 2381 w 114300"/>
              <a:gd name="connsiteY1" fmla="*/ 105601 h 957262"/>
              <a:gd name="connsiteX2" fmla="*/ 114300 w 114300"/>
              <a:gd name="connsiteY2" fmla="*/ 0 h 957262"/>
              <a:gd name="connsiteX0" fmla="*/ 0 w 114300"/>
              <a:gd name="connsiteY0" fmla="*/ 957262 h 957262"/>
              <a:gd name="connsiteX1" fmla="*/ 2381 w 114300"/>
              <a:gd name="connsiteY1" fmla="*/ 105601 h 957262"/>
              <a:gd name="connsiteX2" fmla="*/ 114300 w 114300"/>
              <a:gd name="connsiteY2" fmla="*/ 0 h 957262"/>
            </a:gdLst>
            <a:ahLst/>
            <a:cxnLst>
              <a:cxn ang="0">
                <a:pos x="connsiteX0" y="connsiteY0"/>
              </a:cxn>
              <a:cxn ang="0">
                <a:pos x="connsiteX1" y="connsiteY1"/>
              </a:cxn>
              <a:cxn ang="0">
                <a:pos x="connsiteX2" y="connsiteY2"/>
              </a:cxn>
            </a:cxnLst>
            <a:rect l="l" t="t" r="r" b="b"/>
            <a:pathLst>
              <a:path w="114300" h="957262">
                <a:moveTo>
                  <a:pt x="0" y="957262"/>
                </a:moveTo>
                <a:cubicBezTo>
                  <a:pt x="794" y="673375"/>
                  <a:pt x="1587" y="389488"/>
                  <a:pt x="2381" y="105601"/>
                </a:cubicBezTo>
                <a:cubicBezTo>
                  <a:pt x="3968" y="42732"/>
                  <a:pt x="62706" y="1587"/>
                  <a:pt x="114300" y="0"/>
                </a:cubicBezTo>
              </a:path>
            </a:pathLst>
          </a:custGeom>
          <a:noFill/>
          <a:ln w="25400" cap="rnd" cmpd="sng" algn="ctr">
            <a:solidFill>
              <a:schemeClr val="bg2"/>
            </a:solidFill>
            <a:prstDash val="sysDot"/>
            <a:round/>
            <a:headEnd type="none" w="med" len="med"/>
            <a:tailEnd type="none" w="med" len="med"/>
          </a:ln>
          <a:effectLst/>
        </p:spPr>
        <p:txBody>
          <a:bodyPr rtlCol="0" anchor="ctr"/>
          <a:lstStyle/>
          <a:p>
            <a:pPr algn="ctr"/>
            <a:endParaRPr lang="en-US"/>
          </a:p>
        </p:txBody>
      </p:sp>
    </p:spTree>
    <p:extLst>
      <p:ext uri="{BB962C8B-B14F-4D97-AF65-F5344CB8AC3E}">
        <p14:creationId xmlns:p14="http://schemas.microsoft.com/office/powerpoint/2010/main" val="941243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62902F-CDB8-432D-99AD-BE07592E0E51}"/>
              </a:ext>
            </a:extLst>
          </p:cNvPr>
          <p:cNvSpPr/>
          <p:nvPr/>
        </p:nvSpPr>
        <p:spPr>
          <a:xfrm>
            <a:off x="533401" y="2777803"/>
            <a:ext cx="4032250" cy="1292662"/>
          </a:xfrm>
          <a:prstGeom prst="rect">
            <a:avLst/>
          </a:prstGeom>
        </p:spPr>
        <p:txBody>
          <a:bodyPr wrap="square" lIns="0" tIns="0" rIns="0" bIns="0">
            <a:spAutoFit/>
          </a:bodyPr>
          <a:lstStyle/>
          <a:p>
            <a:pPr defTabSz="684213">
              <a:defRPr/>
            </a:pPr>
            <a:r>
              <a:rPr lang="en-US" sz="2800">
                <a:solidFill>
                  <a:schemeClr val="bg2"/>
                </a:solidFill>
                <a:latin typeface="+mj-lt"/>
              </a:rPr>
              <a:t>Expand what’s possible with an open ecosystem of </a:t>
            </a:r>
            <a:r>
              <a:rPr lang="en-US" sz="2800" b="1">
                <a:solidFill>
                  <a:schemeClr val="bg2"/>
                </a:solidFill>
                <a:latin typeface="CiscoSansTT" panose="020B0503020201020303" pitchFamily="34" charset="0"/>
              </a:rPr>
              <a:t>170+ partners</a:t>
            </a:r>
            <a:endParaRPr lang="en-US" sz="3200" b="1">
              <a:solidFill>
                <a:schemeClr val="bg2"/>
              </a:solidFill>
              <a:latin typeface="CiscoSansTT" panose="020B0503020201020303" pitchFamily="34" charset="0"/>
            </a:endParaRPr>
          </a:p>
        </p:txBody>
      </p:sp>
      <p:grpSp>
        <p:nvGrpSpPr>
          <p:cNvPr id="3" name="Group 2">
            <a:extLst>
              <a:ext uri="{FF2B5EF4-FFF2-40B4-BE49-F238E27FC236}">
                <a16:creationId xmlns:a16="http://schemas.microsoft.com/office/drawing/2014/main" id="{DDFB431D-1A23-46F9-BE4A-E697D8DDC14A}"/>
              </a:ext>
            </a:extLst>
          </p:cNvPr>
          <p:cNvGrpSpPr/>
          <p:nvPr/>
        </p:nvGrpSpPr>
        <p:grpSpPr>
          <a:xfrm>
            <a:off x="533400" y="863278"/>
            <a:ext cx="3661672" cy="1776614"/>
            <a:chOff x="533400" y="863278"/>
            <a:chExt cx="3661672" cy="1776614"/>
          </a:xfrm>
        </p:grpSpPr>
        <p:grpSp>
          <p:nvGrpSpPr>
            <p:cNvPr id="65" name="Graphic 1">
              <a:extLst>
                <a:ext uri="{FF2B5EF4-FFF2-40B4-BE49-F238E27FC236}">
                  <a16:creationId xmlns:a16="http://schemas.microsoft.com/office/drawing/2014/main" id="{9F949C8F-0EE6-46C0-969F-115929BA4224}"/>
                </a:ext>
              </a:extLst>
            </p:cNvPr>
            <p:cNvGrpSpPr/>
            <p:nvPr/>
          </p:nvGrpSpPr>
          <p:grpSpPr>
            <a:xfrm>
              <a:off x="1224052" y="863278"/>
              <a:ext cx="1776209" cy="1776614"/>
              <a:chOff x="3453884" y="801171"/>
              <a:chExt cx="2092880" cy="2093357"/>
            </a:xfrm>
            <a:solidFill>
              <a:srgbClr val="6CBD4B"/>
            </a:solidFill>
          </p:grpSpPr>
          <p:sp>
            <p:nvSpPr>
              <p:cNvPr id="66" name="Freeform: Shape 65">
                <a:extLst>
                  <a:ext uri="{FF2B5EF4-FFF2-40B4-BE49-F238E27FC236}">
                    <a16:creationId xmlns:a16="http://schemas.microsoft.com/office/drawing/2014/main" id="{157FF60D-BDA9-4F0B-8C42-8EF029A0ED72}"/>
                  </a:ext>
                </a:extLst>
              </p:cNvPr>
              <p:cNvSpPr/>
              <p:nvPr/>
            </p:nvSpPr>
            <p:spPr>
              <a:xfrm>
                <a:off x="4134921" y="1482623"/>
                <a:ext cx="1350882" cy="1350944"/>
              </a:xfrm>
              <a:custGeom>
                <a:avLst/>
                <a:gdLst>
                  <a:gd name="connsiteX0" fmla="*/ 1324332 w 1350882"/>
                  <a:gd name="connsiteY0" fmla="*/ 4229 h 1350944"/>
                  <a:gd name="connsiteX1" fmla="*/ 4643 w 1350882"/>
                  <a:gd name="connsiteY1" fmla="*/ 1324394 h 1350944"/>
                  <a:gd name="connsiteX2" fmla="*/ 4643 w 1350882"/>
                  <a:gd name="connsiteY2" fmla="*/ 1346301 h 1350944"/>
                  <a:gd name="connsiteX3" fmla="*/ 26551 w 1350882"/>
                  <a:gd name="connsiteY3" fmla="*/ 1346301 h 1350944"/>
                  <a:gd name="connsiteX4" fmla="*/ 1346240 w 1350882"/>
                  <a:gd name="connsiteY4" fmla="*/ 26612 h 1350944"/>
                  <a:gd name="connsiteX5" fmla="*/ 1346240 w 1350882"/>
                  <a:gd name="connsiteY5" fmla="*/ 4705 h 1350944"/>
                  <a:gd name="connsiteX6" fmla="*/ 1324332 w 1350882"/>
                  <a:gd name="connsiteY6" fmla="*/ 4229 h 135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2" h="1350944">
                    <a:moveTo>
                      <a:pt x="1324332" y="4229"/>
                    </a:moveTo>
                    <a:lnTo>
                      <a:pt x="4643" y="1324394"/>
                    </a:lnTo>
                    <a:cubicBezTo>
                      <a:pt x="-1548" y="1330585"/>
                      <a:pt x="-1548" y="1340110"/>
                      <a:pt x="4643" y="1346301"/>
                    </a:cubicBezTo>
                    <a:cubicBezTo>
                      <a:pt x="10835" y="1352492"/>
                      <a:pt x="20360" y="1352492"/>
                      <a:pt x="26551" y="1346301"/>
                    </a:cubicBezTo>
                    <a:lnTo>
                      <a:pt x="1346240" y="26612"/>
                    </a:lnTo>
                    <a:cubicBezTo>
                      <a:pt x="1352431" y="20421"/>
                      <a:pt x="1352431" y="10896"/>
                      <a:pt x="1346240" y="4705"/>
                    </a:cubicBezTo>
                    <a:cubicBezTo>
                      <a:pt x="1340048" y="-1486"/>
                      <a:pt x="1330523" y="-1486"/>
                      <a:pt x="1324332" y="4229"/>
                    </a:cubicBezTo>
                    <a:close/>
                  </a:path>
                </a:pathLst>
              </a:custGeom>
              <a:solidFill>
                <a:srgbClr val="6CBD4B"/>
              </a:solidFill>
              <a:ln w="4763"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4A9F29EC-CA0F-49D2-AA8B-8583418E1486}"/>
                  </a:ext>
                </a:extLst>
              </p:cNvPr>
              <p:cNvSpPr/>
              <p:nvPr/>
            </p:nvSpPr>
            <p:spPr>
              <a:xfrm>
                <a:off x="4037766" y="1385411"/>
                <a:ext cx="1407556" cy="1407199"/>
              </a:xfrm>
              <a:custGeom>
                <a:avLst/>
                <a:gdLst>
                  <a:gd name="connsiteX0" fmla="*/ 1381006 w 1407556"/>
                  <a:gd name="connsiteY0" fmla="*/ 4286 h 1407199"/>
                  <a:gd name="connsiteX1" fmla="*/ 4643 w 1407556"/>
                  <a:gd name="connsiteY1" fmla="*/ 1380649 h 1407199"/>
                  <a:gd name="connsiteX2" fmla="*/ 4643 w 1407556"/>
                  <a:gd name="connsiteY2" fmla="*/ 1402556 h 1407199"/>
                  <a:gd name="connsiteX3" fmla="*/ 26551 w 1407556"/>
                  <a:gd name="connsiteY3" fmla="*/ 1402556 h 1407199"/>
                  <a:gd name="connsiteX4" fmla="*/ 1402914 w 1407556"/>
                  <a:gd name="connsiteY4" fmla="*/ 26194 h 1407199"/>
                  <a:gd name="connsiteX5" fmla="*/ 1402914 w 1407556"/>
                  <a:gd name="connsiteY5" fmla="*/ 4286 h 1407199"/>
                  <a:gd name="connsiteX6" fmla="*/ 1381006 w 1407556"/>
                  <a:gd name="connsiteY6" fmla="*/ 4286 h 140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199">
                    <a:moveTo>
                      <a:pt x="1381006" y="4286"/>
                    </a:moveTo>
                    <a:lnTo>
                      <a:pt x="4643" y="1380649"/>
                    </a:lnTo>
                    <a:cubicBezTo>
                      <a:pt x="-1548" y="1386840"/>
                      <a:pt x="-1548" y="1396365"/>
                      <a:pt x="4643" y="1402556"/>
                    </a:cubicBezTo>
                    <a:cubicBezTo>
                      <a:pt x="10835" y="1408748"/>
                      <a:pt x="20360" y="1408748"/>
                      <a:pt x="26551" y="1402556"/>
                    </a:cubicBezTo>
                    <a:lnTo>
                      <a:pt x="1402914" y="26194"/>
                    </a:lnTo>
                    <a:cubicBezTo>
                      <a:pt x="1409105" y="20003"/>
                      <a:pt x="1409105" y="10478"/>
                      <a:pt x="1402914" y="4286"/>
                    </a:cubicBezTo>
                    <a:cubicBezTo>
                      <a:pt x="1396722" y="-1429"/>
                      <a:pt x="1386721" y="-1429"/>
                      <a:pt x="1381006" y="4286"/>
                    </a:cubicBezTo>
                    <a:close/>
                  </a:path>
                </a:pathLst>
              </a:custGeom>
              <a:solidFill>
                <a:srgbClr val="6CBD4B"/>
              </a:solidFill>
              <a:ln w="4763"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147B02C9-3DDD-4B79-836C-80D7A75BC6FF}"/>
                  </a:ext>
                </a:extLst>
              </p:cNvPr>
              <p:cNvSpPr/>
              <p:nvPr/>
            </p:nvSpPr>
            <p:spPr>
              <a:xfrm>
                <a:off x="3948707" y="1295995"/>
                <a:ext cx="1448038" cy="1448038"/>
              </a:xfrm>
              <a:custGeom>
                <a:avLst/>
                <a:gdLst>
                  <a:gd name="connsiteX0" fmla="*/ 1421487 w 1448038"/>
                  <a:gd name="connsiteY0" fmla="*/ 4644 h 1448038"/>
                  <a:gd name="connsiteX1" fmla="*/ 4643 w 1448038"/>
                  <a:gd name="connsiteY1" fmla="*/ 1421487 h 1448038"/>
                  <a:gd name="connsiteX2" fmla="*/ 4643 w 1448038"/>
                  <a:gd name="connsiteY2" fmla="*/ 1443395 h 1448038"/>
                  <a:gd name="connsiteX3" fmla="*/ 26551 w 1448038"/>
                  <a:gd name="connsiteY3" fmla="*/ 1443395 h 1448038"/>
                  <a:gd name="connsiteX4" fmla="*/ 1443395 w 1448038"/>
                  <a:gd name="connsiteY4" fmla="*/ 26551 h 1448038"/>
                  <a:gd name="connsiteX5" fmla="*/ 1443395 w 1448038"/>
                  <a:gd name="connsiteY5" fmla="*/ 4644 h 1448038"/>
                  <a:gd name="connsiteX6" fmla="*/ 1421487 w 1448038"/>
                  <a:gd name="connsiteY6" fmla="*/ 4644 h 1448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8" h="1448038">
                    <a:moveTo>
                      <a:pt x="1421487" y="4644"/>
                    </a:moveTo>
                    <a:lnTo>
                      <a:pt x="4643" y="1421487"/>
                    </a:lnTo>
                    <a:cubicBezTo>
                      <a:pt x="-1548" y="1427679"/>
                      <a:pt x="-1548" y="1437204"/>
                      <a:pt x="4643" y="1443395"/>
                    </a:cubicBezTo>
                    <a:cubicBezTo>
                      <a:pt x="10835" y="1449586"/>
                      <a:pt x="20360" y="1449586"/>
                      <a:pt x="26551" y="1443395"/>
                    </a:cubicBezTo>
                    <a:lnTo>
                      <a:pt x="1443395" y="26551"/>
                    </a:lnTo>
                    <a:cubicBezTo>
                      <a:pt x="1449586" y="20360"/>
                      <a:pt x="1449586" y="10835"/>
                      <a:pt x="1443395" y="4644"/>
                    </a:cubicBezTo>
                    <a:cubicBezTo>
                      <a:pt x="1437204" y="-1548"/>
                      <a:pt x="1427203" y="-1548"/>
                      <a:pt x="1421487" y="4644"/>
                    </a:cubicBezTo>
                    <a:close/>
                  </a:path>
                </a:pathLst>
              </a:custGeom>
              <a:solidFill>
                <a:srgbClr val="6CBD4B"/>
              </a:solidFill>
              <a:ln w="4763"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C260188C-109C-4D34-9762-986A600CFAAE}"/>
                  </a:ext>
                </a:extLst>
              </p:cNvPr>
              <p:cNvSpPr/>
              <p:nvPr/>
            </p:nvSpPr>
            <p:spPr>
              <a:xfrm>
                <a:off x="4240649" y="1588351"/>
                <a:ext cx="1277064" cy="1276649"/>
              </a:xfrm>
              <a:custGeom>
                <a:avLst/>
                <a:gdLst>
                  <a:gd name="connsiteX0" fmla="*/ 1250514 w 1277064"/>
                  <a:gd name="connsiteY0" fmla="*/ 4705 h 1276649"/>
                  <a:gd name="connsiteX1" fmla="*/ 4644 w 1277064"/>
                  <a:gd name="connsiteY1" fmla="*/ 1250099 h 1276649"/>
                  <a:gd name="connsiteX2" fmla="*/ 4644 w 1277064"/>
                  <a:gd name="connsiteY2" fmla="*/ 1272006 h 1276649"/>
                  <a:gd name="connsiteX3" fmla="*/ 26551 w 1277064"/>
                  <a:gd name="connsiteY3" fmla="*/ 1272006 h 1276649"/>
                  <a:gd name="connsiteX4" fmla="*/ 1272421 w 1277064"/>
                  <a:gd name="connsiteY4" fmla="*/ 26136 h 1276649"/>
                  <a:gd name="connsiteX5" fmla="*/ 1272421 w 1277064"/>
                  <a:gd name="connsiteY5" fmla="*/ 4228 h 1276649"/>
                  <a:gd name="connsiteX6" fmla="*/ 1250514 w 1277064"/>
                  <a:gd name="connsiteY6" fmla="*/ 4705 h 127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6649">
                    <a:moveTo>
                      <a:pt x="1250514" y="4705"/>
                    </a:moveTo>
                    <a:lnTo>
                      <a:pt x="4644" y="1250099"/>
                    </a:lnTo>
                    <a:cubicBezTo>
                      <a:pt x="-1548" y="1256290"/>
                      <a:pt x="-1548" y="1265815"/>
                      <a:pt x="4644" y="1272006"/>
                    </a:cubicBezTo>
                    <a:cubicBezTo>
                      <a:pt x="10835" y="1278197"/>
                      <a:pt x="20360" y="1278197"/>
                      <a:pt x="26551" y="1272006"/>
                    </a:cubicBezTo>
                    <a:lnTo>
                      <a:pt x="1272421" y="26136"/>
                    </a:lnTo>
                    <a:cubicBezTo>
                      <a:pt x="1278612" y="19945"/>
                      <a:pt x="1278612" y="10420"/>
                      <a:pt x="1272421" y="4228"/>
                    </a:cubicBezTo>
                    <a:cubicBezTo>
                      <a:pt x="1266230" y="-1486"/>
                      <a:pt x="1256705" y="-1486"/>
                      <a:pt x="1250514" y="4705"/>
                    </a:cubicBezTo>
                    <a:close/>
                  </a:path>
                </a:pathLst>
              </a:custGeom>
              <a:solidFill>
                <a:srgbClr val="6CBD4B"/>
              </a:solidFill>
              <a:ln w="4763"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38774AF3-4BBE-49C8-BD06-FC74ADF11A6D}"/>
                  </a:ext>
                </a:extLst>
              </p:cNvPr>
              <p:cNvSpPr/>
              <p:nvPr/>
            </p:nvSpPr>
            <p:spPr>
              <a:xfrm>
                <a:off x="5116949" y="2464593"/>
                <a:ext cx="213598" cy="213240"/>
              </a:xfrm>
              <a:custGeom>
                <a:avLst/>
                <a:gdLst>
                  <a:gd name="connsiteX0" fmla="*/ 187047 w 213598"/>
                  <a:gd name="connsiteY0" fmla="*/ 4286 h 213240"/>
                  <a:gd name="connsiteX1" fmla="*/ 4644 w 213598"/>
                  <a:gd name="connsiteY1" fmla="*/ 186690 h 213240"/>
                  <a:gd name="connsiteX2" fmla="*/ 4644 w 213598"/>
                  <a:gd name="connsiteY2" fmla="*/ 208597 h 213240"/>
                  <a:gd name="connsiteX3" fmla="*/ 26551 w 213598"/>
                  <a:gd name="connsiteY3" fmla="*/ 208597 h 213240"/>
                  <a:gd name="connsiteX4" fmla="*/ 208955 w 213598"/>
                  <a:gd name="connsiteY4" fmla="*/ 26194 h 213240"/>
                  <a:gd name="connsiteX5" fmla="*/ 208955 w 213598"/>
                  <a:gd name="connsiteY5" fmla="*/ 4286 h 213240"/>
                  <a:gd name="connsiteX6" fmla="*/ 187047 w 213598"/>
                  <a:gd name="connsiteY6" fmla="*/ 4286 h 21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240">
                    <a:moveTo>
                      <a:pt x="187047" y="4286"/>
                    </a:moveTo>
                    <a:lnTo>
                      <a:pt x="4644" y="186690"/>
                    </a:lnTo>
                    <a:cubicBezTo>
                      <a:pt x="-1548" y="192881"/>
                      <a:pt x="-1548" y="202406"/>
                      <a:pt x="4644" y="208597"/>
                    </a:cubicBezTo>
                    <a:cubicBezTo>
                      <a:pt x="10835" y="214789"/>
                      <a:pt x="20360" y="214789"/>
                      <a:pt x="26551" y="208597"/>
                    </a:cubicBezTo>
                    <a:lnTo>
                      <a:pt x="208955" y="26194"/>
                    </a:lnTo>
                    <a:cubicBezTo>
                      <a:pt x="215146" y="20002"/>
                      <a:pt x="215146" y="10477"/>
                      <a:pt x="208955" y="4286"/>
                    </a:cubicBezTo>
                    <a:cubicBezTo>
                      <a:pt x="202764" y="-1429"/>
                      <a:pt x="192762" y="-1429"/>
                      <a:pt x="187047" y="4286"/>
                    </a:cubicBezTo>
                    <a:close/>
                  </a:path>
                </a:pathLst>
              </a:custGeom>
              <a:solidFill>
                <a:srgbClr val="6CBD4B"/>
              </a:solidFill>
              <a:ln w="4763"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E324B5B7-3C3B-48FC-B938-AF06476064DE}"/>
                  </a:ext>
                </a:extLst>
              </p:cNvPr>
              <p:cNvSpPr/>
              <p:nvPr/>
            </p:nvSpPr>
            <p:spPr>
              <a:xfrm>
                <a:off x="4817387" y="2165508"/>
                <a:ext cx="674131" cy="673774"/>
              </a:xfrm>
              <a:custGeom>
                <a:avLst/>
                <a:gdLst>
                  <a:gd name="connsiteX0" fmla="*/ 647581 w 674131"/>
                  <a:gd name="connsiteY0" fmla="*/ 4286 h 673774"/>
                  <a:gd name="connsiteX1" fmla="*/ 4643 w 674131"/>
                  <a:gd name="connsiteY1" fmla="*/ 647224 h 673774"/>
                  <a:gd name="connsiteX2" fmla="*/ 4643 w 674131"/>
                  <a:gd name="connsiteY2" fmla="*/ 669131 h 673774"/>
                  <a:gd name="connsiteX3" fmla="*/ 26551 w 674131"/>
                  <a:gd name="connsiteY3" fmla="*/ 669131 h 673774"/>
                  <a:gd name="connsiteX4" fmla="*/ 669488 w 674131"/>
                  <a:gd name="connsiteY4" fmla="*/ 26194 h 673774"/>
                  <a:gd name="connsiteX5" fmla="*/ 669488 w 674131"/>
                  <a:gd name="connsiteY5" fmla="*/ 4286 h 673774"/>
                  <a:gd name="connsiteX6" fmla="*/ 647581 w 674131"/>
                  <a:gd name="connsiteY6" fmla="*/ 4286 h 67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774">
                    <a:moveTo>
                      <a:pt x="647581" y="4286"/>
                    </a:moveTo>
                    <a:lnTo>
                      <a:pt x="4643" y="647224"/>
                    </a:lnTo>
                    <a:cubicBezTo>
                      <a:pt x="-1548" y="653415"/>
                      <a:pt x="-1548" y="662940"/>
                      <a:pt x="4643" y="669131"/>
                    </a:cubicBezTo>
                    <a:cubicBezTo>
                      <a:pt x="10835" y="675323"/>
                      <a:pt x="20360" y="675323"/>
                      <a:pt x="26551" y="669131"/>
                    </a:cubicBezTo>
                    <a:lnTo>
                      <a:pt x="669488" y="26194"/>
                    </a:lnTo>
                    <a:cubicBezTo>
                      <a:pt x="675680" y="20002"/>
                      <a:pt x="675680" y="10477"/>
                      <a:pt x="669488" y="4286"/>
                    </a:cubicBezTo>
                    <a:cubicBezTo>
                      <a:pt x="663774" y="-1429"/>
                      <a:pt x="653772" y="-1429"/>
                      <a:pt x="647581" y="4286"/>
                    </a:cubicBezTo>
                    <a:close/>
                  </a:path>
                </a:pathLst>
              </a:custGeom>
              <a:solidFill>
                <a:srgbClr val="6CBD4B"/>
              </a:solidFill>
              <a:ln w="4763"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B6799E8C-A70F-4A2D-B58B-B9426B8512AD}"/>
                  </a:ext>
                </a:extLst>
              </p:cNvPr>
              <p:cNvSpPr/>
              <p:nvPr/>
            </p:nvSpPr>
            <p:spPr>
              <a:xfrm>
                <a:off x="4357330" y="1704975"/>
                <a:ext cx="1181338" cy="1181457"/>
              </a:xfrm>
              <a:custGeom>
                <a:avLst/>
                <a:gdLst>
                  <a:gd name="connsiteX0" fmla="*/ 1155264 w 1181338"/>
                  <a:gd name="connsiteY0" fmla="*/ 4286 h 1181457"/>
                  <a:gd name="connsiteX1" fmla="*/ 4644 w 1181338"/>
                  <a:gd name="connsiteY1" fmla="*/ 1154906 h 1181457"/>
                  <a:gd name="connsiteX2" fmla="*/ 4644 w 1181338"/>
                  <a:gd name="connsiteY2" fmla="*/ 1176814 h 1181457"/>
                  <a:gd name="connsiteX3" fmla="*/ 26551 w 1181338"/>
                  <a:gd name="connsiteY3" fmla="*/ 1176814 h 1181457"/>
                  <a:gd name="connsiteX4" fmla="*/ 1176695 w 1181338"/>
                  <a:gd name="connsiteY4" fmla="*/ 26194 h 1181457"/>
                  <a:gd name="connsiteX5" fmla="*/ 1176695 w 1181338"/>
                  <a:gd name="connsiteY5" fmla="*/ 4286 h 1181457"/>
                  <a:gd name="connsiteX6" fmla="*/ 1155264 w 1181338"/>
                  <a:gd name="connsiteY6" fmla="*/ 4286 h 118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338" h="1181457">
                    <a:moveTo>
                      <a:pt x="1155264" y="4286"/>
                    </a:moveTo>
                    <a:lnTo>
                      <a:pt x="4644" y="1154906"/>
                    </a:lnTo>
                    <a:cubicBezTo>
                      <a:pt x="-1548" y="1161097"/>
                      <a:pt x="-1548" y="1170622"/>
                      <a:pt x="4644" y="1176814"/>
                    </a:cubicBezTo>
                    <a:cubicBezTo>
                      <a:pt x="10835" y="1183005"/>
                      <a:pt x="20360" y="1183005"/>
                      <a:pt x="26551" y="1176814"/>
                    </a:cubicBezTo>
                    <a:lnTo>
                      <a:pt x="1176695" y="26194"/>
                    </a:lnTo>
                    <a:cubicBezTo>
                      <a:pt x="1182886" y="20003"/>
                      <a:pt x="1182886" y="10478"/>
                      <a:pt x="1176695" y="4286"/>
                    </a:cubicBezTo>
                    <a:cubicBezTo>
                      <a:pt x="1170980" y="-1429"/>
                      <a:pt x="1160978" y="-1429"/>
                      <a:pt x="1155264" y="4286"/>
                    </a:cubicBezTo>
                    <a:close/>
                  </a:path>
                </a:pathLst>
              </a:custGeom>
              <a:solidFill>
                <a:srgbClr val="6CBD4B"/>
              </a:solidFill>
              <a:ln w="4763"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FCE61F94-F494-4545-ABD5-010B62B2B237}"/>
                  </a:ext>
                </a:extLst>
              </p:cNvPr>
              <p:cNvSpPr/>
              <p:nvPr/>
            </p:nvSpPr>
            <p:spPr>
              <a:xfrm>
                <a:off x="4635936" y="1983639"/>
                <a:ext cx="899874" cy="899459"/>
              </a:xfrm>
              <a:custGeom>
                <a:avLst/>
                <a:gdLst>
                  <a:gd name="connsiteX0" fmla="*/ 873324 w 899874"/>
                  <a:gd name="connsiteY0" fmla="*/ 4705 h 899459"/>
                  <a:gd name="connsiteX1" fmla="*/ 4644 w 899874"/>
                  <a:gd name="connsiteY1" fmla="*/ 872908 h 899459"/>
                  <a:gd name="connsiteX2" fmla="*/ 4644 w 899874"/>
                  <a:gd name="connsiteY2" fmla="*/ 894816 h 899459"/>
                  <a:gd name="connsiteX3" fmla="*/ 26551 w 899874"/>
                  <a:gd name="connsiteY3" fmla="*/ 894816 h 899459"/>
                  <a:gd name="connsiteX4" fmla="*/ 895231 w 899874"/>
                  <a:gd name="connsiteY4" fmla="*/ 26136 h 899459"/>
                  <a:gd name="connsiteX5" fmla="*/ 895231 w 899874"/>
                  <a:gd name="connsiteY5" fmla="*/ 4228 h 899459"/>
                  <a:gd name="connsiteX6" fmla="*/ 873324 w 899874"/>
                  <a:gd name="connsiteY6" fmla="*/ 4705 h 899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459">
                    <a:moveTo>
                      <a:pt x="873324" y="4705"/>
                    </a:moveTo>
                    <a:lnTo>
                      <a:pt x="4644" y="872908"/>
                    </a:lnTo>
                    <a:cubicBezTo>
                      <a:pt x="-1548" y="879100"/>
                      <a:pt x="-1548" y="888625"/>
                      <a:pt x="4644" y="894816"/>
                    </a:cubicBezTo>
                    <a:cubicBezTo>
                      <a:pt x="10835" y="901007"/>
                      <a:pt x="20360" y="901007"/>
                      <a:pt x="26551" y="894816"/>
                    </a:cubicBezTo>
                    <a:lnTo>
                      <a:pt x="895231" y="26136"/>
                    </a:lnTo>
                    <a:cubicBezTo>
                      <a:pt x="901422" y="19945"/>
                      <a:pt x="901422" y="10420"/>
                      <a:pt x="895231" y="4228"/>
                    </a:cubicBezTo>
                    <a:cubicBezTo>
                      <a:pt x="889040" y="-1486"/>
                      <a:pt x="879039" y="-1486"/>
                      <a:pt x="873324" y="4705"/>
                    </a:cubicBezTo>
                    <a:close/>
                  </a:path>
                </a:pathLst>
              </a:custGeom>
              <a:solidFill>
                <a:srgbClr val="6CBD4B"/>
              </a:solidFill>
              <a:ln w="4763"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8BD8765A-189A-41EA-80D3-6F71865F2504}"/>
                  </a:ext>
                </a:extLst>
              </p:cNvPr>
              <p:cNvSpPr/>
              <p:nvPr/>
            </p:nvSpPr>
            <p:spPr>
              <a:xfrm>
                <a:off x="4486870" y="1834634"/>
                <a:ext cx="1059894" cy="1059894"/>
              </a:xfrm>
              <a:custGeom>
                <a:avLst/>
                <a:gdLst>
                  <a:gd name="connsiteX0" fmla="*/ 1033343 w 1059894"/>
                  <a:gd name="connsiteY0" fmla="*/ 4644 h 1059894"/>
                  <a:gd name="connsiteX1" fmla="*/ 4643 w 1059894"/>
                  <a:gd name="connsiteY1" fmla="*/ 1033344 h 1059894"/>
                  <a:gd name="connsiteX2" fmla="*/ 4643 w 1059894"/>
                  <a:gd name="connsiteY2" fmla="*/ 1055251 h 1059894"/>
                  <a:gd name="connsiteX3" fmla="*/ 26551 w 1059894"/>
                  <a:gd name="connsiteY3" fmla="*/ 1055251 h 1059894"/>
                  <a:gd name="connsiteX4" fmla="*/ 1055251 w 1059894"/>
                  <a:gd name="connsiteY4" fmla="*/ 26551 h 1059894"/>
                  <a:gd name="connsiteX5" fmla="*/ 1055251 w 1059894"/>
                  <a:gd name="connsiteY5" fmla="*/ 4644 h 1059894"/>
                  <a:gd name="connsiteX6" fmla="*/ 1033343 w 1059894"/>
                  <a:gd name="connsiteY6" fmla="*/ 4644 h 105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894">
                    <a:moveTo>
                      <a:pt x="1033343" y="4644"/>
                    </a:moveTo>
                    <a:lnTo>
                      <a:pt x="4643" y="1033344"/>
                    </a:lnTo>
                    <a:cubicBezTo>
                      <a:pt x="-1548" y="1039535"/>
                      <a:pt x="-1548" y="1049060"/>
                      <a:pt x="4643" y="1055251"/>
                    </a:cubicBezTo>
                    <a:cubicBezTo>
                      <a:pt x="10835" y="1061442"/>
                      <a:pt x="20360" y="1061442"/>
                      <a:pt x="26551" y="1055251"/>
                    </a:cubicBezTo>
                    <a:lnTo>
                      <a:pt x="1055251" y="26551"/>
                    </a:lnTo>
                    <a:cubicBezTo>
                      <a:pt x="1061442" y="20360"/>
                      <a:pt x="1061442" y="10835"/>
                      <a:pt x="1055251" y="4644"/>
                    </a:cubicBezTo>
                    <a:cubicBezTo>
                      <a:pt x="1049060" y="-1548"/>
                      <a:pt x="1039535" y="-1548"/>
                      <a:pt x="1033343" y="4644"/>
                    </a:cubicBezTo>
                    <a:close/>
                  </a:path>
                </a:pathLst>
              </a:custGeom>
              <a:solidFill>
                <a:srgbClr val="6CBD4B"/>
              </a:solidFill>
              <a:ln w="4763"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C1CFFB70-A513-43DF-B790-BED0C3DB877B}"/>
                  </a:ext>
                </a:extLst>
              </p:cNvPr>
              <p:cNvSpPr/>
              <p:nvPr/>
            </p:nvSpPr>
            <p:spPr>
              <a:xfrm>
                <a:off x="3866316" y="1214019"/>
                <a:ext cx="1474708" cy="1474293"/>
              </a:xfrm>
              <a:custGeom>
                <a:avLst/>
                <a:gdLst>
                  <a:gd name="connsiteX0" fmla="*/ 1448157 w 1474708"/>
                  <a:gd name="connsiteY0" fmla="*/ 4705 h 1474293"/>
                  <a:gd name="connsiteX1" fmla="*/ 4643 w 1474708"/>
                  <a:gd name="connsiteY1" fmla="*/ 1447742 h 1474293"/>
                  <a:gd name="connsiteX2" fmla="*/ 4643 w 1474708"/>
                  <a:gd name="connsiteY2" fmla="*/ 1469650 h 1474293"/>
                  <a:gd name="connsiteX3" fmla="*/ 26551 w 1474708"/>
                  <a:gd name="connsiteY3" fmla="*/ 1469650 h 1474293"/>
                  <a:gd name="connsiteX4" fmla="*/ 1470065 w 1474708"/>
                  <a:gd name="connsiteY4" fmla="*/ 26136 h 1474293"/>
                  <a:gd name="connsiteX5" fmla="*/ 1470065 w 1474708"/>
                  <a:gd name="connsiteY5" fmla="*/ 4228 h 1474293"/>
                  <a:gd name="connsiteX6" fmla="*/ 1448157 w 1474708"/>
                  <a:gd name="connsiteY6" fmla="*/ 4705 h 147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293">
                    <a:moveTo>
                      <a:pt x="1448157" y="4705"/>
                    </a:moveTo>
                    <a:lnTo>
                      <a:pt x="4643" y="1447742"/>
                    </a:lnTo>
                    <a:cubicBezTo>
                      <a:pt x="-1548" y="1453934"/>
                      <a:pt x="-1548" y="1463459"/>
                      <a:pt x="4643" y="1469650"/>
                    </a:cubicBezTo>
                    <a:cubicBezTo>
                      <a:pt x="10835" y="1475841"/>
                      <a:pt x="20360" y="1475841"/>
                      <a:pt x="26551" y="1469650"/>
                    </a:cubicBezTo>
                    <a:lnTo>
                      <a:pt x="1470065" y="26136"/>
                    </a:lnTo>
                    <a:cubicBezTo>
                      <a:pt x="1476256" y="19945"/>
                      <a:pt x="1476256" y="10420"/>
                      <a:pt x="1470065" y="4228"/>
                    </a:cubicBezTo>
                    <a:cubicBezTo>
                      <a:pt x="1463873" y="-1486"/>
                      <a:pt x="1453872" y="-1486"/>
                      <a:pt x="1448157" y="4705"/>
                    </a:cubicBezTo>
                    <a:close/>
                  </a:path>
                </a:pathLst>
              </a:custGeom>
              <a:solidFill>
                <a:srgbClr val="6CBD4B"/>
              </a:solidFill>
              <a:ln w="4763"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2B4C1CFF-44F1-48F0-8C2D-755794FACEFF}"/>
                  </a:ext>
                </a:extLst>
              </p:cNvPr>
              <p:cNvSpPr/>
              <p:nvPr/>
            </p:nvSpPr>
            <p:spPr>
              <a:xfrm>
                <a:off x="3791069" y="1138771"/>
                <a:ext cx="1487566" cy="1487152"/>
              </a:xfrm>
              <a:custGeom>
                <a:avLst/>
                <a:gdLst>
                  <a:gd name="connsiteX0" fmla="*/ 1461016 w 1487566"/>
                  <a:gd name="connsiteY0" fmla="*/ 4705 h 1487152"/>
                  <a:gd name="connsiteX1" fmla="*/ 4643 w 1487566"/>
                  <a:gd name="connsiteY1" fmla="*/ 1460601 h 1487152"/>
                  <a:gd name="connsiteX2" fmla="*/ 4643 w 1487566"/>
                  <a:gd name="connsiteY2" fmla="*/ 1482509 h 1487152"/>
                  <a:gd name="connsiteX3" fmla="*/ 26551 w 1487566"/>
                  <a:gd name="connsiteY3" fmla="*/ 1482509 h 1487152"/>
                  <a:gd name="connsiteX4" fmla="*/ 1482924 w 1487566"/>
                  <a:gd name="connsiteY4" fmla="*/ 26136 h 1487152"/>
                  <a:gd name="connsiteX5" fmla="*/ 1482924 w 1487566"/>
                  <a:gd name="connsiteY5" fmla="*/ 4228 h 1487152"/>
                  <a:gd name="connsiteX6" fmla="*/ 1461016 w 1487566"/>
                  <a:gd name="connsiteY6" fmla="*/ 4705 h 148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152">
                    <a:moveTo>
                      <a:pt x="1461016" y="4705"/>
                    </a:moveTo>
                    <a:lnTo>
                      <a:pt x="4643" y="1460601"/>
                    </a:lnTo>
                    <a:cubicBezTo>
                      <a:pt x="-1548" y="1466792"/>
                      <a:pt x="-1548" y="1476317"/>
                      <a:pt x="4643" y="1482509"/>
                    </a:cubicBezTo>
                    <a:cubicBezTo>
                      <a:pt x="10835" y="1488700"/>
                      <a:pt x="20360" y="1488700"/>
                      <a:pt x="26551" y="1482509"/>
                    </a:cubicBezTo>
                    <a:lnTo>
                      <a:pt x="1482924" y="26136"/>
                    </a:lnTo>
                    <a:cubicBezTo>
                      <a:pt x="1489114" y="19945"/>
                      <a:pt x="1489114" y="10420"/>
                      <a:pt x="1482924" y="4228"/>
                    </a:cubicBezTo>
                    <a:cubicBezTo>
                      <a:pt x="1476732" y="-1486"/>
                      <a:pt x="1466731" y="-1486"/>
                      <a:pt x="1461016" y="4705"/>
                    </a:cubicBezTo>
                    <a:close/>
                  </a:path>
                </a:pathLst>
              </a:custGeom>
              <a:solidFill>
                <a:srgbClr val="6CBD4B"/>
              </a:solidFill>
              <a:ln w="4763"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C9AD1C55-5326-4DCE-AA13-0AC5289F4A02}"/>
                  </a:ext>
                </a:extLst>
              </p:cNvPr>
              <p:cNvSpPr/>
              <p:nvPr/>
            </p:nvSpPr>
            <p:spPr>
              <a:xfrm>
                <a:off x="3508652" y="856416"/>
                <a:ext cx="674131" cy="673955"/>
              </a:xfrm>
              <a:custGeom>
                <a:avLst/>
                <a:gdLst>
                  <a:gd name="connsiteX0" fmla="*/ 26551 w 674131"/>
                  <a:gd name="connsiteY0" fmla="*/ 669488 h 673955"/>
                  <a:gd name="connsiteX1" fmla="*/ 669488 w 674131"/>
                  <a:gd name="connsiteY1" fmla="*/ 26551 h 673955"/>
                  <a:gd name="connsiteX2" fmla="*/ 669488 w 674131"/>
                  <a:gd name="connsiteY2" fmla="*/ 4643 h 673955"/>
                  <a:gd name="connsiteX3" fmla="*/ 647581 w 674131"/>
                  <a:gd name="connsiteY3" fmla="*/ 4643 h 673955"/>
                  <a:gd name="connsiteX4" fmla="*/ 4643 w 674131"/>
                  <a:gd name="connsiteY4" fmla="*/ 647581 h 673955"/>
                  <a:gd name="connsiteX5" fmla="*/ 4643 w 674131"/>
                  <a:gd name="connsiteY5" fmla="*/ 669488 h 673955"/>
                  <a:gd name="connsiteX6" fmla="*/ 26551 w 674131"/>
                  <a:gd name="connsiteY6" fmla="*/ 669488 h 67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955">
                    <a:moveTo>
                      <a:pt x="26551" y="669488"/>
                    </a:moveTo>
                    <a:lnTo>
                      <a:pt x="669488" y="26551"/>
                    </a:lnTo>
                    <a:cubicBezTo>
                      <a:pt x="675680" y="20360"/>
                      <a:pt x="675680" y="10835"/>
                      <a:pt x="669488" y="4643"/>
                    </a:cubicBezTo>
                    <a:cubicBezTo>
                      <a:pt x="663297" y="-1548"/>
                      <a:pt x="653772" y="-1548"/>
                      <a:pt x="647581" y="4643"/>
                    </a:cubicBezTo>
                    <a:lnTo>
                      <a:pt x="4643" y="647581"/>
                    </a:lnTo>
                    <a:cubicBezTo>
                      <a:pt x="-1548" y="653772"/>
                      <a:pt x="-1548" y="663297"/>
                      <a:pt x="4643" y="669488"/>
                    </a:cubicBezTo>
                    <a:cubicBezTo>
                      <a:pt x="10835" y="675680"/>
                      <a:pt x="20836" y="675203"/>
                      <a:pt x="26551" y="669488"/>
                    </a:cubicBezTo>
                    <a:close/>
                  </a:path>
                </a:pathLst>
              </a:custGeom>
              <a:solidFill>
                <a:srgbClr val="6CBD4B"/>
              </a:solidFill>
              <a:ln w="4763"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BFAB6680-B163-41CD-AE40-7B2BEDFAA870}"/>
                  </a:ext>
                </a:extLst>
              </p:cNvPr>
              <p:cNvSpPr/>
              <p:nvPr/>
            </p:nvSpPr>
            <p:spPr>
              <a:xfrm>
                <a:off x="3670101" y="1017865"/>
                <a:ext cx="213598" cy="213421"/>
              </a:xfrm>
              <a:custGeom>
                <a:avLst/>
                <a:gdLst>
                  <a:gd name="connsiteX0" fmla="*/ 26551 w 213598"/>
                  <a:gd name="connsiteY0" fmla="*/ 208955 h 213421"/>
                  <a:gd name="connsiteX1" fmla="*/ 208955 w 213598"/>
                  <a:gd name="connsiteY1" fmla="*/ 26551 h 213421"/>
                  <a:gd name="connsiteX2" fmla="*/ 208955 w 213598"/>
                  <a:gd name="connsiteY2" fmla="*/ 4643 h 213421"/>
                  <a:gd name="connsiteX3" fmla="*/ 187047 w 213598"/>
                  <a:gd name="connsiteY3" fmla="*/ 4643 h 213421"/>
                  <a:gd name="connsiteX4" fmla="*/ 4643 w 213598"/>
                  <a:gd name="connsiteY4" fmla="*/ 187047 h 213421"/>
                  <a:gd name="connsiteX5" fmla="*/ 4643 w 213598"/>
                  <a:gd name="connsiteY5" fmla="*/ 208955 h 213421"/>
                  <a:gd name="connsiteX6" fmla="*/ 26551 w 213598"/>
                  <a:gd name="connsiteY6" fmla="*/ 208955 h 21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421">
                    <a:moveTo>
                      <a:pt x="26551" y="208955"/>
                    </a:moveTo>
                    <a:lnTo>
                      <a:pt x="208955" y="26551"/>
                    </a:lnTo>
                    <a:cubicBezTo>
                      <a:pt x="215146" y="20360"/>
                      <a:pt x="215146" y="10835"/>
                      <a:pt x="208955" y="4643"/>
                    </a:cubicBezTo>
                    <a:cubicBezTo>
                      <a:pt x="202764" y="-1548"/>
                      <a:pt x="193239" y="-1548"/>
                      <a:pt x="187047" y="4643"/>
                    </a:cubicBezTo>
                    <a:lnTo>
                      <a:pt x="4643" y="187047"/>
                    </a:lnTo>
                    <a:cubicBezTo>
                      <a:pt x="-1548" y="193238"/>
                      <a:pt x="-1548" y="202763"/>
                      <a:pt x="4643" y="208955"/>
                    </a:cubicBezTo>
                    <a:cubicBezTo>
                      <a:pt x="10835" y="215146"/>
                      <a:pt x="20360" y="214670"/>
                      <a:pt x="26551" y="208955"/>
                    </a:cubicBezTo>
                    <a:close/>
                  </a:path>
                </a:pathLst>
              </a:custGeom>
              <a:solidFill>
                <a:srgbClr val="6CBD4B"/>
              </a:solidFill>
              <a:ln w="4763"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57A7E3A5-4D1E-4326-99E0-1E9618AB27D5}"/>
                  </a:ext>
                </a:extLst>
              </p:cNvPr>
              <p:cNvSpPr/>
              <p:nvPr/>
            </p:nvSpPr>
            <p:spPr>
              <a:xfrm>
                <a:off x="3461504" y="809267"/>
                <a:ext cx="1181814" cy="1181399"/>
              </a:xfrm>
              <a:custGeom>
                <a:avLst/>
                <a:gdLst>
                  <a:gd name="connsiteX0" fmla="*/ 26551 w 1181814"/>
                  <a:gd name="connsiteY0" fmla="*/ 1176695 h 1181399"/>
                  <a:gd name="connsiteX1" fmla="*/ 1177171 w 1181814"/>
                  <a:gd name="connsiteY1" fmla="*/ 26551 h 1181399"/>
                  <a:gd name="connsiteX2" fmla="*/ 1177171 w 1181814"/>
                  <a:gd name="connsiteY2" fmla="*/ 4643 h 1181399"/>
                  <a:gd name="connsiteX3" fmla="*/ 1155264 w 1181814"/>
                  <a:gd name="connsiteY3" fmla="*/ 4643 h 1181399"/>
                  <a:gd name="connsiteX4" fmla="*/ 4643 w 1181814"/>
                  <a:gd name="connsiteY4" fmla="*/ 1155263 h 1181399"/>
                  <a:gd name="connsiteX5" fmla="*/ 4643 w 1181814"/>
                  <a:gd name="connsiteY5" fmla="*/ 1177171 h 1181399"/>
                  <a:gd name="connsiteX6" fmla="*/ 26551 w 1181814"/>
                  <a:gd name="connsiteY6" fmla="*/ 1176695 h 118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814" h="1181399">
                    <a:moveTo>
                      <a:pt x="26551" y="1176695"/>
                    </a:moveTo>
                    <a:lnTo>
                      <a:pt x="1177171" y="26551"/>
                    </a:lnTo>
                    <a:cubicBezTo>
                      <a:pt x="1183362" y="20360"/>
                      <a:pt x="1183362" y="10835"/>
                      <a:pt x="1177171" y="4643"/>
                    </a:cubicBezTo>
                    <a:cubicBezTo>
                      <a:pt x="1170980" y="-1548"/>
                      <a:pt x="1161455" y="-1548"/>
                      <a:pt x="1155264" y="4643"/>
                    </a:cubicBezTo>
                    <a:lnTo>
                      <a:pt x="4643" y="1155263"/>
                    </a:lnTo>
                    <a:cubicBezTo>
                      <a:pt x="-1548" y="1161455"/>
                      <a:pt x="-1548" y="1170980"/>
                      <a:pt x="4643" y="1177171"/>
                    </a:cubicBezTo>
                    <a:cubicBezTo>
                      <a:pt x="10835" y="1182886"/>
                      <a:pt x="20836" y="1182886"/>
                      <a:pt x="26551" y="1176695"/>
                    </a:cubicBezTo>
                    <a:close/>
                  </a:path>
                </a:pathLst>
              </a:custGeom>
              <a:solidFill>
                <a:srgbClr val="6CBD4B"/>
              </a:solidFill>
              <a:ln w="4763"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4E6D041E-A24E-4E1E-A2C3-E2F9ED7940C5}"/>
                  </a:ext>
                </a:extLst>
              </p:cNvPr>
              <p:cNvSpPr/>
              <p:nvPr/>
            </p:nvSpPr>
            <p:spPr>
              <a:xfrm>
                <a:off x="3453884" y="801171"/>
                <a:ext cx="1059894" cy="1059717"/>
              </a:xfrm>
              <a:custGeom>
                <a:avLst/>
                <a:gdLst>
                  <a:gd name="connsiteX0" fmla="*/ 26551 w 1059894"/>
                  <a:gd name="connsiteY0" fmla="*/ 1055251 h 1059717"/>
                  <a:gd name="connsiteX1" fmla="*/ 1055251 w 1059894"/>
                  <a:gd name="connsiteY1" fmla="*/ 26551 h 1059717"/>
                  <a:gd name="connsiteX2" fmla="*/ 1055251 w 1059894"/>
                  <a:gd name="connsiteY2" fmla="*/ 4643 h 1059717"/>
                  <a:gd name="connsiteX3" fmla="*/ 1033343 w 1059894"/>
                  <a:gd name="connsiteY3" fmla="*/ 4643 h 1059717"/>
                  <a:gd name="connsiteX4" fmla="*/ 4643 w 1059894"/>
                  <a:gd name="connsiteY4" fmla="*/ 1033344 h 1059717"/>
                  <a:gd name="connsiteX5" fmla="*/ 4643 w 1059894"/>
                  <a:gd name="connsiteY5" fmla="*/ 1055251 h 1059717"/>
                  <a:gd name="connsiteX6" fmla="*/ 26551 w 1059894"/>
                  <a:gd name="connsiteY6" fmla="*/ 1055251 h 105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717">
                    <a:moveTo>
                      <a:pt x="26551" y="1055251"/>
                    </a:moveTo>
                    <a:lnTo>
                      <a:pt x="1055251" y="26551"/>
                    </a:lnTo>
                    <a:cubicBezTo>
                      <a:pt x="1061442" y="20360"/>
                      <a:pt x="1061442" y="10835"/>
                      <a:pt x="1055251" y="4643"/>
                    </a:cubicBezTo>
                    <a:cubicBezTo>
                      <a:pt x="1049060" y="-1548"/>
                      <a:pt x="1039535" y="-1548"/>
                      <a:pt x="1033343" y="4643"/>
                    </a:cubicBezTo>
                    <a:lnTo>
                      <a:pt x="4643" y="1033344"/>
                    </a:lnTo>
                    <a:cubicBezTo>
                      <a:pt x="-1548" y="1039535"/>
                      <a:pt x="-1548" y="1049060"/>
                      <a:pt x="4643" y="1055251"/>
                    </a:cubicBezTo>
                    <a:cubicBezTo>
                      <a:pt x="10835" y="1061442"/>
                      <a:pt x="20360" y="1060966"/>
                      <a:pt x="26551" y="1055251"/>
                    </a:cubicBezTo>
                    <a:close/>
                  </a:path>
                </a:pathLst>
              </a:custGeom>
              <a:solidFill>
                <a:srgbClr val="6CBD4B"/>
              </a:solidFill>
              <a:ln w="4763"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45CCB68D-7DE3-4CA2-866B-9EC8FBEED091}"/>
                  </a:ext>
                </a:extLst>
              </p:cNvPr>
              <p:cNvSpPr/>
              <p:nvPr/>
            </p:nvSpPr>
            <p:spPr>
              <a:xfrm>
                <a:off x="3464837" y="812125"/>
                <a:ext cx="899874" cy="899874"/>
              </a:xfrm>
              <a:custGeom>
                <a:avLst/>
                <a:gdLst>
                  <a:gd name="connsiteX0" fmla="*/ 26551 w 899874"/>
                  <a:gd name="connsiteY0" fmla="*/ 895231 h 899874"/>
                  <a:gd name="connsiteX1" fmla="*/ 895231 w 899874"/>
                  <a:gd name="connsiteY1" fmla="*/ 26551 h 899874"/>
                  <a:gd name="connsiteX2" fmla="*/ 895231 w 899874"/>
                  <a:gd name="connsiteY2" fmla="*/ 4643 h 899874"/>
                  <a:gd name="connsiteX3" fmla="*/ 873324 w 899874"/>
                  <a:gd name="connsiteY3" fmla="*/ 4643 h 899874"/>
                  <a:gd name="connsiteX4" fmla="*/ 4643 w 899874"/>
                  <a:gd name="connsiteY4" fmla="*/ 873323 h 899874"/>
                  <a:gd name="connsiteX5" fmla="*/ 4643 w 899874"/>
                  <a:gd name="connsiteY5" fmla="*/ 895231 h 899874"/>
                  <a:gd name="connsiteX6" fmla="*/ 26551 w 899874"/>
                  <a:gd name="connsiteY6" fmla="*/ 895231 h 89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874">
                    <a:moveTo>
                      <a:pt x="26551" y="895231"/>
                    </a:moveTo>
                    <a:lnTo>
                      <a:pt x="895231" y="26551"/>
                    </a:lnTo>
                    <a:cubicBezTo>
                      <a:pt x="901422" y="20360"/>
                      <a:pt x="901422" y="10835"/>
                      <a:pt x="895231" y="4643"/>
                    </a:cubicBezTo>
                    <a:cubicBezTo>
                      <a:pt x="889040" y="-1548"/>
                      <a:pt x="879515" y="-1548"/>
                      <a:pt x="873324" y="4643"/>
                    </a:cubicBezTo>
                    <a:lnTo>
                      <a:pt x="4643" y="873323"/>
                    </a:lnTo>
                    <a:cubicBezTo>
                      <a:pt x="-1548" y="879515"/>
                      <a:pt x="-1548" y="889040"/>
                      <a:pt x="4643" y="895231"/>
                    </a:cubicBezTo>
                    <a:cubicBezTo>
                      <a:pt x="10835" y="901422"/>
                      <a:pt x="20360" y="901422"/>
                      <a:pt x="26551" y="895231"/>
                    </a:cubicBezTo>
                    <a:close/>
                  </a:path>
                </a:pathLst>
              </a:custGeom>
              <a:solidFill>
                <a:srgbClr val="6CBD4B"/>
              </a:solidFill>
              <a:ln w="4763"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F20B59FF-47E5-4D74-99D1-1E52C68ABC7E}"/>
                  </a:ext>
                </a:extLst>
              </p:cNvPr>
              <p:cNvSpPr/>
              <p:nvPr/>
            </p:nvSpPr>
            <p:spPr>
              <a:xfrm>
                <a:off x="3482935" y="830222"/>
                <a:ext cx="1277064" cy="1277064"/>
              </a:xfrm>
              <a:custGeom>
                <a:avLst/>
                <a:gdLst>
                  <a:gd name="connsiteX0" fmla="*/ 26551 w 1277064"/>
                  <a:gd name="connsiteY0" fmla="*/ 1272421 h 1277064"/>
                  <a:gd name="connsiteX1" fmla="*/ 1272421 w 1277064"/>
                  <a:gd name="connsiteY1" fmla="*/ 26551 h 1277064"/>
                  <a:gd name="connsiteX2" fmla="*/ 1272421 w 1277064"/>
                  <a:gd name="connsiteY2" fmla="*/ 4643 h 1277064"/>
                  <a:gd name="connsiteX3" fmla="*/ 1250514 w 1277064"/>
                  <a:gd name="connsiteY3" fmla="*/ 4643 h 1277064"/>
                  <a:gd name="connsiteX4" fmla="*/ 4643 w 1277064"/>
                  <a:gd name="connsiteY4" fmla="*/ 1250513 h 1277064"/>
                  <a:gd name="connsiteX5" fmla="*/ 4643 w 1277064"/>
                  <a:gd name="connsiteY5" fmla="*/ 1272421 h 1277064"/>
                  <a:gd name="connsiteX6" fmla="*/ 26551 w 1277064"/>
                  <a:gd name="connsiteY6" fmla="*/ 1272421 h 127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7064">
                    <a:moveTo>
                      <a:pt x="26551" y="1272421"/>
                    </a:moveTo>
                    <a:lnTo>
                      <a:pt x="1272421" y="26551"/>
                    </a:lnTo>
                    <a:cubicBezTo>
                      <a:pt x="1278612" y="20360"/>
                      <a:pt x="1278612" y="10835"/>
                      <a:pt x="1272421" y="4643"/>
                    </a:cubicBezTo>
                    <a:cubicBezTo>
                      <a:pt x="1266230" y="-1548"/>
                      <a:pt x="1256705" y="-1548"/>
                      <a:pt x="1250514" y="4643"/>
                    </a:cubicBezTo>
                    <a:lnTo>
                      <a:pt x="4643" y="1250513"/>
                    </a:lnTo>
                    <a:cubicBezTo>
                      <a:pt x="-1548" y="1256705"/>
                      <a:pt x="-1548" y="1266230"/>
                      <a:pt x="4643" y="1272421"/>
                    </a:cubicBezTo>
                    <a:cubicBezTo>
                      <a:pt x="10835" y="1278612"/>
                      <a:pt x="20360" y="1278612"/>
                      <a:pt x="26551" y="1272421"/>
                    </a:cubicBezTo>
                    <a:close/>
                  </a:path>
                </a:pathLst>
              </a:custGeom>
              <a:solidFill>
                <a:srgbClr val="6CBD4B"/>
              </a:solidFill>
              <a:ln w="4763"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30A99271-A86F-488F-9838-E777E403DEED}"/>
                  </a:ext>
                </a:extLst>
              </p:cNvPr>
              <p:cNvSpPr/>
              <p:nvPr/>
            </p:nvSpPr>
            <p:spPr>
              <a:xfrm>
                <a:off x="3722012" y="1069300"/>
                <a:ext cx="1487566" cy="1487811"/>
              </a:xfrm>
              <a:custGeom>
                <a:avLst/>
                <a:gdLst>
                  <a:gd name="connsiteX0" fmla="*/ 26551 w 1487566"/>
                  <a:gd name="connsiteY0" fmla="*/ 1482924 h 1487811"/>
                  <a:gd name="connsiteX1" fmla="*/ 1482924 w 1487566"/>
                  <a:gd name="connsiteY1" fmla="*/ 26551 h 1487811"/>
                  <a:gd name="connsiteX2" fmla="*/ 1482924 w 1487566"/>
                  <a:gd name="connsiteY2" fmla="*/ 4643 h 1487811"/>
                  <a:gd name="connsiteX3" fmla="*/ 1461016 w 1487566"/>
                  <a:gd name="connsiteY3" fmla="*/ 4643 h 1487811"/>
                  <a:gd name="connsiteX4" fmla="*/ 4643 w 1487566"/>
                  <a:gd name="connsiteY4" fmla="*/ 1461492 h 1487811"/>
                  <a:gd name="connsiteX5" fmla="*/ 4643 w 1487566"/>
                  <a:gd name="connsiteY5" fmla="*/ 1483400 h 1487811"/>
                  <a:gd name="connsiteX6" fmla="*/ 26551 w 1487566"/>
                  <a:gd name="connsiteY6" fmla="*/ 1482924 h 1487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811">
                    <a:moveTo>
                      <a:pt x="26551" y="1482924"/>
                    </a:moveTo>
                    <a:lnTo>
                      <a:pt x="1482924" y="26551"/>
                    </a:lnTo>
                    <a:cubicBezTo>
                      <a:pt x="1489114" y="20360"/>
                      <a:pt x="1489114" y="10835"/>
                      <a:pt x="1482924" y="4643"/>
                    </a:cubicBezTo>
                    <a:cubicBezTo>
                      <a:pt x="1476732" y="-1548"/>
                      <a:pt x="1467207" y="-1548"/>
                      <a:pt x="1461016" y="4643"/>
                    </a:cubicBezTo>
                    <a:lnTo>
                      <a:pt x="4643" y="1461492"/>
                    </a:lnTo>
                    <a:cubicBezTo>
                      <a:pt x="-1548" y="1467684"/>
                      <a:pt x="-1548" y="1477209"/>
                      <a:pt x="4643" y="1483400"/>
                    </a:cubicBezTo>
                    <a:cubicBezTo>
                      <a:pt x="10835" y="1489591"/>
                      <a:pt x="20360" y="1489115"/>
                      <a:pt x="26551" y="1482924"/>
                    </a:cubicBezTo>
                    <a:close/>
                  </a:path>
                </a:pathLst>
              </a:custGeom>
              <a:solidFill>
                <a:srgbClr val="6CBD4B"/>
              </a:solidFill>
              <a:ln w="4763"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56B3E235-F6CC-4C01-9B93-99A6EAF50906}"/>
                  </a:ext>
                </a:extLst>
              </p:cNvPr>
              <p:cNvSpPr/>
              <p:nvPr/>
            </p:nvSpPr>
            <p:spPr>
              <a:xfrm>
                <a:off x="3659624" y="1006911"/>
                <a:ext cx="1474708" cy="1474708"/>
              </a:xfrm>
              <a:custGeom>
                <a:avLst/>
                <a:gdLst>
                  <a:gd name="connsiteX0" fmla="*/ 26551 w 1474708"/>
                  <a:gd name="connsiteY0" fmla="*/ 1470065 h 1474708"/>
                  <a:gd name="connsiteX1" fmla="*/ 1470065 w 1474708"/>
                  <a:gd name="connsiteY1" fmla="*/ 26551 h 1474708"/>
                  <a:gd name="connsiteX2" fmla="*/ 1470065 w 1474708"/>
                  <a:gd name="connsiteY2" fmla="*/ 4643 h 1474708"/>
                  <a:gd name="connsiteX3" fmla="*/ 1448157 w 1474708"/>
                  <a:gd name="connsiteY3" fmla="*/ 4643 h 1474708"/>
                  <a:gd name="connsiteX4" fmla="*/ 4644 w 1474708"/>
                  <a:gd name="connsiteY4" fmla="*/ 1448157 h 1474708"/>
                  <a:gd name="connsiteX5" fmla="*/ 4644 w 1474708"/>
                  <a:gd name="connsiteY5" fmla="*/ 1470065 h 1474708"/>
                  <a:gd name="connsiteX6" fmla="*/ 26551 w 1474708"/>
                  <a:gd name="connsiteY6" fmla="*/ 1470065 h 1474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708">
                    <a:moveTo>
                      <a:pt x="26551" y="1470065"/>
                    </a:moveTo>
                    <a:lnTo>
                      <a:pt x="1470065" y="26551"/>
                    </a:lnTo>
                    <a:cubicBezTo>
                      <a:pt x="1476256" y="20360"/>
                      <a:pt x="1476256" y="10835"/>
                      <a:pt x="1470065" y="4643"/>
                    </a:cubicBezTo>
                    <a:cubicBezTo>
                      <a:pt x="1463874" y="-1548"/>
                      <a:pt x="1454349" y="-1548"/>
                      <a:pt x="1448157" y="4643"/>
                    </a:cubicBezTo>
                    <a:lnTo>
                      <a:pt x="4644" y="1448157"/>
                    </a:lnTo>
                    <a:cubicBezTo>
                      <a:pt x="-1548" y="1454348"/>
                      <a:pt x="-1548" y="1463873"/>
                      <a:pt x="4644" y="1470065"/>
                    </a:cubicBezTo>
                    <a:cubicBezTo>
                      <a:pt x="10835" y="1476256"/>
                      <a:pt x="20360" y="1476256"/>
                      <a:pt x="26551" y="1470065"/>
                    </a:cubicBezTo>
                    <a:close/>
                  </a:path>
                </a:pathLst>
              </a:custGeom>
              <a:solidFill>
                <a:srgbClr val="6CBD4B"/>
              </a:solidFill>
              <a:ln w="4763"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DDD5C874-9D1C-4B86-B5ED-FC55A648D3D8}"/>
                  </a:ext>
                </a:extLst>
              </p:cNvPr>
              <p:cNvSpPr/>
              <p:nvPr/>
            </p:nvSpPr>
            <p:spPr>
              <a:xfrm>
                <a:off x="3514844" y="862607"/>
                <a:ext cx="1350883" cy="1350706"/>
              </a:xfrm>
              <a:custGeom>
                <a:avLst/>
                <a:gdLst>
                  <a:gd name="connsiteX0" fmla="*/ 26551 w 1350883"/>
                  <a:gd name="connsiteY0" fmla="*/ 1346240 h 1350706"/>
                  <a:gd name="connsiteX1" fmla="*/ 1346240 w 1350883"/>
                  <a:gd name="connsiteY1" fmla="*/ 26551 h 1350706"/>
                  <a:gd name="connsiteX2" fmla="*/ 1346240 w 1350883"/>
                  <a:gd name="connsiteY2" fmla="*/ 4643 h 1350706"/>
                  <a:gd name="connsiteX3" fmla="*/ 1324332 w 1350883"/>
                  <a:gd name="connsiteY3" fmla="*/ 4643 h 1350706"/>
                  <a:gd name="connsiteX4" fmla="*/ 4643 w 1350883"/>
                  <a:gd name="connsiteY4" fmla="*/ 1324332 h 1350706"/>
                  <a:gd name="connsiteX5" fmla="*/ 4643 w 1350883"/>
                  <a:gd name="connsiteY5" fmla="*/ 1346240 h 1350706"/>
                  <a:gd name="connsiteX6" fmla="*/ 26551 w 1350883"/>
                  <a:gd name="connsiteY6" fmla="*/ 1346240 h 135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3" h="1350706">
                    <a:moveTo>
                      <a:pt x="26551" y="1346240"/>
                    </a:moveTo>
                    <a:lnTo>
                      <a:pt x="1346240" y="26551"/>
                    </a:lnTo>
                    <a:cubicBezTo>
                      <a:pt x="1352431" y="20360"/>
                      <a:pt x="1352431" y="10835"/>
                      <a:pt x="1346240" y="4643"/>
                    </a:cubicBezTo>
                    <a:cubicBezTo>
                      <a:pt x="1340049" y="-1548"/>
                      <a:pt x="1330524" y="-1548"/>
                      <a:pt x="1324332" y="4643"/>
                    </a:cubicBezTo>
                    <a:lnTo>
                      <a:pt x="4643" y="1324332"/>
                    </a:lnTo>
                    <a:cubicBezTo>
                      <a:pt x="-1548" y="1330523"/>
                      <a:pt x="-1548" y="1340048"/>
                      <a:pt x="4643" y="1346240"/>
                    </a:cubicBezTo>
                    <a:cubicBezTo>
                      <a:pt x="10835" y="1352431"/>
                      <a:pt x="20360" y="1351955"/>
                      <a:pt x="26551" y="1346240"/>
                    </a:cubicBezTo>
                    <a:close/>
                  </a:path>
                </a:pathLst>
              </a:custGeom>
              <a:solidFill>
                <a:srgbClr val="6CBD4B"/>
              </a:solidFill>
              <a:ln w="4763"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949C5DE1-3D29-4595-BB40-CDA69ECC55FA}"/>
                  </a:ext>
                </a:extLst>
              </p:cNvPr>
              <p:cNvSpPr/>
              <p:nvPr/>
            </p:nvSpPr>
            <p:spPr>
              <a:xfrm>
                <a:off x="3603902" y="951666"/>
                <a:ext cx="1448037" cy="1447680"/>
              </a:xfrm>
              <a:custGeom>
                <a:avLst/>
                <a:gdLst>
                  <a:gd name="connsiteX0" fmla="*/ 26551 w 1448037"/>
                  <a:gd name="connsiteY0" fmla="*/ 1443395 h 1447680"/>
                  <a:gd name="connsiteX1" fmla="*/ 1443395 w 1448037"/>
                  <a:gd name="connsiteY1" fmla="*/ 26551 h 1447680"/>
                  <a:gd name="connsiteX2" fmla="*/ 1443395 w 1448037"/>
                  <a:gd name="connsiteY2" fmla="*/ 4643 h 1447680"/>
                  <a:gd name="connsiteX3" fmla="*/ 1421487 w 1448037"/>
                  <a:gd name="connsiteY3" fmla="*/ 4643 h 1447680"/>
                  <a:gd name="connsiteX4" fmla="*/ 4643 w 1448037"/>
                  <a:gd name="connsiteY4" fmla="*/ 1421487 h 1447680"/>
                  <a:gd name="connsiteX5" fmla="*/ 4643 w 1448037"/>
                  <a:gd name="connsiteY5" fmla="*/ 1443395 h 1447680"/>
                  <a:gd name="connsiteX6" fmla="*/ 26551 w 1448037"/>
                  <a:gd name="connsiteY6" fmla="*/ 1443395 h 144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7" h="1447680">
                    <a:moveTo>
                      <a:pt x="26551" y="1443395"/>
                    </a:moveTo>
                    <a:lnTo>
                      <a:pt x="1443395" y="26551"/>
                    </a:lnTo>
                    <a:cubicBezTo>
                      <a:pt x="1449586" y="20360"/>
                      <a:pt x="1449586" y="10835"/>
                      <a:pt x="1443395" y="4643"/>
                    </a:cubicBezTo>
                    <a:cubicBezTo>
                      <a:pt x="1437203" y="-1548"/>
                      <a:pt x="1427678" y="-1548"/>
                      <a:pt x="1421487" y="4643"/>
                    </a:cubicBezTo>
                    <a:lnTo>
                      <a:pt x="4643" y="1421487"/>
                    </a:lnTo>
                    <a:cubicBezTo>
                      <a:pt x="-1548" y="1427679"/>
                      <a:pt x="-1548" y="1437204"/>
                      <a:pt x="4643" y="1443395"/>
                    </a:cubicBezTo>
                    <a:cubicBezTo>
                      <a:pt x="10835" y="1449110"/>
                      <a:pt x="20360" y="1449110"/>
                      <a:pt x="26551" y="1443395"/>
                    </a:cubicBezTo>
                    <a:close/>
                  </a:path>
                </a:pathLst>
              </a:custGeom>
              <a:solidFill>
                <a:srgbClr val="6CBD4B"/>
              </a:solidFill>
              <a:ln w="4763"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CDBBA18C-15A0-45FE-9667-DED0A3EE08DD}"/>
                  </a:ext>
                </a:extLst>
              </p:cNvPr>
              <p:cNvSpPr/>
              <p:nvPr/>
            </p:nvSpPr>
            <p:spPr>
              <a:xfrm>
                <a:off x="3555325" y="902612"/>
                <a:ext cx="1407556" cy="1407556"/>
              </a:xfrm>
              <a:custGeom>
                <a:avLst/>
                <a:gdLst>
                  <a:gd name="connsiteX0" fmla="*/ 26551 w 1407556"/>
                  <a:gd name="connsiteY0" fmla="*/ 1402914 h 1407556"/>
                  <a:gd name="connsiteX1" fmla="*/ 1402913 w 1407556"/>
                  <a:gd name="connsiteY1" fmla="*/ 26551 h 1407556"/>
                  <a:gd name="connsiteX2" fmla="*/ 1402913 w 1407556"/>
                  <a:gd name="connsiteY2" fmla="*/ 4643 h 1407556"/>
                  <a:gd name="connsiteX3" fmla="*/ 1381006 w 1407556"/>
                  <a:gd name="connsiteY3" fmla="*/ 4643 h 1407556"/>
                  <a:gd name="connsiteX4" fmla="*/ 4643 w 1407556"/>
                  <a:gd name="connsiteY4" fmla="*/ 1381006 h 1407556"/>
                  <a:gd name="connsiteX5" fmla="*/ 4643 w 1407556"/>
                  <a:gd name="connsiteY5" fmla="*/ 1402914 h 1407556"/>
                  <a:gd name="connsiteX6" fmla="*/ 26551 w 1407556"/>
                  <a:gd name="connsiteY6" fmla="*/ 1402914 h 140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556">
                    <a:moveTo>
                      <a:pt x="26551" y="1402914"/>
                    </a:moveTo>
                    <a:lnTo>
                      <a:pt x="1402913" y="26551"/>
                    </a:lnTo>
                    <a:cubicBezTo>
                      <a:pt x="1409105" y="20360"/>
                      <a:pt x="1409105" y="10835"/>
                      <a:pt x="1402913" y="4643"/>
                    </a:cubicBezTo>
                    <a:cubicBezTo>
                      <a:pt x="1396722" y="-1548"/>
                      <a:pt x="1387197" y="-1548"/>
                      <a:pt x="1381006" y="4643"/>
                    </a:cubicBezTo>
                    <a:lnTo>
                      <a:pt x="4643" y="1381006"/>
                    </a:lnTo>
                    <a:cubicBezTo>
                      <a:pt x="-1548" y="1387197"/>
                      <a:pt x="-1548" y="1396722"/>
                      <a:pt x="4643" y="1402914"/>
                    </a:cubicBezTo>
                    <a:cubicBezTo>
                      <a:pt x="10835" y="1409105"/>
                      <a:pt x="20836" y="1409105"/>
                      <a:pt x="26551" y="1402914"/>
                    </a:cubicBezTo>
                    <a:close/>
                  </a:path>
                </a:pathLst>
              </a:custGeom>
              <a:solidFill>
                <a:srgbClr val="6CBD4B"/>
              </a:solidFill>
              <a:ln w="4763" cap="flat">
                <a:noFill/>
                <a:prstDash val="solid"/>
                <a:miter/>
              </a:ln>
            </p:spPr>
            <p:txBody>
              <a:bodyPr rtlCol="0" anchor="ctr"/>
              <a:lstStyle/>
              <a:p>
                <a:endParaRPr lang="en-US"/>
              </a:p>
            </p:txBody>
          </p:sp>
        </p:grpSp>
        <p:sp>
          <p:nvSpPr>
            <p:cNvPr id="35" name="Freeform: Shape 34">
              <a:extLst>
                <a:ext uri="{FF2B5EF4-FFF2-40B4-BE49-F238E27FC236}">
                  <a16:creationId xmlns:a16="http://schemas.microsoft.com/office/drawing/2014/main" id="{AD367271-CD7F-4202-9C36-D2C6F7D97DCB}"/>
                </a:ext>
              </a:extLst>
            </p:cNvPr>
            <p:cNvSpPr/>
            <p:nvPr/>
          </p:nvSpPr>
          <p:spPr>
            <a:xfrm>
              <a:off x="3618767" y="1577861"/>
              <a:ext cx="90519" cy="90519"/>
            </a:xfrm>
            <a:custGeom>
              <a:avLst/>
              <a:gdLst>
                <a:gd name="connsiteX0" fmla="*/ 128989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4" y="128989"/>
                  </a:cubicBezTo>
                  <a:cubicBezTo>
                    <a:pt x="28875" y="128989"/>
                    <a:pt x="0" y="100114"/>
                    <a:pt x="0" y="64494"/>
                  </a:cubicBezTo>
                  <a:cubicBezTo>
                    <a:pt x="0" y="28875"/>
                    <a:pt x="28875" y="0"/>
                    <a:pt x="64494" y="0"/>
                  </a:cubicBezTo>
                  <a:cubicBezTo>
                    <a:pt x="100114" y="0"/>
                    <a:pt x="128989" y="28875"/>
                    <a:pt x="128989" y="64494"/>
                  </a:cubicBezTo>
                  <a:close/>
                </a:path>
              </a:pathLst>
            </a:custGeom>
            <a:solidFill>
              <a:srgbClr val="00BCEB"/>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pic>
          <p:nvPicPr>
            <p:cNvPr id="36" name="Picture 35" descr="A group of people posing for a photo&#10;&#10;Description automatically generated">
              <a:extLst>
                <a:ext uri="{FF2B5EF4-FFF2-40B4-BE49-F238E27FC236}">
                  <a16:creationId xmlns:a16="http://schemas.microsoft.com/office/drawing/2014/main" id="{18461191-99F5-480E-93AC-0D26E722D84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6264" y="1259588"/>
              <a:ext cx="3385588" cy="1380304"/>
            </a:xfrm>
            <a:prstGeom prst="rect">
              <a:avLst/>
            </a:prstGeom>
          </p:spPr>
        </p:pic>
        <p:sp>
          <p:nvSpPr>
            <p:cNvPr id="37" name="Freeform: Shape 36">
              <a:extLst>
                <a:ext uri="{FF2B5EF4-FFF2-40B4-BE49-F238E27FC236}">
                  <a16:creationId xmlns:a16="http://schemas.microsoft.com/office/drawing/2014/main" id="{4CC6F01A-0BAB-4AA1-9182-AF1F1DF060EA}"/>
                </a:ext>
              </a:extLst>
            </p:cNvPr>
            <p:cNvSpPr/>
            <p:nvPr/>
          </p:nvSpPr>
          <p:spPr>
            <a:xfrm>
              <a:off x="3516849" y="1009935"/>
              <a:ext cx="93872" cy="93872"/>
            </a:xfrm>
            <a:custGeom>
              <a:avLst/>
              <a:gdLst>
                <a:gd name="connsiteX0" fmla="*/ 133766 w 133766"/>
                <a:gd name="connsiteY0" fmla="*/ 66883 h 133766"/>
                <a:gd name="connsiteX1" fmla="*/ 66883 w 133766"/>
                <a:gd name="connsiteY1" fmla="*/ 133766 h 133766"/>
                <a:gd name="connsiteX2" fmla="*/ 0 w 133766"/>
                <a:gd name="connsiteY2" fmla="*/ 66883 h 133766"/>
                <a:gd name="connsiteX3" fmla="*/ 66883 w 133766"/>
                <a:gd name="connsiteY3" fmla="*/ 0 h 133766"/>
                <a:gd name="connsiteX4" fmla="*/ 133766 w 133766"/>
                <a:gd name="connsiteY4" fmla="*/ 66883 h 133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66" h="133766">
                  <a:moveTo>
                    <a:pt x="133766" y="66883"/>
                  </a:moveTo>
                  <a:cubicBezTo>
                    <a:pt x="133766" y="103822"/>
                    <a:pt x="103821" y="133766"/>
                    <a:pt x="66883" y="133766"/>
                  </a:cubicBezTo>
                  <a:cubicBezTo>
                    <a:pt x="29945" y="133766"/>
                    <a:pt x="0" y="103822"/>
                    <a:pt x="0" y="66883"/>
                  </a:cubicBezTo>
                  <a:cubicBezTo>
                    <a:pt x="0" y="29944"/>
                    <a:pt x="29945" y="0"/>
                    <a:pt x="66883" y="0"/>
                  </a:cubicBezTo>
                  <a:cubicBezTo>
                    <a:pt x="103821" y="0"/>
                    <a:pt x="133766" y="29944"/>
                    <a:pt x="133766" y="66883"/>
                  </a:cubicBezTo>
                  <a:close/>
                </a:path>
              </a:pathLst>
            </a:custGeom>
            <a:solidFill>
              <a:srgbClr val="00BCEB"/>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 name="Freeform: Shape 37">
              <a:extLst>
                <a:ext uri="{FF2B5EF4-FFF2-40B4-BE49-F238E27FC236}">
                  <a16:creationId xmlns:a16="http://schemas.microsoft.com/office/drawing/2014/main" id="{148E92E3-F266-45CF-9730-710FF50A9620}"/>
                </a:ext>
              </a:extLst>
            </p:cNvPr>
            <p:cNvSpPr/>
            <p:nvPr/>
          </p:nvSpPr>
          <p:spPr>
            <a:xfrm>
              <a:off x="3328435" y="1104143"/>
              <a:ext cx="93872" cy="93872"/>
            </a:xfrm>
            <a:custGeom>
              <a:avLst/>
              <a:gdLst>
                <a:gd name="connsiteX0" fmla="*/ 133766 w 133766"/>
                <a:gd name="connsiteY0" fmla="*/ 66883 h 133766"/>
                <a:gd name="connsiteX1" fmla="*/ 66883 w 133766"/>
                <a:gd name="connsiteY1" fmla="*/ 133766 h 133766"/>
                <a:gd name="connsiteX2" fmla="*/ 0 w 133766"/>
                <a:gd name="connsiteY2" fmla="*/ 66883 h 133766"/>
                <a:gd name="connsiteX3" fmla="*/ 66883 w 133766"/>
                <a:gd name="connsiteY3" fmla="*/ 0 h 133766"/>
                <a:gd name="connsiteX4" fmla="*/ 133766 w 133766"/>
                <a:gd name="connsiteY4" fmla="*/ 66883 h 133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766" h="133766">
                  <a:moveTo>
                    <a:pt x="133766" y="66883"/>
                  </a:moveTo>
                  <a:cubicBezTo>
                    <a:pt x="133766" y="103822"/>
                    <a:pt x="103821" y="133766"/>
                    <a:pt x="66883" y="133766"/>
                  </a:cubicBezTo>
                  <a:cubicBezTo>
                    <a:pt x="29945" y="133766"/>
                    <a:pt x="0" y="103822"/>
                    <a:pt x="0" y="66883"/>
                  </a:cubicBezTo>
                  <a:cubicBezTo>
                    <a:pt x="0" y="29945"/>
                    <a:pt x="29945" y="0"/>
                    <a:pt x="66883" y="0"/>
                  </a:cubicBezTo>
                  <a:cubicBezTo>
                    <a:pt x="103821" y="0"/>
                    <a:pt x="133766" y="29945"/>
                    <a:pt x="133766" y="66883"/>
                  </a:cubicBezTo>
                  <a:close/>
                </a:path>
              </a:pathLst>
            </a:custGeom>
            <a:solidFill>
              <a:srgbClr val="00BCEB"/>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9" name="Freeform: Shape 38">
              <a:extLst>
                <a:ext uri="{FF2B5EF4-FFF2-40B4-BE49-F238E27FC236}">
                  <a16:creationId xmlns:a16="http://schemas.microsoft.com/office/drawing/2014/main" id="{028F35E5-D7DC-45C1-BC24-935F16E7DDEA}"/>
                </a:ext>
              </a:extLst>
            </p:cNvPr>
            <p:cNvSpPr/>
            <p:nvPr/>
          </p:nvSpPr>
          <p:spPr>
            <a:xfrm>
              <a:off x="3426329" y="1258025"/>
              <a:ext cx="90519" cy="90519"/>
            </a:xfrm>
            <a:custGeom>
              <a:avLst/>
              <a:gdLst>
                <a:gd name="connsiteX0" fmla="*/ 128989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3" y="128989"/>
                    <a:pt x="64494" y="128989"/>
                  </a:cubicBezTo>
                  <a:cubicBezTo>
                    <a:pt x="28875" y="128989"/>
                    <a:pt x="0" y="100114"/>
                    <a:pt x="0" y="64494"/>
                  </a:cubicBezTo>
                  <a:cubicBezTo>
                    <a:pt x="0" y="28875"/>
                    <a:pt x="28875" y="0"/>
                    <a:pt x="64494" y="0"/>
                  </a:cubicBezTo>
                  <a:cubicBezTo>
                    <a:pt x="100113" y="0"/>
                    <a:pt x="128989" y="28875"/>
                    <a:pt x="128989" y="64494"/>
                  </a:cubicBezTo>
                  <a:close/>
                </a:path>
              </a:pathLst>
            </a:custGeom>
            <a:solidFill>
              <a:srgbClr val="00BCEB"/>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0" name="Freeform: Shape 39">
              <a:extLst>
                <a:ext uri="{FF2B5EF4-FFF2-40B4-BE49-F238E27FC236}">
                  <a16:creationId xmlns:a16="http://schemas.microsoft.com/office/drawing/2014/main" id="{61321695-9FED-4217-99CA-10F97A2D76C3}"/>
                </a:ext>
              </a:extLst>
            </p:cNvPr>
            <p:cNvSpPr/>
            <p:nvPr/>
          </p:nvSpPr>
          <p:spPr>
            <a:xfrm>
              <a:off x="3615414" y="1161136"/>
              <a:ext cx="90519" cy="90519"/>
            </a:xfrm>
            <a:custGeom>
              <a:avLst/>
              <a:gdLst>
                <a:gd name="connsiteX0" fmla="*/ 128989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4" y="128989"/>
                  </a:cubicBezTo>
                  <a:cubicBezTo>
                    <a:pt x="28875" y="128989"/>
                    <a:pt x="0" y="100114"/>
                    <a:pt x="0" y="64494"/>
                  </a:cubicBezTo>
                  <a:cubicBezTo>
                    <a:pt x="0" y="28875"/>
                    <a:pt x="28875" y="0"/>
                    <a:pt x="64494" y="0"/>
                  </a:cubicBezTo>
                  <a:cubicBezTo>
                    <a:pt x="100114" y="0"/>
                    <a:pt x="128989" y="28875"/>
                    <a:pt x="128989" y="64494"/>
                  </a:cubicBezTo>
                  <a:close/>
                </a:path>
              </a:pathLst>
            </a:custGeom>
            <a:solidFill>
              <a:srgbClr val="00BCEB"/>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1" name="Freeform: Shape 40">
              <a:extLst>
                <a:ext uri="{FF2B5EF4-FFF2-40B4-BE49-F238E27FC236}">
                  <a16:creationId xmlns:a16="http://schemas.microsoft.com/office/drawing/2014/main" id="{4C4D9B3E-D973-41AD-89ED-E96857DCDB4E}"/>
                </a:ext>
              </a:extLst>
            </p:cNvPr>
            <p:cNvSpPr/>
            <p:nvPr/>
          </p:nvSpPr>
          <p:spPr>
            <a:xfrm>
              <a:off x="3772314" y="1017310"/>
              <a:ext cx="90519" cy="90519"/>
            </a:xfrm>
            <a:custGeom>
              <a:avLst/>
              <a:gdLst>
                <a:gd name="connsiteX0" fmla="*/ 128988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8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8" y="64494"/>
                  </a:moveTo>
                  <a:cubicBezTo>
                    <a:pt x="128988" y="100114"/>
                    <a:pt x="100113" y="128989"/>
                    <a:pt x="64494" y="128989"/>
                  </a:cubicBezTo>
                  <a:cubicBezTo>
                    <a:pt x="28875" y="128989"/>
                    <a:pt x="0" y="100114"/>
                    <a:pt x="0" y="64494"/>
                  </a:cubicBezTo>
                  <a:cubicBezTo>
                    <a:pt x="0" y="28875"/>
                    <a:pt x="28875" y="0"/>
                    <a:pt x="64494" y="0"/>
                  </a:cubicBezTo>
                  <a:cubicBezTo>
                    <a:pt x="100113" y="0"/>
                    <a:pt x="128988" y="28875"/>
                    <a:pt x="128988" y="64494"/>
                  </a:cubicBezTo>
                  <a:close/>
                </a:path>
              </a:pathLst>
            </a:custGeom>
            <a:solidFill>
              <a:srgbClr val="74BF4B"/>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2" name="Freeform: Shape 41">
              <a:extLst>
                <a:ext uri="{FF2B5EF4-FFF2-40B4-BE49-F238E27FC236}">
                  <a16:creationId xmlns:a16="http://schemas.microsoft.com/office/drawing/2014/main" id="{24BF9E5D-ABCF-4C1C-B490-5BA8777B0048}"/>
                </a:ext>
              </a:extLst>
            </p:cNvPr>
            <p:cNvSpPr/>
            <p:nvPr/>
          </p:nvSpPr>
          <p:spPr>
            <a:xfrm>
              <a:off x="3990567" y="1139345"/>
              <a:ext cx="90519" cy="90519"/>
            </a:xfrm>
            <a:custGeom>
              <a:avLst/>
              <a:gdLst>
                <a:gd name="connsiteX0" fmla="*/ 128989 w 128988"/>
                <a:gd name="connsiteY0" fmla="*/ 64494 h 128988"/>
                <a:gd name="connsiteX1" fmla="*/ 64495 w 128988"/>
                <a:gd name="connsiteY1" fmla="*/ 128989 h 128988"/>
                <a:gd name="connsiteX2" fmla="*/ 0 w 128988"/>
                <a:gd name="connsiteY2" fmla="*/ 64494 h 128988"/>
                <a:gd name="connsiteX3" fmla="*/ 64495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5" y="128989"/>
                  </a:cubicBezTo>
                  <a:cubicBezTo>
                    <a:pt x="28875" y="128989"/>
                    <a:pt x="0" y="100114"/>
                    <a:pt x="0" y="64494"/>
                  </a:cubicBezTo>
                  <a:cubicBezTo>
                    <a:pt x="0" y="28875"/>
                    <a:pt x="28875" y="0"/>
                    <a:pt x="64495" y="0"/>
                  </a:cubicBezTo>
                  <a:cubicBezTo>
                    <a:pt x="100114" y="0"/>
                    <a:pt x="128989" y="28875"/>
                    <a:pt x="128989" y="64494"/>
                  </a:cubicBezTo>
                  <a:close/>
                </a:path>
              </a:pathLst>
            </a:custGeom>
            <a:solidFill>
              <a:srgbClr val="00BCEB"/>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3" name="Freeform: Shape 42">
              <a:extLst>
                <a:ext uri="{FF2B5EF4-FFF2-40B4-BE49-F238E27FC236}">
                  <a16:creationId xmlns:a16="http://schemas.microsoft.com/office/drawing/2014/main" id="{98591687-3C79-4C49-BF49-14B5BB922730}"/>
                </a:ext>
              </a:extLst>
            </p:cNvPr>
            <p:cNvSpPr/>
            <p:nvPr/>
          </p:nvSpPr>
          <p:spPr>
            <a:xfrm>
              <a:off x="4104553" y="1316695"/>
              <a:ext cx="90519" cy="90519"/>
            </a:xfrm>
            <a:custGeom>
              <a:avLst/>
              <a:gdLst>
                <a:gd name="connsiteX0" fmla="*/ 128989 w 128988"/>
                <a:gd name="connsiteY0" fmla="*/ 64494 h 128988"/>
                <a:gd name="connsiteX1" fmla="*/ 64495 w 128988"/>
                <a:gd name="connsiteY1" fmla="*/ 128989 h 128988"/>
                <a:gd name="connsiteX2" fmla="*/ 0 w 128988"/>
                <a:gd name="connsiteY2" fmla="*/ 64494 h 128988"/>
                <a:gd name="connsiteX3" fmla="*/ 64495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5" y="128989"/>
                  </a:cubicBezTo>
                  <a:cubicBezTo>
                    <a:pt x="28875" y="128989"/>
                    <a:pt x="0" y="100114"/>
                    <a:pt x="0" y="64494"/>
                  </a:cubicBezTo>
                  <a:cubicBezTo>
                    <a:pt x="0" y="28875"/>
                    <a:pt x="28875" y="0"/>
                    <a:pt x="64495" y="0"/>
                  </a:cubicBezTo>
                  <a:cubicBezTo>
                    <a:pt x="100114" y="0"/>
                    <a:pt x="128989" y="28875"/>
                    <a:pt x="128989" y="64494"/>
                  </a:cubicBezTo>
                  <a:close/>
                </a:path>
              </a:pathLst>
            </a:custGeom>
            <a:solidFill>
              <a:srgbClr val="74BF4B"/>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4" name="Freeform: Shape 43">
              <a:extLst>
                <a:ext uri="{FF2B5EF4-FFF2-40B4-BE49-F238E27FC236}">
                  <a16:creationId xmlns:a16="http://schemas.microsoft.com/office/drawing/2014/main" id="{426A8E00-D8F4-4FBB-BFF9-BA06E7990CC3}"/>
                </a:ext>
              </a:extLst>
            </p:cNvPr>
            <p:cNvSpPr/>
            <p:nvPr/>
          </p:nvSpPr>
          <p:spPr>
            <a:xfrm>
              <a:off x="3945306" y="1391792"/>
              <a:ext cx="90519" cy="90519"/>
            </a:xfrm>
            <a:custGeom>
              <a:avLst/>
              <a:gdLst>
                <a:gd name="connsiteX0" fmla="*/ 128989 w 128988"/>
                <a:gd name="connsiteY0" fmla="*/ 64494 h 128988"/>
                <a:gd name="connsiteX1" fmla="*/ 64495 w 128988"/>
                <a:gd name="connsiteY1" fmla="*/ 128989 h 128988"/>
                <a:gd name="connsiteX2" fmla="*/ 0 w 128988"/>
                <a:gd name="connsiteY2" fmla="*/ 64494 h 128988"/>
                <a:gd name="connsiteX3" fmla="*/ 64495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5" y="128989"/>
                  </a:cubicBezTo>
                  <a:cubicBezTo>
                    <a:pt x="28875" y="128989"/>
                    <a:pt x="0" y="100114"/>
                    <a:pt x="0" y="64494"/>
                  </a:cubicBezTo>
                  <a:cubicBezTo>
                    <a:pt x="0" y="28875"/>
                    <a:pt x="28875" y="0"/>
                    <a:pt x="64495" y="0"/>
                  </a:cubicBezTo>
                  <a:cubicBezTo>
                    <a:pt x="100114" y="0"/>
                    <a:pt x="128989" y="28875"/>
                    <a:pt x="128989" y="64494"/>
                  </a:cubicBezTo>
                  <a:close/>
                </a:path>
              </a:pathLst>
            </a:custGeom>
            <a:solidFill>
              <a:srgbClr val="00BCEB"/>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5" name="Freeform: Shape 44">
              <a:extLst>
                <a:ext uri="{FF2B5EF4-FFF2-40B4-BE49-F238E27FC236}">
                  <a16:creationId xmlns:a16="http://schemas.microsoft.com/office/drawing/2014/main" id="{BF1A0944-BEE9-41A3-9A5A-E21944995B49}"/>
                </a:ext>
              </a:extLst>
            </p:cNvPr>
            <p:cNvSpPr/>
            <p:nvPr/>
          </p:nvSpPr>
          <p:spPr>
            <a:xfrm>
              <a:off x="3786395" y="1487676"/>
              <a:ext cx="90519" cy="90519"/>
            </a:xfrm>
            <a:custGeom>
              <a:avLst/>
              <a:gdLst>
                <a:gd name="connsiteX0" fmla="*/ 128989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4" y="128989"/>
                  </a:cubicBezTo>
                  <a:cubicBezTo>
                    <a:pt x="28875" y="128989"/>
                    <a:pt x="0" y="100114"/>
                    <a:pt x="0" y="64494"/>
                  </a:cubicBezTo>
                  <a:cubicBezTo>
                    <a:pt x="0" y="28875"/>
                    <a:pt x="28875" y="0"/>
                    <a:pt x="64494" y="0"/>
                  </a:cubicBezTo>
                  <a:cubicBezTo>
                    <a:pt x="100114" y="0"/>
                    <a:pt x="128989" y="28875"/>
                    <a:pt x="128989" y="64494"/>
                  </a:cubicBezTo>
                  <a:close/>
                </a:path>
              </a:pathLst>
            </a:custGeom>
            <a:solidFill>
              <a:srgbClr val="74BF4B"/>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6" name="Freeform: Shape 45">
              <a:extLst>
                <a:ext uri="{FF2B5EF4-FFF2-40B4-BE49-F238E27FC236}">
                  <a16:creationId xmlns:a16="http://schemas.microsoft.com/office/drawing/2014/main" id="{F363B05B-C5C2-4A41-9B34-7B9F34622CBB}"/>
                </a:ext>
              </a:extLst>
            </p:cNvPr>
            <p:cNvSpPr/>
            <p:nvPr/>
          </p:nvSpPr>
          <p:spPr>
            <a:xfrm>
              <a:off x="4084437" y="1570820"/>
              <a:ext cx="90519" cy="90519"/>
            </a:xfrm>
            <a:custGeom>
              <a:avLst/>
              <a:gdLst>
                <a:gd name="connsiteX0" fmla="*/ 128989 w 128988"/>
                <a:gd name="connsiteY0" fmla="*/ 64494 h 128988"/>
                <a:gd name="connsiteX1" fmla="*/ 64495 w 128988"/>
                <a:gd name="connsiteY1" fmla="*/ 128989 h 128988"/>
                <a:gd name="connsiteX2" fmla="*/ 0 w 128988"/>
                <a:gd name="connsiteY2" fmla="*/ 64494 h 128988"/>
                <a:gd name="connsiteX3" fmla="*/ 64495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5" y="128989"/>
                  </a:cubicBezTo>
                  <a:cubicBezTo>
                    <a:pt x="28875" y="128989"/>
                    <a:pt x="0" y="100114"/>
                    <a:pt x="0" y="64494"/>
                  </a:cubicBezTo>
                  <a:cubicBezTo>
                    <a:pt x="0" y="28875"/>
                    <a:pt x="28875" y="0"/>
                    <a:pt x="64495" y="0"/>
                  </a:cubicBezTo>
                  <a:cubicBezTo>
                    <a:pt x="100114" y="0"/>
                    <a:pt x="128989" y="28875"/>
                    <a:pt x="128989" y="64494"/>
                  </a:cubicBezTo>
                  <a:close/>
                </a:path>
              </a:pathLst>
            </a:custGeom>
            <a:solidFill>
              <a:srgbClr val="74BF4B"/>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7" name="Freeform: Shape 46">
              <a:extLst>
                <a:ext uri="{FF2B5EF4-FFF2-40B4-BE49-F238E27FC236}">
                  <a16:creationId xmlns:a16="http://schemas.microsoft.com/office/drawing/2014/main" id="{228E1118-80FA-4346-8BB9-49BC2288B025}"/>
                </a:ext>
              </a:extLst>
            </p:cNvPr>
            <p:cNvSpPr/>
            <p:nvPr/>
          </p:nvSpPr>
          <p:spPr>
            <a:xfrm>
              <a:off x="3876579" y="1648599"/>
              <a:ext cx="90519" cy="90519"/>
            </a:xfrm>
            <a:custGeom>
              <a:avLst/>
              <a:gdLst>
                <a:gd name="connsiteX0" fmla="*/ 128989 w 128988"/>
                <a:gd name="connsiteY0" fmla="*/ 64494 h 128988"/>
                <a:gd name="connsiteX1" fmla="*/ 64495 w 128988"/>
                <a:gd name="connsiteY1" fmla="*/ 128989 h 128988"/>
                <a:gd name="connsiteX2" fmla="*/ 0 w 128988"/>
                <a:gd name="connsiteY2" fmla="*/ 64494 h 128988"/>
                <a:gd name="connsiteX3" fmla="*/ 64495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5" y="128989"/>
                  </a:cubicBezTo>
                  <a:cubicBezTo>
                    <a:pt x="28875" y="128989"/>
                    <a:pt x="0" y="100114"/>
                    <a:pt x="0" y="64494"/>
                  </a:cubicBezTo>
                  <a:cubicBezTo>
                    <a:pt x="0" y="28875"/>
                    <a:pt x="28875" y="0"/>
                    <a:pt x="64495" y="0"/>
                  </a:cubicBezTo>
                  <a:cubicBezTo>
                    <a:pt x="100114" y="0"/>
                    <a:pt x="128989" y="28875"/>
                    <a:pt x="128989" y="64494"/>
                  </a:cubicBezTo>
                  <a:close/>
                </a:path>
              </a:pathLst>
            </a:custGeom>
            <a:solidFill>
              <a:srgbClr val="74BF4B"/>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8" name="Freeform: Shape 47">
              <a:extLst>
                <a:ext uri="{FF2B5EF4-FFF2-40B4-BE49-F238E27FC236}">
                  <a16:creationId xmlns:a16="http://schemas.microsoft.com/office/drawing/2014/main" id="{3A37E97F-4A79-48B3-9524-5E3C3274278B}"/>
                </a:ext>
              </a:extLst>
            </p:cNvPr>
            <p:cNvSpPr/>
            <p:nvPr/>
          </p:nvSpPr>
          <p:spPr>
            <a:xfrm>
              <a:off x="3977826" y="1797453"/>
              <a:ext cx="90519" cy="90519"/>
            </a:xfrm>
            <a:custGeom>
              <a:avLst/>
              <a:gdLst>
                <a:gd name="connsiteX0" fmla="*/ 128989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3" y="128989"/>
                    <a:pt x="64494" y="128989"/>
                  </a:cubicBezTo>
                  <a:cubicBezTo>
                    <a:pt x="28875" y="128989"/>
                    <a:pt x="0" y="100114"/>
                    <a:pt x="0" y="64494"/>
                  </a:cubicBezTo>
                  <a:cubicBezTo>
                    <a:pt x="0" y="28875"/>
                    <a:pt x="28875" y="0"/>
                    <a:pt x="64494" y="0"/>
                  </a:cubicBezTo>
                  <a:cubicBezTo>
                    <a:pt x="100113" y="0"/>
                    <a:pt x="128989" y="28875"/>
                    <a:pt x="128989" y="64494"/>
                  </a:cubicBezTo>
                  <a:close/>
                </a:path>
              </a:pathLst>
            </a:custGeom>
            <a:solidFill>
              <a:srgbClr val="74BF4B"/>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49" name="Freeform: Shape 48">
              <a:extLst>
                <a:ext uri="{FF2B5EF4-FFF2-40B4-BE49-F238E27FC236}">
                  <a16:creationId xmlns:a16="http://schemas.microsoft.com/office/drawing/2014/main" id="{24D68836-B357-4B34-ACE4-3CA78DBE1482}"/>
                </a:ext>
              </a:extLst>
            </p:cNvPr>
            <p:cNvSpPr/>
            <p:nvPr/>
          </p:nvSpPr>
          <p:spPr>
            <a:xfrm>
              <a:off x="3362965" y="1509803"/>
              <a:ext cx="90519" cy="90519"/>
            </a:xfrm>
            <a:custGeom>
              <a:avLst/>
              <a:gdLst>
                <a:gd name="connsiteX0" fmla="*/ 128989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3" y="128989"/>
                    <a:pt x="64494" y="128989"/>
                  </a:cubicBezTo>
                  <a:cubicBezTo>
                    <a:pt x="28875" y="128989"/>
                    <a:pt x="0" y="100114"/>
                    <a:pt x="0" y="64494"/>
                  </a:cubicBezTo>
                  <a:cubicBezTo>
                    <a:pt x="0" y="28875"/>
                    <a:pt x="28875" y="0"/>
                    <a:pt x="64494" y="0"/>
                  </a:cubicBezTo>
                  <a:cubicBezTo>
                    <a:pt x="100113" y="0"/>
                    <a:pt x="128989" y="28875"/>
                    <a:pt x="128989" y="64494"/>
                  </a:cubicBezTo>
                  <a:close/>
                </a:path>
              </a:pathLst>
            </a:custGeom>
            <a:solidFill>
              <a:srgbClr val="0D274D"/>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0" name="Freeform: Shape 49">
              <a:extLst>
                <a:ext uri="{FF2B5EF4-FFF2-40B4-BE49-F238E27FC236}">
                  <a16:creationId xmlns:a16="http://schemas.microsoft.com/office/drawing/2014/main" id="{28A3E6AB-381F-4427-AA9F-A5F137CCC68E}"/>
                </a:ext>
              </a:extLst>
            </p:cNvPr>
            <p:cNvSpPr/>
            <p:nvPr/>
          </p:nvSpPr>
          <p:spPr>
            <a:xfrm>
              <a:off x="3201707" y="1590264"/>
              <a:ext cx="90519" cy="90519"/>
            </a:xfrm>
            <a:custGeom>
              <a:avLst/>
              <a:gdLst>
                <a:gd name="connsiteX0" fmla="*/ 128989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3" y="128989"/>
                    <a:pt x="64494" y="128989"/>
                  </a:cubicBezTo>
                  <a:cubicBezTo>
                    <a:pt x="28875" y="128989"/>
                    <a:pt x="0" y="100114"/>
                    <a:pt x="0" y="64494"/>
                  </a:cubicBezTo>
                  <a:cubicBezTo>
                    <a:pt x="0" y="28875"/>
                    <a:pt x="28875" y="0"/>
                    <a:pt x="64494" y="0"/>
                  </a:cubicBezTo>
                  <a:cubicBezTo>
                    <a:pt x="100113" y="0"/>
                    <a:pt x="128989" y="28875"/>
                    <a:pt x="128989" y="64494"/>
                  </a:cubicBezTo>
                  <a:close/>
                </a:path>
              </a:pathLst>
            </a:custGeom>
            <a:solidFill>
              <a:srgbClr val="0D274D"/>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1" name="Freeform: Shape 50">
              <a:extLst>
                <a:ext uri="{FF2B5EF4-FFF2-40B4-BE49-F238E27FC236}">
                  <a16:creationId xmlns:a16="http://schemas.microsoft.com/office/drawing/2014/main" id="{39CD96D2-29BF-4D3A-A7A2-C9C2BD3459F8}"/>
                </a:ext>
              </a:extLst>
            </p:cNvPr>
            <p:cNvSpPr/>
            <p:nvPr/>
          </p:nvSpPr>
          <p:spPr>
            <a:xfrm>
              <a:off x="3790753" y="1212765"/>
              <a:ext cx="90519" cy="90519"/>
            </a:xfrm>
            <a:custGeom>
              <a:avLst/>
              <a:gdLst>
                <a:gd name="connsiteX0" fmla="*/ 128988 w 128988"/>
                <a:gd name="connsiteY0" fmla="*/ 64494 h 128988"/>
                <a:gd name="connsiteX1" fmla="*/ 64494 w 128988"/>
                <a:gd name="connsiteY1" fmla="*/ 128989 h 128988"/>
                <a:gd name="connsiteX2" fmla="*/ 0 w 128988"/>
                <a:gd name="connsiteY2" fmla="*/ 64494 h 128988"/>
                <a:gd name="connsiteX3" fmla="*/ 64494 w 128988"/>
                <a:gd name="connsiteY3" fmla="*/ 0 h 128988"/>
                <a:gd name="connsiteX4" fmla="*/ 128988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8" y="64494"/>
                  </a:moveTo>
                  <a:cubicBezTo>
                    <a:pt x="128988" y="100114"/>
                    <a:pt x="100113" y="128989"/>
                    <a:pt x="64494" y="128989"/>
                  </a:cubicBezTo>
                  <a:cubicBezTo>
                    <a:pt x="28875" y="128989"/>
                    <a:pt x="0" y="100114"/>
                    <a:pt x="0" y="64494"/>
                  </a:cubicBezTo>
                  <a:cubicBezTo>
                    <a:pt x="0" y="28875"/>
                    <a:pt x="28875" y="0"/>
                    <a:pt x="64494" y="0"/>
                  </a:cubicBezTo>
                  <a:cubicBezTo>
                    <a:pt x="100113" y="0"/>
                    <a:pt x="128988" y="28875"/>
                    <a:pt x="128988" y="64494"/>
                  </a:cubicBezTo>
                  <a:close/>
                </a:path>
              </a:pathLst>
            </a:custGeom>
            <a:solidFill>
              <a:srgbClr val="00BCEB"/>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2" name="Freeform: Shape 51">
              <a:extLst>
                <a:ext uri="{FF2B5EF4-FFF2-40B4-BE49-F238E27FC236}">
                  <a16:creationId xmlns:a16="http://schemas.microsoft.com/office/drawing/2014/main" id="{1DD37B98-A474-424D-B2AE-E0E2C3C2D7E5}"/>
                </a:ext>
              </a:extLst>
            </p:cNvPr>
            <p:cNvSpPr/>
            <p:nvPr/>
          </p:nvSpPr>
          <p:spPr>
            <a:xfrm>
              <a:off x="3687159" y="1326753"/>
              <a:ext cx="90519" cy="90519"/>
            </a:xfrm>
            <a:custGeom>
              <a:avLst/>
              <a:gdLst>
                <a:gd name="connsiteX0" fmla="*/ 128989 w 128988"/>
                <a:gd name="connsiteY0" fmla="*/ 64494 h 128988"/>
                <a:gd name="connsiteX1" fmla="*/ 64495 w 128988"/>
                <a:gd name="connsiteY1" fmla="*/ 128989 h 128988"/>
                <a:gd name="connsiteX2" fmla="*/ 0 w 128988"/>
                <a:gd name="connsiteY2" fmla="*/ 64494 h 128988"/>
                <a:gd name="connsiteX3" fmla="*/ 64495 w 128988"/>
                <a:gd name="connsiteY3" fmla="*/ 0 h 128988"/>
                <a:gd name="connsiteX4" fmla="*/ 128989 w 128988"/>
                <a:gd name="connsiteY4" fmla="*/ 64494 h 128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88" h="128988">
                  <a:moveTo>
                    <a:pt x="128989" y="64494"/>
                  </a:moveTo>
                  <a:cubicBezTo>
                    <a:pt x="128989" y="100114"/>
                    <a:pt x="100114" y="128989"/>
                    <a:pt x="64495" y="128989"/>
                  </a:cubicBezTo>
                  <a:cubicBezTo>
                    <a:pt x="28875" y="128989"/>
                    <a:pt x="0" y="100114"/>
                    <a:pt x="0" y="64494"/>
                  </a:cubicBezTo>
                  <a:cubicBezTo>
                    <a:pt x="0" y="28875"/>
                    <a:pt x="28875" y="0"/>
                    <a:pt x="64495" y="0"/>
                  </a:cubicBezTo>
                  <a:cubicBezTo>
                    <a:pt x="100114" y="0"/>
                    <a:pt x="128989" y="28875"/>
                    <a:pt x="128989" y="64494"/>
                  </a:cubicBezTo>
                  <a:close/>
                </a:path>
              </a:pathLst>
            </a:custGeom>
            <a:solidFill>
              <a:srgbClr val="0D274D"/>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8" name="Freeform: Shape 57">
              <a:extLst>
                <a:ext uri="{FF2B5EF4-FFF2-40B4-BE49-F238E27FC236}">
                  <a16:creationId xmlns:a16="http://schemas.microsoft.com/office/drawing/2014/main" id="{25B10F2E-EE53-4F02-8A5B-C1939F87AEFE}"/>
                </a:ext>
              </a:extLst>
            </p:cNvPr>
            <p:cNvSpPr/>
            <p:nvPr/>
          </p:nvSpPr>
          <p:spPr>
            <a:xfrm>
              <a:off x="2527087" y="2179227"/>
              <a:ext cx="53482" cy="53724"/>
            </a:xfrm>
            <a:custGeom>
              <a:avLst/>
              <a:gdLst>
                <a:gd name="connsiteX0" fmla="*/ 74169 w 76211"/>
                <a:gd name="connsiteY0" fmla="*/ 2508 h 76557"/>
                <a:gd name="connsiteX1" fmla="*/ 62225 w 76211"/>
                <a:gd name="connsiteY1" fmla="*/ 2508 h 76557"/>
                <a:gd name="connsiteX2" fmla="*/ 38338 w 76211"/>
                <a:gd name="connsiteY2" fmla="*/ 26395 h 76557"/>
                <a:gd name="connsiteX3" fmla="*/ 14452 w 76211"/>
                <a:gd name="connsiteY3" fmla="*/ 2508 h 76557"/>
                <a:gd name="connsiteX4" fmla="*/ 2508 w 76211"/>
                <a:gd name="connsiteY4" fmla="*/ 2508 h 76557"/>
                <a:gd name="connsiteX5" fmla="*/ 2508 w 76211"/>
                <a:gd name="connsiteY5" fmla="*/ 14452 h 76557"/>
                <a:gd name="connsiteX6" fmla="*/ 26395 w 76211"/>
                <a:gd name="connsiteY6" fmla="*/ 38338 h 76557"/>
                <a:gd name="connsiteX7" fmla="*/ 2508 w 76211"/>
                <a:gd name="connsiteY7" fmla="*/ 62225 h 76557"/>
                <a:gd name="connsiteX8" fmla="*/ 2508 w 76211"/>
                <a:gd name="connsiteY8" fmla="*/ 74169 h 76557"/>
                <a:gd name="connsiteX9" fmla="*/ 8241 w 76211"/>
                <a:gd name="connsiteY9" fmla="*/ 76557 h 76557"/>
                <a:gd name="connsiteX10" fmla="*/ 13974 w 76211"/>
                <a:gd name="connsiteY10" fmla="*/ 74169 h 76557"/>
                <a:gd name="connsiteX11" fmla="*/ 37861 w 76211"/>
                <a:gd name="connsiteY11" fmla="*/ 50282 h 76557"/>
                <a:gd name="connsiteX12" fmla="*/ 61748 w 76211"/>
                <a:gd name="connsiteY12" fmla="*/ 74169 h 76557"/>
                <a:gd name="connsiteX13" fmla="*/ 67480 w 76211"/>
                <a:gd name="connsiteY13" fmla="*/ 76557 h 76557"/>
                <a:gd name="connsiteX14" fmla="*/ 73213 w 76211"/>
                <a:gd name="connsiteY14" fmla="*/ 74169 h 76557"/>
                <a:gd name="connsiteX15" fmla="*/ 73213 w 76211"/>
                <a:gd name="connsiteY15" fmla="*/ 62225 h 76557"/>
                <a:gd name="connsiteX16" fmla="*/ 49326 w 76211"/>
                <a:gd name="connsiteY16" fmla="*/ 38338 h 76557"/>
                <a:gd name="connsiteX17" fmla="*/ 73213 w 76211"/>
                <a:gd name="connsiteY17" fmla="*/ 14452 h 76557"/>
                <a:gd name="connsiteX18" fmla="*/ 74169 w 76211"/>
                <a:gd name="connsiteY18" fmla="*/ 2508 h 7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211" h="76557">
                  <a:moveTo>
                    <a:pt x="74169" y="2508"/>
                  </a:moveTo>
                  <a:cubicBezTo>
                    <a:pt x="70824" y="-836"/>
                    <a:pt x="65569" y="-836"/>
                    <a:pt x="62225" y="2508"/>
                  </a:cubicBezTo>
                  <a:lnTo>
                    <a:pt x="38338" y="26395"/>
                  </a:lnTo>
                  <a:lnTo>
                    <a:pt x="14452" y="2508"/>
                  </a:lnTo>
                  <a:cubicBezTo>
                    <a:pt x="11107" y="-836"/>
                    <a:pt x="5852" y="-836"/>
                    <a:pt x="2508" y="2508"/>
                  </a:cubicBezTo>
                  <a:cubicBezTo>
                    <a:pt x="-836" y="5852"/>
                    <a:pt x="-836" y="11107"/>
                    <a:pt x="2508" y="14452"/>
                  </a:cubicBezTo>
                  <a:lnTo>
                    <a:pt x="26395" y="38338"/>
                  </a:lnTo>
                  <a:lnTo>
                    <a:pt x="2508" y="62225"/>
                  </a:lnTo>
                  <a:cubicBezTo>
                    <a:pt x="-836" y="65569"/>
                    <a:pt x="-836" y="70824"/>
                    <a:pt x="2508" y="74169"/>
                  </a:cubicBezTo>
                  <a:cubicBezTo>
                    <a:pt x="3941" y="75602"/>
                    <a:pt x="6330" y="76557"/>
                    <a:pt x="8241" y="76557"/>
                  </a:cubicBezTo>
                  <a:cubicBezTo>
                    <a:pt x="10152" y="76557"/>
                    <a:pt x="12541" y="75602"/>
                    <a:pt x="13974" y="74169"/>
                  </a:cubicBezTo>
                  <a:lnTo>
                    <a:pt x="37861" y="50282"/>
                  </a:lnTo>
                  <a:lnTo>
                    <a:pt x="61748" y="74169"/>
                  </a:lnTo>
                  <a:cubicBezTo>
                    <a:pt x="63181" y="75602"/>
                    <a:pt x="65569" y="76557"/>
                    <a:pt x="67480" y="76557"/>
                  </a:cubicBezTo>
                  <a:cubicBezTo>
                    <a:pt x="69391" y="76557"/>
                    <a:pt x="71780" y="75602"/>
                    <a:pt x="73213" y="74169"/>
                  </a:cubicBezTo>
                  <a:cubicBezTo>
                    <a:pt x="76557" y="70824"/>
                    <a:pt x="76557" y="65569"/>
                    <a:pt x="73213" y="62225"/>
                  </a:cubicBezTo>
                  <a:lnTo>
                    <a:pt x="49326" y="38338"/>
                  </a:lnTo>
                  <a:lnTo>
                    <a:pt x="73213" y="14452"/>
                  </a:lnTo>
                  <a:cubicBezTo>
                    <a:pt x="77035" y="11107"/>
                    <a:pt x="77035" y="5374"/>
                    <a:pt x="74169" y="2508"/>
                  </a:cubicBezTo>
                  <a:close/>
                </a:path>
              </a:pathLst>
            </a:custGeom>
            <a:solidFill>
              <a:srgbClr val="00BCEA"/>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9" name="Freeform: Shape 58">
              <a:extLst>
                <a:ext uri="{FF2B5EF4-FFF2-40B4-BE49-F238E27FC236}">
                  <a16:creationId xmlns:a16="http://schemas.microsoft.com/office/drawing/2014/main" id="{12EC8980-D486-4207-9D91-BE2BC4C8BE79}"/>
                </a:ext>
              </a:extLst>
            </p:cNvPr>
            <p:cNvSpPr/>
            <p:nvPr/>
          </p:nvSpPr>
          <p:spPr>
            <a:xfrm>
              <a:off x="2769813" y="2286844"/>
              <a:ext cx="53732" cy="53724"/>
            </a:xfrm>
            <a:custGeom>
              <a:avLst/>
              <a:gdLst>
                <a:gd name="connsiteX0" fmla="*/ 74169 w 76568"/>
                <a:gd name="connsiteY0" fmla="*/ 2508 h 76557"/>
                <a:gd name="connsiteX1" fmla="*/ 62225 w 76568"/>
                <a:gd name="connsiteY1" fmla="*/ 2508 h 76557"/>
                <a:gd name="connsiteX2" fmla="*/ 38338 w 76568"/>
                <a:gd name="connsiteY2" fmla="*/ 26395 h 76557"/>
                <a:gd name="connsiteX3" fmla="*/ 14452 w 76568"/>
                <a:gd name="connsiteY3" fmla="*/ 2508 h 76557"/>
                <a:gd name="connsiteX4" fmla="*/ 2508 w 76568"/>
                <a:gd name="connsiteY4" fmla="*/ 2508 h 76557"/>
                <a:gd name="connsiteX5" fmla="*/ 2508 w 76568"/>
                <a:gd name="connsiteY5" fmla="*/ 14452 h 76557"/>
                <a:gd name="connsiteX6" fmla="*/ 26395 w 76568"/>
                <a:gd name="connsiteY6" fmla="*/ 38338 h 76557"/>
                <a:gd name="connsiteX7" fmla="*/ 2508 w 76568"/>
                <a:gd name="connsiteY7" fmla="*/ 62225 h 76557"/>
                <a:gd name="connsiteX8" fmla="*/ 2508 w 76568"/>
                <a:gd name="connsiteY8" fmla="*/ 74169 h 76557"/>
                <a:gd name="connsiteX9" fmla="*/ 8241 w 76568"/>
                <a:gd name="connsiteY9" fmla="*/ 76557 h 76557"/>
                <a:gd name="connsiteX10" fmla="*/ 13974 w 76568"/>
                <a:gd name="connsiteY10" fmla="*/ 74169 h 76557"/>
                <a:gd name="connsiteX11" fmla="*/ 37860 w 76568"/>
                <a:gd name="connsiteY11" fmla="*/ 50282 h 76557"/>
                <a:gd name="connsiteX12" fmla="*/ 61747 w 76568"/>
                <a:gd name="connsiteY12" fmla="*/ 74169 h 76557"/>
                <a:gd name="connsiteX13" fmla="*/ 67480 w 76568"/>
                <a:gd name="connsiteY13" fmla="*/ 76557 h 76557"/>
                <a:gd name="connsiteX14" fmla="*/ 73213 w 76568"/>
                <a:gd name="connsiteY14" fmla="*/ 74169 h 76557"/>
                <a:gd name="connsiteX15" fmla="*/ 73213 w 76568"/>
                <a:gd name="connsiteY15" fmla="*/ 62225 h 76557"/>
                <a:gd name="connsiteX16" fmla="*/ 49326 w 76568"/>
                <a:gd name="connsiteY16" fmla="*/ 38338 h 76557"/>
                <a:gd name="connsiteX17" fmla="*/ 73213 w 76568"/>
                <a:gd name="connsiteY17" fmla="*/ 14452 h 76557"/>
                <a:gd name="connsiteX18" fmla="*/ 74169 w 76568"/>
                <a:gd name="connsiteY18" fmla="*/ 2508 h 7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568" h="76557">
                  <a:moveTo>
                    <a:pt x="74169" y="2508"/>
                  </a:moveTo>
                  <a:cubicBezTo>
                    <a:pt x="70824" y="-836"/>
                    <a:pt x="65569" y="-836"/>
                    <a:pt x="62225" y="2508"/>
                  </a:cubicBezTo>
                  <a:lnTo>
                    <a:pt x="38338" y="26395"/>
                  </a:lnTo>
                  <a:lnTo>
                    <a:pt x="14452" y="2508"/>
                  </a:lnTo>
                  <a:cubicBezTo>
                    <a:pt x="11107" y="-836"/>
                    <a:pt x="5852" y="-836"/>
                    <a:pt x="2508" y="2508"/>
                  </a:cubicBezTo>
                  <a:cubicBezTo>
                    <a:pt x="-836" y="5852"/>
                    <a:pt x="-836" y="11107"/>
                    <a:pt x="2508" y="14452"/>
                  </a:cubicBezTo>
                  <a:lnTo>
                    <a:pt x="26395" y="38338"/>
                  </a:lnTo>
                  <a:lnTo>
                    <a:pt x="2508" y="62225"/>
                  </a:lnTo>
                  <a:cubicBezTo>
                    <a:pt x="-836" y="65569"/>
                    <a:pt x="-836" y="70824"/>
                    <a:pt x="2508" y="74169"/>
                  </a:cubicBezTo>
                  <a:cubicBezTo>
                    <a:pt x="3941" y="75602"/>
                    <a:pt x="6330" y="76557"/>
                    <a:pt x="8241" y="76557"/>
                  </a:cubicBezTo>
                  <a:cubicBezTo>
                    <a:pt x="10152" y="76557"/>
                    <a:pt x="12540" y="75602"/>
                    <a:pt x="13974" y="74169"/>
                  </a:cubicBezTo>
                  <a:lnTo>
                    <a:pt x="37860" y="50282"/>
                  </a:lnTo>
                  <a:lnTo>
                    <a:pt x="61747" y="74169"/>
                  </a:lnTo>
                  <a:cubicBezTo>
                    <a:pt x="63181" y="75602"/>
                    <a:pt x="65569" y="76557"/>
                    <a:pt x="67480" y="76557"/>
                  </a:cubicBezTo>
                  <a:cubicBezTo>
                    <a:pt x="69391" y="76557"/>
                    <a:pt x="71780" y="75602"/>
                    <a:pt x="73213" y="74169"/>
                  </a:cubicBezTo>
                  <a:cubicBezTo>
                    <a:pt x="76557" y="70824"/>
                    <a:pt x="76557" y="65569"/>
                    <a:pt x="73213" y="62225"/>
                  </a:cubicBezTo>
                  <a:lnTo>
                    <a:pt x="49326" y="38338"/>
                  </a:lnTo>
                  <a:lnTo>
                    <a:pt x="73213" y="14452"/>
                  </a:lnTo>
                  <a:cubicBezTo>
                    <a:pt x="77513" y="11107"/>
                    <a:pt x="77513" y="5852"/>
                    <a:pt x="74169" y="2508"/>
                  </a:cubicBezTo>
                  <a:close/>
                </a:path>
              </a:pathLst>
            </a:custGeom>
            <a:solidFill>
              <a:srgbClr val="00BCEA"/>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0" name="Freeform: Shape 59">
              <a:extLst>
                <a:ext uri="{FF2B5EF4-FFF2-40B4-BE49-F238E27FC236}">
                  <a16:creationId xmlns:a16="http://schemas.microsoft.com/office/drawing/2014/main" id="{854A5E8E-CC99-42FE-A68A-5A2514F415D9}"/>
                </a:ext>
              </a:extLst>
            </p:cNvPr>
            <p:cNvSpPr/>
            <p:nvPr/>
          </p:nvSpPr>
          <p:spPr>
            <a:xfrm>
              <a:off x="3131555" y="2395467"/>
              <a:ext cx="53732" cy="53724"/>
            </a:xfrm>
            <a:custGeom>
              <a:avLst/>
              <a:gdLst>
                <a:gd name="connsiteX0" fmla="*/ 74168 w 76568"/>
                <a:gd name="connsiteY0" fmla="*/ 2508 h 76557"/>
                <a:gd name="connsiteX1" fmla="*/ 62225 w 76568"/>
                <a:gd name="connsiteY1" fmla="*/ 2508 h 76557"/>
                <a:gd name="connsiteX2" fmla="*/ 38338 w 76568"/>
                <a:gd name="connsiteY2" fmla="*/ 26395 h 76557"/>
                <a:gd name="connsiteX3" fmla="*/ 14451 w 76568"/>
                <a:gd name="connsiteY3" fmla="*/ 2508 h 76557"/>
                <a:gd name="connsiteX4" fmla="*/ 2508 w 76568"/>
                <a:gd name="connsiteY4" fmla="*/ 2508 h 76557"/>
                <a:gd name="connsiteX5" fmla="*/ 2508 w 76568"/>
                <a:gd name="connsiteY5" fmla="*/ 14452 h 76557"/>
                <a:gd name="connsiteX6" fmla="*/ 26395 w 76568"/>
                <a:gd name="connsiteY6" fmla="*/ 38338 h 76557"/>
                <a:gd name="connsiteX7" fmla="*/ 2508 w 76568"/>
                <a:gd name="connsiteY7" fmla="*/ 62225 h 76557"/>
                <a:gd name="connsiteX8" fmla="*/ 2508 w 76568"/>
                <a:gd name="connsiteY8" fmla="*/ 74169 h 76557"/>
                <a:gd name="connsiteX9" fmla="*/ 8241 w 76568"/>
                <a:gd name="connsiteY9" fmla="*/ 76557 h 76557"/>
                <a:gd name="connsiteX10" fmla="*/ 13974 w 76568"/>
                <a:gd name="connsiteY10" fmla="*/ 74169 h 76557"/>
                <a:gd name="connsiteX11" fmla="*/ 37861 w 76568"/>
                <a:gd name="connsiteY11" fmla="*/ 50282 h 76557"/>
                <a:gd name="connsiteX12" fmla="*/ 61747 w 76568"/>
                <a:gd name="connsiteY12" fmla="*/ 74169 h 76557"/>
                <a:gd name="connsiteX13" fmla="*/ 67480 w 76568"/>
                <a:gd name="connsiteY13" fmla="*/ 76557 h 76557"/>
                <a:gd name="connsiteX14" fmla="*/ 73213 w 76568"/>
                <a:gd name="connsiteY14" fmla="*/ 74169 h 76557"/>
                <a:gd name="connsiteX15" fmla="*/ 73213 w 76568"/>
                <a:gd name="connsiteY15" fmla="*/ 62225 h 76557"/>
                <a:gd name="connsiteX16" fmla="*/ 49326 w 76568"/>
                <a:gd name="connsiteY16" fmla="*/ 38338 h 76557"/>
                <a:gd name="connsiteX17" fmla="*/ 73213 w 76568"/>
                <a:gd name="connsiteY17" fmla="*/ 14452 h 76557"/>
                <a:gd name="connsiteX18" fmla="*/ 74168 w 76568"/>
                <a:gd name="connsiteY18" fmla="*/ 2508 h 7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568" h="76557">
                  <a:moveTo>
                    <a:pt x="74168" y="2508"/>
                  </a:moveTo>
                  <a:cubicBezTo>
                    <a:pt x="70824" y="-836"/>
                    <a:pt x="65569" y="-836"/>
                    <a:pt x="62225" y="2508"/>
                  </a:cubicBezTo>
                  <a:lnTo>
                    <a:pt x="38338" y="26395"/>
                  </a:lnTo>
                  <a:lnTo>
                    <a:pt x="14451" y="2508"/>
                  </a:lnTo>
                  <a:cubicBezTo>
                    <a:pt x="11107" y="-836"/>
                    <a:pt x="5852" y="-836"/>
                    <a:pt x="2508" y="2508"/>
                  </a:cubicBezTo>
                  <a:cubicBezTo>
                    <a:pt x="-836" y="5852"/>
                    <a:pt x="-836" y="11107"/>
                    <a:pt x="2508" y="14452"/>
                  </a:cubicBezTo>
                  <a:lnTo>
                    <a:pt x="26395" y="38338"/>
                  </a:lnTo>
                  <a:lnTo>
                    <a:pt x="2508" y="62225"/>
                  </a:lnTo>
                  <a:cubicBezTo>
                    <a:pt x="-836" y="65569"/>
                    <a:pt x="-836" y="70824"/>
                    <a:pt x="2508" y="74169"/>
                  </a:cubicBezTo>
                  <a:cubicBezTo>
                    <a:pt x="3941" y="75602"/>
                    <a:pt x="6330" y="76557"/>
                    <a:pt x="8241" y="76557"/>
                  </a:cubicBezTo>
                  <a:cubicBezTo>
                    <a:pt x="10152" y="76557"/>
                    <a:pt x="12541" y="75602"/>
                    <a:pt x="13974" y="74169"/>
                  </a:cubicBezTo>
                  <a:lnTo>
                    <a:pt x="37861" y="50282"/>
                  </a:lnTo>
                  <a:lnTo>
                    <a:pt x="61747" y="74169"/>
                  </a:lnTo>
                  <a:cubicBezTo>
                    <a:pt x="63180" y="75602"/>
                    <a:pt x="65569" y="76557"/>
                    <a:pt x="67480" y="76557"/>
                  </a:cubicBezTo>
                  <a:cubicBezTo>
                    <a:pt x="69391" y="76557"/>
                    <a:pt x="71780" y="75602"/>
                    <a:pt x="73213" y="74169"/>
                  </a:cubicBezTo>
                  <a:cubicBezTo>
                    <a:pt x="76557" y="70824"/>
                    <a:pt x="76557" y="65569"/>
                    <a:pt x="73213" y="62225"/>
                  </a:cubicBezTo>
                  <a:lnTo>
                    <a:pt x="49326" y="38338"/>
                  </a:lnTo>
                  <a:lnTo>
                    <a:pt x="73213" y="14452"/>
                  </a:lnTo>
                  <a:cubicBezTo>
                    <a:pt x="77513" y="11107"/>
                    <a:pt x="77513" y="5374"/>
                    <a:pt x="74168" y="2508"/>
                  </a:cubicBezTo>
                  <a:close/>
                </a:path>
              </a:pathLst>
            </a:custGeom>
            <a:solidFill>
              <a:srgbClr val="00BCEA"/>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1" name="Freeform: Shape 60">
              <a:extLst>
                <a:ext uri="{FF2B5EF4-FFF2-40B4-BE49-F238E27FC236}">
                  <a16:creationId xmlns:a16="http://schemas.microsoft.com/office/drawing/2014/main" id="{179ED0BA-BCD4-46BC-A2E5-060524AE5B0F}"/>
                </a:ext>
              </a:extLst>
            </p:cNvPr>
            <p:cNvSpPr/>
            <p:nvPr/>
          </p:nvSpPr>
          <p:spPr>
            <a:xfrm>
              <a:off x="2217828" y="1253101"/>
              <a:ext cx="53732" cy="53724"/>
            </a:xfrm>
            <a:custGeom>
              <a:avLst/>
              <a:gdLst>
                <a:gd name="connsiteX0" fmla="*/ 74169 w 76568"/>
                <a:gd name="connsiteY0" fmla="*/ 2508 h 76557"/>
                <a:gd name="connsiteX1" fmla="*/ 62225 w 76568"/>
                <a:gd name="connsiteY1" fmla="*/ 2508 h 76557"/>
                <a:gd name="connsiteX2" fmla="*/ 38338 w 76568"/>
                <a:gd name="connsiteY2" fmla="*/ 26395 h 76557"/>
                <a:gd name="connsiteX3" fmla="*/ 14452 w 76568"/>
                <a:gd name="connsiteY3" fmla="*/ 2508 h 76557"/>
                <a:gd name="connsiteX4" fmla="*/ 2508 w 76568"/>
                <a:gd name="connsiteY4" fmla="*/ 2508 h 76557"/>
                <a:gd name="connsiteX5" fmla="*/ 2508 w 76568"/>
                <a:gd name="connsiteY5" fmla="*/ 14452 h 76557"/>
                <a:gd name="connsiteX6" fmla="*/ 26395 w 76568"/>
                <a:gd name="connsiteY6" fmla="*/ 38338 h 76557"/>
                <a:gd name="connsiteX7" fmla="*/ 2508 w 76568"/>
                <a:gd name="connsiteY7" fmla="*/ 62225 h 76557"/>
                <a:gd name="connsiteX8" fmla="*/ 2508 w 76568"/>
                <a:gd name="connsiteY8" fmla="*/ 74169 h 76557"/>
                <a:gd name="connsiteX9" fmla="*/ 8241 w 76568"/>
                <a:gd name="connsiteY9" fmla="*/ 76557 h 76557"/>
                <a:gd name="connsiteX10" fmla="*/ 13974 w 76568"/>
                <a:gd name="connsiteY10" fmla="*/ 74169 h 76557"/>
                <a:gd name="connsiteX11" fmla="*/ 37861 w 76568"/>
                <a:gd name="connsiteY11" fmla="*/ 50282 h 76557"/>
                <a:gd name="connsiteX12" fmla="*/ 61748 w 76568"/>
                <a:gd name="connsiteY12" fmla="*/ 74169 h 76557"/>
                <a:gd name="connsiteX13" fmla="*/ 67480 w 76568"/>
                <a:gd name="connsiteY13" fmla="*/ 76557 h 76557"/>
                <a:gd name="connsiteX14" fmla="*/ 73213 w 76568"/>
                <a:gd name="connsiteY14" fmla="*/ 74169 h 76557"/>
                <a:gd name="connsiteX15" fmla="*/ 73213 w 76568"/>
                <a:gd name="connsiteY15" fmla="*/ 62225 h 76557"/>
                <a:gd name="connsiteX16" fmla="*/ 49326 w 76568"/>
                <a:gd name="connsiteY16" fmla="*/ 38338 h 76557"/>
                <a:gd name="connsiteX17" fmla="*/ 73213 w 76568"/>
                <a:gd name="connsiteY17" fmla="*/ 14452 h 76557"/>
                <a:gd name="connsiteX18" fmla="*/ 74169 w 76568"/>
                <a:gd name="connsiteY18" fmla="*/ 2508 h 7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568" h="76557">
                  <a:moveTo>
                    <a:pt x="74169" y="2508"/>
                  </a:moveTo>
                  <a:cubicBezTo>
                    <a:pt x="70824" y="-836"/>
                    <a:pt x="65569" y="-836"/>
                    <a:pt x="62225" y="2508"/>
                  </a:cubicBezTo>
                  <a:lnTo>
                    <a:pt x="38338" y="26395"/>
                  </a:lnTo>
                  <a:lnTo>
                    <a:pt x="14452" y="2508"/>
                  </a:lnTo>
                  <a:cubicBezTo>
                    <a:pt x="11107" y="-836"/>
                    <a:pt x="5852" y="-836"/>
                    <a:pt x="2508" y="2508"/>
                  </a:cubicBezTo>
                  <a:cubicBezTo>
                    <a:pt x="-836" y="5852"/>
                    <a:pt x="-836" y="11107"/>
                    <a:pt x="2508" y="14452"/>
                  </a:cubicBezTo>
                  <a:lnTo>
                    <a:pt x="26395" y="38338"/>
                  </a:lnTo>
                  <a:lnTo>
                    <a:pt x="2508" y="62225"/>
                  </a:lnTo>
                  <a:cubicBezTo>
                    <a:pt x="-836" y="65569"/>
                    <a:pt x="-836" y="70824"/>
                    <a:pt x="2508" y="74169"/>
                  </a:cubicBezTo>
                  <a:cubicBezTo>
                    <a:pt x="3941" y="75602"/>
                    <a:pt x="6330" y="76557"/>
                    <a:pt x="8241" y="76557"/>
                  </a:cubicBezTo>
                  <a:cubicBezTo>
                    <a:pt x="10152" y="76557"/>
                    <a:pt x="12541" y="75602"/>
                    <a:pt x="13974" y="74169"/>
                  </a:cubicBezTo>
                  <a:lnTo>
                    <a:pt x="37861" y="50282"/>
                  </a:lnTo>
                  <a:lnTo>
                    <a:pt x="61748" y="74169"/>
                  </a:lnTo>
                  <a:cubicBezTo>
                    <a:pt x="63181" y="75602"/>
                    <a:pt x="65569" y="76557"/>
                    <a:pt x="67480" y="76557"/>
                  </a:cubicBezTo>
                  <a:cubicBezTo>
                    <a:pt x="69391" y="76557"/>
                    <a:pt x="71780" y="75602"/>
                    <a:pt x="73213" y="74169"/>
                  </a:cubicBezTo>
                  <a:cubicBezTo>
                    <a:pt x="76557" y="70824"/>
                    <a:pt x="76557" y="65569"/>
                    <a:pt x="73213" y="62225"/>
                  </a:cubicBezTo>
                  <a:lnTo>
                    <a:pt x="49326" y="38338"/>
                  </a:lnTo>
                  <a:lnTo>
                    <a:pt x="73213" y="14452"/>
                  </a:lnTo>
                  <a:cubicBezTo>
                    <a:pt x="77513" y="11107"/>
                    <a:pt x="77513" y="5852"/>
                    <a:pt x="74169" y="2508"/>
                  </a:cubicBezTo>
                  <a:close/>
                </a:path>
              </a:pathLst>
            </a:custGeom>
            <a:solidFill>
              <a:srgbClr val="00BCEA"/>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2" name="Freeform: Shape 61">
              <a:extLst>
                <a:ext uri="{FF2B5EF4-FFF2-40B4-BE49-F238E27FC236}">
                  <a16:creationId xmlns:a16="http://schemas.microsoft.com/office/drawing/2014/main" id="{9F2CBD5E-BDDF-4E43-A4DF-71B7AB2F2950}"/>
                </a:ext>
              </a:extLst>
            </p:cNvPr>
            <p:cNvSpPr/>
            <p:nvPr/>
          </p:nvSpPr>
          <p:spPr>
            <a:xfrm>
              <a:off x="1857426" y="1360383"/>
              <a:ext cx="53482" cy="53724"/>
            </a:xfrm>
            <a:custGeom>
              <a:avLst/>
              <a:gdLst>
                <a:gd name="connsiteX0" fmla="*/ 74169 w 76211"/>
                <a:gd name="connsiteY0" fmla="*/ 2508 h 76557"/>
                <a:gd name="connsiteX1" fmla="*/ 62225 w 76211"/>
                <a:gd name="connsiteY1" fmla="*/ 2508 h 76557"/>
                <a:gd name="connsiteX2" fmla="*/ 38338 w 76211"/>
                <a:gd name="connsiteY2" fmla="*/ 26395 h 76557"/>
                <a:gd name="connsiteX3" fmla="*/ 14452 w 76211"/>
                <a:gd name="connsiteY3" fmla="*/ 2508 h 76557"/>
                <a:gd name="connsiteX4" fmla="*/ 2508 w 76211"/>
                <a:gd name="connsiteY4" fmla="*/ 2508 h 76557"/>
                <a:gd name="connsiteX5" fmla="*/ 2508 w 76211"/>
                <a:gd name="connsiteY5" fmla="*/ 14452 h 76557"/>
                <a:gd name="connsiteX6" fmla="*/ 26395 w 76211"/>
                <a:gd name="connsiteY6" fmla="*/ 38338 h 76557"/>
                <a:gd name="connsiteX7" fmla="*/ 2508 w 76211"/>
                <a:gd name="connsiteY7" fmla="*/ 62225 h 76557"/>
                <a:gd name="connsiteX8" fmla="*/ 2508 w 76211"/>
                <a:gd name="connsiteY8" fmla="*/ 74169 h 76557"/>
                <a:gd name="connsiteX9" fmla="*/ 8241 w 76211"/>
                <a:gd name="connsiteY9" fmla="*/ 76557 h 76557"/>
                <a:gd name="connsiteX10" fmla="*/ 13974 w 76211"/>
                <a:gd name="connsiteY10" fmla="*/ 74169 h 76557"/>
                <a:gd name="connsiteX11" fmla="*/ 37861 w 76211"/>
                <a:gd name="connsiteY11" fmla="*/ 50282 h 76557"/>
                <a:gd name="connsiteX12" fmla="*/ 61748 w 76211"/>
                <a:gd name="connsiteY12" fmla="*/ 74169 h 76557"/>
                <a:gd name="connsiteX13" fmla="*/ 67480 w 76211"/>
                <a:gd name="connsiteY13" fmla="*/ 76557 h 76557"/>
                <a:gd name="connsiteX14" fmla="*/ 73213 w 76211"/>
                <a:gd name="connsiteY14" fmla="*/ 74169 h 76557"/>
                <a:gd name="connsiteX15" fmla="*/ 73213 w 76211"/>
                <a:gd name="connsiteY15" fmla="*/ 62225 h 76557"/>
                <a:gd name="connsiteX16" fmla="*/ 49326 w 76211"/>
                <a:gd name="connsiteY16" fmla="*/ 38338 h 76557"/>
                <a:gd name="connsiteX17" fmla="*/ 73213 w 76211"/>
                <a:gd name="connsiteY17" fmla="*/ 14452 h 76557"/>
                <a:gd name="connsiteX18" fmla="*/ 74169 w 76211"/>
                <a:gd name="connsiteY18" fmla="*/ 2508 h 7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211" h="76557">
                  <a:moveTo>
                    <a:pt x="74169" y="2508"/>
                  </a:moveTo>
                  <a:cubicBezTo>
                    <a:pt x="70824" y="-836"/>
                    <a:pt x="65569" y="-836"/>
                    <a:pt x="62225" y="2508"/>
                  </a:cubicBezTo>
                  <a:lnTo>
                    <a:pt x="38338" y="26395"/>
                  </a:lnTo>
                  <a:lnTo>
                    <a:pt x="14452" y="2508"/>
                  </a:lnTo>
                  <a:cubicBezTo>
                    <a:pt x="11107" y="-836"/>
                    <a:pt x="5852" y="-836"/>
                    <a:pt x="2508" y="2508"/>
                  </a:cubicBezTo>
                  <a:cubicBezTo>
                    <a:pt x="-836" y="5852"/>
                    <a:pt x="-836" y="11107"/>
                    <a:pt x="2508" y="14452"/>
                  </a:cubicBezTo>
                  <a:lnTo>
                    <a:pt x="26395" y="38338"/>
                  </a:lnTo>
                  <a:lnTo>
                    <a:pt x="2508" y="62225"/>
                  </a:lnTo>
                  <a:cubicBezTo>
                    <a:pt x="-836" y="65569"/>
                    <a:pt x="-836" y="70824"/>
                    <a:pt x="2508" y="74169"/>
                  </a:cubicBezTo>
                  <a:cubicBezTo>
                    <a:pt x="3941" y="75602"/>
                    <a:pt x="6330" y="76557"/>
                    <a:pt x="8241" y="76557"/>
                  </a:cubicBezTo>
                  <a:cubicBezTo>
                    <a:pt x="10152" y="76557"/>
                    <a:pt x="12541" y="75602"/>
                    <a:pt x="13974" y="74169"/>
                  </a:cubicBezTo>
                  <a:lnTo>
                    <a:pt x="37861" y="50282"/>
                  </a:lnTo>
                  <a:lnTo>
                    <a:pt x="61748" y="74169"/>
                  </a:lnTo>
                  <a:cubicBezTo>
                    <a:pt x="63181" y="75602"/>
                    <a:pt x="65569" y="76557"/>
                    <a:pt x="67480" y="76557"/>
                  </a:cubicBezTo>
                  <a:cubicBezTo>
                    <a:pt x="69391" y="76557"/>
                    <a:pt x="71780" y="75602"/>
                    <a:pt x="73213" y="74169"/>
                  </a:cubicBezTo>
                  <a:cubicBezTo>
                    <a:pt x="76557" y="70824"/>
                    <a:pt x="76557" y="65569"/>
                    <a:pt x="73213" y="62225"/>
                  </a:cubicBezTo>
                  <a:lnTo>
                    <a:pt x="49326" y="38338"/>
                  </a:lnTo>
                  <a:lnTo>
                    <a:pt x="73213" y="14452"/>
                  </a:lnTo>
                  <a:cubicBezTo>
                    <a:pt x="77035" y="11107"/>
                    <a:pt x="77035" y="5852"/>
                    <a:pt x="74169" y="2508"/>
                  </a:cubicBezTo>
                  <a:close/>
                </a:path>
              </a:pathLst>
            </a:custGeom>
            <a:solidFill>
              <a:srgbClr val="00BCEA"/>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3" name="Freeform: Shape 62">
              <a:extLst>
                <a:ext uri="{FF2B5EF4-FFF2-40B4-BE49-F238E27FC236}">
                  <a16:creationId xmlns:a16="http://schemas.microsoft.com/office/drawing/2014/main" id="{088126F3-6500-436B-B15D-3266D05F9B30}"/>
                </a:ext>
              </a:extLst>
            </p:cNvPr>
            <p:cNvSpPr/>
            <p:nvPr/>
          </p:nvSpPr>
          <p:spPr>
            <a:xfrm>
              <a:off x="2100152" y="1575618"/>
              <a:ext cx="53732" cy="53724"/>
            </a:xfrm>
            <a:custGeom>
              <a:avLst/>
              <a:gdLst>
                <a:gd name="connsiteX0" fmla="*/ 74169 w 76568"/>
                <a:gd name="connsiteY0" fmla="*/ 2508 h 76557"/>
                <a:gd name="connsiteX1" fmla="*/ 62225 w 76568"/>
                <a:gd name="connsiteY1" fmla="*/ 2508 h 76557"/>
                <a:gd name="connsiteX2" fmla="*/ 38338 w 76568"/>
                <a:gd name="connsiteY2" fmla="*/ 26395 h 76557"/>
                <a:gd name="connsiteX3" fmla="*/ 14452 w 76568"/>
                <a:gd name="connsiteY3" fmla="*/ 2508 h 76557"/>
                <a:gd name="connsiteX4" fmla="*/ 2508 w 76568"/>
                <a:gd name="connsiteY4" fmla="*/ 2508 h 76557"/>
                <a:gd name="connsiteX5" fmla="*/ 2508 w 76568"/>
                <a:gd name="connsiteY5" fmla="*/ 14452 h 76557"/>
                <a:gd name="connsiteX6" fmla="*/ 26395 w 76568"/>
                <a:gd name="connsiteY6" fmla="*/ 38338 h 76557"/>
                <a:gd name="connsiteX7" fmla="*/ 2508 w 76568"/>
                <a:gd name="connsiteY7" fmla="*/ 62225 h 76557"/>
                <a:gd name="connsiteX8" fmla="*/ 2508 w 76568"/>
                <a:gd name="connsiteY8" fmla="*/ 74169 h 76557"/>
                <a:gd name="connsiteX9" fmla="*/ 8241 w 76568"/>
                <a:gd name="connsiteY9" fmla="*/ 76557 h 76557"/>
                <a:gd name="connsiteX10" fmla="*/ 13974 w 76568"/>
                <a:gd name="connsiteY10" fmla="*/ 74169 h 76557"/>
                <a:gd name="connsiteX11" fmla="*/ 37860 w 76568"/>
                <a:gd name="connsiteY11" fmla="*/ 50282 h 76557"/>
                <a:gd name="connsiteX12" fmla="*/ 61747 w 76568"/>
                <a:gd name="connsiteY12" fmla="*/ 74169 h 76557"/>
                <a:gd name="connsiteX13" fmla="*/ 67480 w 76568"/>
                <a:gd name="connsiteY13" fmla="*/ 76557 h 76557"/>
                <a:gd name="connsiteX14" fmla="*/ 73213 w 76568"/>
                <a:gd name="connsiteY14" fmla="*/ 74169 h 76557"/>
                <a:gd name="connsiteX15" fmla="*/ 73213 w 76568"/>
                <a:gd name="connsiteY15" fmla="*/ 62225 h 76557"/>
                <a:gd name="connsiteX16" fmla="*/ 49326 w 76568"/>
                <a:gd name="connsiteY16" fmla="*/ 38338 h 76557"/>
                <a:gd name="connsiteX17" fmla="*/ 73213 w 76568"/>
                <a:gd name="connsiteY17" fmla="*/ 14452 h 76557"/>
                <a:gd name="connsiteX18" fmla="*/ 74169 w 76568"/>
                <a:gd name="connsiteY18" fmla="*/ 2508 h 7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568" h="76557">
                  <a:moveTo>
                    <a:pt x="74169" y="2508"/>
                  </a:moveTo>
                  <a:cubicBezTo>
                    <a:pt x="70824" y="-836"/>
                    <a:pt x="65569" y="-836"/>
                    <a:pt x="62225" y="2508"/>
                  </a:cubicBezTo>
                  <a:lnTo>
                    <a:pt x="38338" y="26395"/>
                  </a:lnTo>
                  <a:lnTo>
                    <a:pt x="14452" y="2508"/>
                  </a:lnTo>
                  <a:cubicBezTo>
                    <a:pt x="11107" y="-836"/>
                    <a:pt x="5852" y="-836"/>
                    <a:pt x="2508" y="2508"/>
                  </a:cubicBezTo>
                  <a:cubicBezTo>
                    <a:pt x="-836" y="5852"/>
                    <a:pt x="-836" y="11107"/>
                    <a:pt x="2508" y="14452"/>
                  </a:cubicBezTo>
                  <a:lnTo>
                    <a:pt x="26395" y="38338"/>
                  </a:lnTo>
                  <a:lnTo>
                    <a:pt x="2508" y="62225"/>
                  </a:lnTo>
                  <a:cubicBezTo>
                    <a:pt x="-836" y="65569"/>
                    <a:pt x="-836" y="70824"/>
                    <a:pt x="2508" y="74169"/>
                  </a:cubicBezTo>
                  <a:cubicBezTo>
                    <a:pt x="3941" y="75602"/>
                    <a:pt x="6330" y="76557"/>
                    <a:pt x="8241" y="76557"/>
                  </a:cubicBezTo>
                  <a:cubicBezTo>
                    <a:pt x="10152" y="76557"/>
                    <a:pt x="12540" y="75602"/>
                    <a:pt x="13974" y="74169"/>
                  </a:cubicBezTo>
                  <a:lnTo>
                    <a:pt x="37860" y="50282"/>
                  </a:lnTo>
                  <a:lnTo>
                    <a:pt x="61747" y="74169"/>
                  </a:lnTo>
                  <a:cubicBezTo>
                    <a:pt x="63181" y="75602"/>
                    <a:pt x="65569" y="76557"/>
                    <a:pt x="67480" y="76557"/>
                  </a:cubicBezTo>
                  <a:cubicBezTo>
                    <a:pt x="69391" y="76557"/>
                    <a:pt x="71780" y="75602"/>
                    <a:pt x="73213" y="74169"/>
                  </a:cubicBezTo>
                  <a:cubicBezTo>
                    <a:pt x="76557" y="70824"/>
                    <a:pt x="76557" y="65569"/>
                    <a:pt x="73213" y="62225"/>
                  </a:cubicBezTo>
                  <a:lnTo>
                    <a:pt x="49326" y="38338"/>
                  </a:lnTo>
                  <a:lnTo>
                    <a:pt x="73213" y="14452"/>
                  </a:lnTo>
                  <a:cubicBezTo>
                    <a:pt x="77513" y="11107"/>
                    <a:pt x="77513" y="5852"/>
                    <a:pt x="74169" y="2508"/>
                  </a:cubicBezTo>
                  <a:close/>
                </a:path>
              </a:pathLst>
            </a:custGeom>
            <a:solidFill>
              <a:srgbClr val="00BCEA"/>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4" name="Freeform: Shape 63">
              <a:extLst>
                <a:ext uri="{FF2B5EF4-FFF2-40B4-BE49-F238E27FC236}">
                  <a16:creationId xmlns:a16="http://schemas.microsoft.com/office/drawing/2014/main" id="{0EE4209A-552D-4014-8A33-B400F2F28734}"/>
                </a:ext>
              </a:extLst>
            </p:cNvPr>
            <p:cNvSpPr/>
            <p:nvPr/>
          </p:nvSpPr>
          <p:spPr>
            <a:xfrm>
              <a:off x="2702944" y="1575618"/>
              <a:ext cx="53808" cy="53724"/>
            </a:xfrm>
            <a:custGeom>
              <a:avLst/>
              <a:gdLst>
                <a:gd name="connsiteX0" fmla="*/ 50282 w 76676"/>
                <a:gd name="connsiteY0" fmla="*/ 38338 h 76557"/>
                <a:gd name="connsiteX1" fmla="*/ 74168 w 76676"/>
                <a:gd name="connsiteY1" fmla="*/ 14452 h 76557"/>
                <a:gd name="connsiteX2" fmla="*/ 74168 w 76676"/>
                <a:gd name="connsiteY2" fmla="*/ 2508 h 76557"/>
                <a:gd name="connsiteX3" fmla="*/ 62225 w 76676"/>
                <a:gd name="connsiteY3" fmla="*/ 2508 h 76557"/>
                <a:gd name="connsiteX4" fmla="*/ 38338 w 76676"/>
                <a:gd name="connsiteY4" fmla="*/ 26395 h 76557"/>
                <a:gd name="connsiteX5" fmla="*/ 14451 w 76676"/>
                <a:gd name="connsiteY5" fmla="*/ 2508 h 76557"/>
                <a:gd name="connsiteX6" fmla="*/ 2508 w 76676"/>
                <a:gd name="connsiteY6" fmla="*/ 2508 h 76557"/>
                <a:gd name="connsiteX7" fmla="*/ 2508 w 76676"/>
                <a:gd name="connsiteY7" fmla="*/ 14452 h 76557"/>
                <a:gd name="connsiteX8" fmla="*/ 26395 w 76676"/>
                <a:gd name="connsiteY8" fmla="*/ 38338 h 76557"/>
                <a:gd name="connsiteX9" fmla="*/ 2508 w 76676"/>
                <a:gd name="connsiteY9" fmla="*/ 62225 h 76557"/>
                <a:gd name="connsiteX10" fmla="*/ 2508 w 76676"/>
                <a:gd name="connsiteY10" fmla="*/ 74169 h 76557"/>
                <a:gd name="connsiteX11" fmla="*/ 8241 w 76676"/>
                <a:gd name="connsiteY11" fmla="*/ 76557 h 76557"/>
                <a:gd name="connsiteX12" fmla="*/ 13974 w 76676"/>
                <a:gd name="connsiteY12" fmla="*/ 74169 h 76557"/>
                <a:gd name="connsiteX13" fmla="*/ 37861 w 76676"/>
                <a:gd name="connsiteY13" fmla="*/ 50282 h 76557"/>
                <a:gd name="connsiteX14" fmla="*/ 61747 w 76676"/>
                <a:gd name="connsiteY14" fmla="*/ 74169 h 76557"/>
                <a:gd name="connsiteX15" fmla="*/ 67480 w 76676"/>
                <a:gd name="connsiteY15" fmla="*/ 76557 h 76557"/>
                <a:gd name="connsiteX16" fmla="*/ 73213 w 76676"/>
                <a:gd name="connsiteY16" fmla="*/ 74169 h 76557"/>
                <a:gd name="connsiteX17" fmla="*/ 73213 w 76676"/>
                <a:gd name="connsiteY17" fmla="*/ 62225 h 76557"/>
                <a:gd name="connsiteX18" fmla="*/ 50282 w 76676"/>
                <a:gd name="connsiteY18" fmla="*/ 38338 h 76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6676" h="76557">
                  <a:moveTo>
                    <a:pt x="50282" y="38338"/>
                  </a:moveTo>
                  <a:lnTo>
                    <a:pt x="74168" y="14452"/>
                  </a:lnTo>
                  <a:cubicBezTo>
                    <a:pt x="77512" y="11107"/>
                    <a:pt x="77512" y="5852"/>
                    <a:pt x="74168" y="2508"/>
                  </a:cubicBezTo>
                  <a:cubicBezTo>
                    <a:pt x="70824" y="-836"/>
                    <a:pt x="65569" y="-836"/>
                    <a:pt x="62225" y="2508"/>
                  </a:cubicBezTo>
                  <a:lnTo>
                    <a:pt x="38338" y="26395"/>
                  </a:lnTo>
                  <a:lnTo>
                    <a:pt x="14451" y="2508"/>
                  </a:lnTo>
                  <a:cubicBezTo>
                    <a:pt x="11107" y="-836"/>
                    <a:pt x="5852" y="-836"/>
                    <a:pt x="2508" y="2508"/>
                  </a:cubicBezTo>
                  <a:cubicBezTo>
                    <a:pt x="-836" y="5852"/>
                    <a:pt x="-836" y="11107"/>
                    <a:pt x="2508" y="14452"/>
                  </a:cubicBezTo>
                  <a:lnTo>
                    <a:pt x="26395" y="38338"/>
                  </a:lnTo>
                  <a:lnTo>
                    <a:pt x="2508" y="62225"/>
                  </a:lnTo>
                  <a:cubicBezTo>
                    <a:pt x="-836" y="65569"/>
                    <a:pt x="-836" y="70824"/>
                    <a:pt x="2508" y="74169"/>
                  </a:cubicBezTo>
                  <a:cubicBezTo>
                    <a:pt x="3941" y="75602"/>
                    <a:pt x="6330" y="76557"/>
                    <a:pt x="8241" y="76557"/>
                  </a:cubicBezTo>
                  <a:cubicBezTo>
                    <a:pt x="10152" y="76557"/>
                    <a:pt x="12540" y="75602"/>
                    <a:pt x="13974" y="74169"/>
                  </a:cubicBezTo>
                  <a:lnTo>
                    <a:pt x="37861" y="50282"/>
                  </a:lnTo>
                  <a:lnTo>
                    <a:pt x="61747" y="74169"/>
                  </a:lnTo>
                  <a:cubicBezTo>
                    <a:pt x="63180" y="75602"/>
                    <a:pt x="65569" y="76557"/>
                    <a:pt x="67480" y="76557"/>
                  </a:cubicBezTo>
                  <a:cubicBezTo>
                    <a:pt x="69391" y="76557"/>
                    <a:pt x="71780" y="75602"/>
                    <a:pt x="73213" y="74169"/>
                  </a:cubicBezTo>
                  <a:cubicBezTo>
                    <a:pt x="76557" y="70824"/>
                    <a:pt x="76557" y="65569"/>
                    <a:pt x="73213" y="62225"/>
                  </a:cubicBezTo>
                  <a:lnTo>
                    <a:pt x="50282" y="38338"/>
                  </a:lnTo>
                  <a:close/>
                </a:path>
              </a:pathLst>
            </a:custGeom>
            <a:solidFill>
              <a:srgbClr val="00BCEA"/>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4" name="Freeform: Shape 53">
              <a:extLst>
                <a:ext uri="{FF2B5EF4-FFF2-40B4-BE49-F238E27FC236}">
                  <a16:creationId xmlns:a16="http://schemas.microsoft.com/office/drawing/2014/main" id="{6CC91383-7FC4-4756-89C3-2CB0121D26A6}"/>
                </a:ext>
              </a:extLst>
            </p:cNvPr>
            <p:cNvSpPr/>
            <p:nvPr/>
          </p:nvSpPr>
          <p:spPr>
            <a:xfrm>
              <a:off x="533400" y="1872551"/>
              <a:ext cx="95883" cy="95883"/>
            </a:xfrm>
            <a:custGeom>
              <a:avLst/>
              <a:gdLst>
                <a:gd name="connsiteX0" fmla="*/ 136632 w 136632"/>
                <a:gd name="connsiteY0" fmla="*/ 68316 h 136632"/>
                <a:gd name="connsiteX1" fmla="*/ 68316 w 136632"/>
                <a:gd name="connsiteY1" fmla="*/ 136632 h 136632"/>
                <a:gd name="connsiteX2" fmla="*/ 0 w 136632"/>
                <a:gd name="connsiteY2" fmla="*/ 68316 h 136632"/>
                <a:gd name="connsiteX3" fmla="*/ 68316 w 136632"/>
                <a:gd name="connsiteY3" fmla="*/ 0 h 136632"/>
                <a:gd name="connsiteX4" fmla="*/ 136632 w 136632"/>
                <a:gd name="connsiteY4" fmla="*/ 68316 h 13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632" h="136632">
                  <a:moveTo>
                    <a:pt x="136632" y="68316"/>
                  </a:moveTo>
                  <a:cubicBezTo>
                    <a:pt x="136632" y="106046"/>
                    <a:pt x="106046" y="136632"/>
                    <a:pt x="68316" y="136632"/>
                  </a:cubicBezTo>
                  <a:cubicBezTo>
                    <a:pt x="30586" y="136632"/>
                    <a:pt x="0" y="106046"/>
                    <a:pt x="0" y="68316"/>
                  </a:cubicBezTo>
                  <a:cubicBezTo>
                    <a:pt x="0" y="30586"/>
                    <a:pt x="30586" y="0"/>
                    <a:pt x="68316" y="0"/>
                  </a:cubicBezTo>
                  <a:cubicBezTo>
                    <a:pt x="106046" y="0"/>
                    <a:pt x="136632" y="30586"/>
                    <a:pt x="136632" y="68316"/>
                  </a:cubicBezTo>
                  <a:close/>
                </a:path>
              </a:pathLst>
            </a:custGeom>
            <a:solidFill>
              <a:srgbClr val="FBAB2C"/>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5" name="Freeform: Shape 54">
              <a:extLst>
                <a:ext uri="{FF2B5EF4-FFF2-40B4-BE49-F238E27FC236}">
                  <a16:creationId xmlns:a16="http://schemas.microsoft.com/office/drawing/2014/main" id="{BE1997E1-84B1-4FA4-A696-4394D6E597D8}"/>
                </a:ext>
              </a:extLst>
            </p:cNvPr>
            <p:cNvSpPr/>
            <p:nvPr/>
          </p:nvSpPr>
          <p:spPr>
            <a:xfrm>
              <a:off x="533400" y="2039173"/>
              <a:ext cx="95883" cy="95883"/>
            </a:xfrm>
            <a:custGeom>
              <a:avLst/>
              <a:gdLst>
                <a:gd name="connsiteX0" fmla="*/ 136632 w 136632"/>
                <a:gd name="connsiteY0" fmla="*/ 68316 h 136632"/>
                <a:gd name="connsiteX1" fmla="*/ 68316 w 136632"/>
                <a:gd name="connsiteY1" fmla="*/ 136632 h 136632"/>
                <a:gd name="connsiteX2" fmla="*/ 0 w 136632"/>
                <a:gd name="connsiteY2" fmla="*/ 68316 h 136632"/>
                <a:gd name="connsiteX3" fmla="*/ 68316 w 136632"/>
                <a:gd name="connsiteY3" fmla="*/ 0 h 136632"/>
                <a:gd name="connsiteX4" fmla="*/ 136632 w 136632"/>
                <a:gd name="connsiteY4" fmla="*/ 68316 h 13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632" h="136632">
                  <a:moveTo>
                    <a:pt x="136632" y="68316"/>
                  </a:moveTo>
                  <a:cubicBezTo>
                    <a:pt x="136632" y="106046"/>
                    <a:pt x="106046" y="136632"/>
                    <a:pt x="68316" y="136632"/>
                  </a:cubicBezTo>
                  <a:cubicBezTo>
                    <a:pt x="30586" y="136632"/>
                    <a:pt x="0" y="106046"/>
                    <a:pt x="0" y="68316"/>
                  </a:cubicBezTo>
                  <a:cubicBezTo>
                    <a:pt x="0" y="30586"/>
                    <a:pt x="30586" y="0"/>
                    <a:pt x="68316" y="0"/>
                  </a:cubicBezTo>
                  <a:cubicBezTo>
                    <a:pt x="106046" y="0"/>
                    <a:pt x="136632" y="30586"/>
                    <a:pt x="136632" y="68316"/>
                  </a:cubicBezTo>
                  <a:close/>
                </a:path>
              </a:pathLst>
            </a:custGeom>
            <a:solidFill>
              <a:srgbClr val="FBAB2C"/>
            </a:solidFill>
            <a:ln w="477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pic>
          <p:nvPicPr>
            <p:cNvPr id="56" name="Picture 55" descr="A group of people posing for a photo&#10;&#10;Description automatically generated">
              <a:extLst>
                <a:ext uri="{FF2B5EF4-FFF2-40B4-BE49-F238E27FC236}">
                  <a16:creationId xmlns:a16="http://schemas.microsoft.com/office/drawing/2014/main" id="{30EE0483-4333-4814-8C14-6BFD1C0ED2AB}"/>
                </a:ext>
              </a:extLst>
            </p:cNvPr>
            <p:cNvPicPr>
              <a:picLocks noChangeAspect="1"/>
            </p:cNvPicPr>
            <p:nvPr/>
          </p:nvPicPr>
          <p:blipFill rotWithShape="1">
            <a:blip r:embed="rId4" cstate="screen">
              <a:duotone>
                <a:prstClr val="black"/>
                <a:srgbClr val="1E4471">
                  <a:tint val="45000"/>
                  <a:satMod val="400000"/>
                </a:srgbClr>
              </a:duotone>
              <a:extLst>
                <a:ext uri="{28A0092B-C50C-407E-A947-70E740481C1C}">
                  <a14:useLocalDpi xmlns:a14="http://schemas.microsoft.com/office/drawing/2010/main"/>
                </a:ext>
              </a:extLst>
            </a:blip>
            <a:srcRect/>
            <a:stretch/>
          </p:blipFill>
          <p:spPr>
            <a:xfrm>
              <a:off x="556264" y="1259588"/>
              <a:ext cx="1302776" cy="395381"/>
            </a:xfrm>
            <a:custGeom>
              <a:avLst/>
              <a:gdLst>
                <a:gd name="connsiteX0" fmla="*/ 0 w 1856437"/>
                <a:gd name="connsiteY0" fmla="*/ 0 h 563412"/>
                <a:gd name="connsiteX1" fmla="*/ 1716891 w 1856437"/>
                <a:gd name="connsiteY1" fmla="*/ 0 h 563412"/>
                <a:gd name="connsiteX2" fmla="*/ 1733466 w 1856437"/>
                <a:gd name="connsiteY2" fmla="*/ 26370 h 563412"/>
                <a:gd name="connsiteX3" fmla="*/ 1855908 w 1856437"/>
                <a:gd name="connsiteY3" fmla="*/ 446845 h 563412"/>
                <a:gd name="connsiteX4" fmla="*/ 1750328 w 1856437"/>
                <a:gd name="connsiteY4" fmla="*/ 563412 h 563412"/>
                <a:gd name="connsiteX5" fmla="*/ 0 w 1856437"/>
                <a:gd name="connsiteY5" fmla="*/ 563412 h 56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6437" h="563412">
                  <a:moveTo>
                    <a:pt x="0" y="0"/>
                  </a:moveTo>
                  <a:lnTo>
                    <a:pt x="1716891" y="0"/>
                  </a:lnTo>
                  <a:lnTo>
                    <a:pt x="1733466" y="26370"/>
                  </a:lnTo>
                  <a:cubicBezTo>
                    <a:pt x="1798759" y="154799"/>
                    <a:pt x="1841337" y="296717"/>
                    <a:pt x="1855908" y="446845"/>
                  </a:cubicBezTo>
                  <a:cubicBezTo>
                    <a:pt x="1862118" y="509428"/>
                    <a:pt x="1812912" y="563412"/>
                    <a:pt x="1750328" y="563412"/>
                  </a:cubicBezTo>
                  <a:lnTo>
                    <a:pt x="0" y="563412"/>
                  </a:lnTo>
                  <a:close/>
                </a:path>
              </a:pathLst>
            </a:custGeom>
          </p:spPr>
        </p:pic>
        <p:pic>
          <p:nvPicPr>
            <p:cNvPr id="57" name="Picture 56" descr="A group of people posing for a photo&#10;&#10;Description automatically generated">
              <a:extLst>
                <a:ext uri="{FF2B5EF4-FFF2-40B4-BE49-F238E27FC236}">
                  <a16:creationId xmlns:a16="http://schemas.microsoft.com/office/drawing/2014/main" id="{8E9F2470-599F-4C9F-BBCC-1C0D77DDCF4E}"/>
                </a:ext>
              </a:extLst>
            </p:cNvPr>
            <p:cNvPicPr>
              <a:picLocks noChangeAspect="1"/>
            </p:cNvPicPr>
            <p:nvPr/>
          </p:nvPicPr>
          <p:blipFill rotWithShape="1">
            <a:blip r:embed="rId5" cstate="screen">
              <a:duotone>
                <a:prstClr val="black"/>
                <a:srgbClr val="FBAB2C">
                  <a:tint val="45000"/>
                  <a:satMod val="400000"/>
                </a:srgbClr>
              </a:duotone>
              <a:extLst>
                <a:ext uri="{28A0092B-C50C-407E-A947-70E740481C1C}">
                  <a14:useLocalDpi xmlns:a14="http://schemas.microsoft.com/office/drawing/2010/main"/>
                </a:ext>
              </a:extLst>
            </a:blip>
            <a:srcRect/>
            <a:stretch/>
          </p:blipFill>
          <p:spPr>
            <a:xfrm>
              <a:off x="713768" y="1706264"/>
              <a:ext cx="1738306" cy="428792"/>
            </a:xfrm>
            <a:custGeom>
              <a:avLst/>
              <a:gdLst>
                <a:gd name="connsiteX0" fmla="*/ 2408744 w 2477061"/>
                <a:gd name="connsiteY0" fmla="*/ 474391 h 611023"/>
                <a:gd name="connsiteX1" fmla="*/ 2477061 w 2477061"/>
                <a:gd name="connsiteY1" fmla="*/ 542707 h 611023"/>
                <a:gd name="connsiteX2" fmla="*/ 2408744 w 2477061"/>
                <a:gd name="connsiteY2" fmla="*/ 611023 h 611023"/>
                <a:gd name="connsiteX3" fmla="*/ 2340428 w 2477061"/>
                <a:gd name="connsiteY3" fmla="*/ 542707 h 611023"/>
                <a:gd name="connsiteX4" fmla="*/ 2408744 w 2477061"/>
                <a:gd name="connsiteY4" fmla="*/ 474391 h 611023"/>
                <a:gd name="connsiteX5" fmla="*/ 2148378 w 2477061"/>
                <a:gd name="connsiteY5" fmla="*/ 474391 h 611023"/>
                <a:gd name="connsiteX6" fmla="*/ 2216695 w 2477061"/>
                <a:gd name="connsiteY6" fmla="*/ 542707 h 611023"/>
                <a:gd name="connsiteX7" fmla="*/ 2148378 w 2477061"/>
                <a:gd name="connsiteY7" fmla="*/ 611023 h 611023"/>
                <a:gd name="connsiteX8" fmla="*/ 2080062 w 2477061"/>
                <a:gd name="connsiteY8" fmla="*/ 542707 h 611023"/>
                <a:gd name="connsiteX9" fmla="*/ 2148378 w 2477061"/>
                <a:gd name="connsiteY9" fmla="*/ 474391 h 611023"/>
                <a:gd name="connsiteX10" fmla="*/ 1888012 w 2477061"/>
                <a:gd name="connsiteY10" fmla="*/ 474391 h 611023"/>
                <a:gd name="connsiteX11" fmla="*/ 1956329 w 2477061"/>
                <a:gd name="connsiteY11" fmla="*/ 542707 h 611023"/>
                <a:gd name="connsiteX12" fmla="*/ 1888012 w 2477061"/>
                <a:gd name="connsiteY12" fmla="*/ 611023 h 611023"/>
                <a:gd name="connsiteX13" fmla="*/ 1819696 w 2477061"/>
                <a:gd name="connsiteY13" fmla="*/ 542707 h 611023"/>
                <a:gd name="connsiteX14" fmla="*/ 1888012 w 2477061"/>
                <a:gd name="connsiteY14" fmla="*/ 474391 h 611023"/>
                <a:gd name="connsiteX15" fmla="*/ 1627168 w 2477061"/>
                <a:gd name="connsiteY15" fmla="*/ 474391 h 611023"/>
                <a:gd name="connsiteX16" fmla="*/ 1695484 w 2477061"/>
                <a:gd name="connsiteY16" fmla="*/ 542707 h 611023"/>
                <a:gd name="connsiteX17" fmla="*/ 1627168 w 2477061"/>
                <a:gd name="connsiteY17" fmla="*/ 611023 h 611023"/>
                <a:gd name="connsiteX18" fmla="*/ 1558852 w 2477061"/>
                <a:gd name="connsiteY18" fmla="*/ 542707 h 611023"/>
                <a:gd name="connsiteX19" fmla="*/ 1627168 w 2477061"/>
                <a:gd name="connsiteY19" fmla="*/ 474391 h 611023"/>
                <a:gd name="connsiteX20" fmla="*/ 1366802 w 2477061"/>
                <a:gd name="connsiteY20" fmla="*/ 474391 h 611023"/>
                <a:gd name="connsiteX21" fmla="*/ 1435118 w 2477061"/>
                <a:gd name="connsiteY21" fmla="*/ 542707 h 611023"/>
                <a:gd name="connsiteX22" fmla="*/ 1366802 w 2477061"/>
                <a:gd name="connsiteY22" fmla="*/ 611023 h 611023"/>
                <a:gd name="connsiteX23" fmla="*/ 1298486 w 2477061"/>
                <a:gd name="connsiteY23" fmla="*/ 542707 h 611023"/>
                <a:gd name="connsiteX24" fmla="*/ 1366802 w 2477061"/>
                <a:gd name="connsiteY24" fmla="*/ 474391 h 611023"/>
                <a:gd name="connsiteX25" fmla="*/ 1106436 w 2477061"/>
                <a:gd name="connsiteY25" fmla="*/ 474391 h 611023"/>
                <a:gd name="connsiteX26" fmla="*/ 1174752 w 2477061"/>
                <a:gd name="connsiteY26" fmla="*/ 542707 h 611023"/>
                <a:gd name="connsiteX27" fmla="*/ 1106436 w 2477061"/>
                <a:gd name="connsiteY27" fmla="*/ 611023 h 611023"/>
                <a:gd name="connsiteX28" fmla="*/ 1038120 w 2477061"/>
                <a:gd name="connsiteY28" fmla="*/ 542707 h 611023"/>
                <a:gd name="connsiteX29" fmla="*/ 1106436 w 2477061"/>
                <a:gd name="connsiteY29" fmla="*/ 474391 h 611023"/>
                <a:gd name="connsiteX30" fmla="*/ 846070 w 2477061"/>
                <a:gd name="connsiteY30" fmla="*/ 474391 h 611023"/>
                <a:gd name="connsiteX31" fmla="*/ 914386 w 2477061"/>
                <a:gd name="connsiteY31" fmla="*/ 542707 h 611023"/>
                <a:gd name="connsiteX32" fmla="*/ 846070 w 2477061"/>
                <a:gd name="connsiteY32" fmla="*/ 611023 h 611023"/>
                <a:gd name="connsiteX33" fmla="*/ 777754 w 2477061"/>
                <a:gd name="connsiteY33" fmla="*/ 542707 h 611023"/>
                <a:gd name="connsiteX34" fmla="*/ 846070 w 2477061"/>
                <a:gd name="connsiteY34" fmla="*/ 474391 h 611023"/>
                <a:gd name="connsiteX35" fmla="*/ 325338 w 2477061"/>
                <a:gd name="connsiteY35" fmla="*/ 474391 h 611023"/>
                <a:gd name="connsiteX36" fmla="*/ 393654 w 2477061"/>
                <a:gd name="connsiteY36" fmla="*/ 542707 h 611023"/>
                <a:gd name="connsiteX37" fmla="*/ 325338 w 2477061"/>
                <a:gd name="connsiteY37" fmla="*/ 611023 h 611023"/>
                <a:gd name="connsiteX38" fmla="*/ 257022 w 2477061"/>
                <a:gd name="connsiteY38" fmla="*/ 542707 h 611023"/>
                <a:gd name="connsiteX39" fmla="*/ 325338 w 2477061"/>
                <a:gd name="connsiteY39" fmla="*/ 474391 h 611023"/>
                <a:gd name="connsiteX40" fmla="*/ 68316 w 2477061"/>
                <a:gd name="connsiteY40" fmla="*/ 474391 h 611023"/>
                <a:gd name="connsiteX41" fmla="*/ 136632 w 2477061"/>
                <a:gd name="connsiteY41" fmla="*/ 542707 h 611023"/>
                <a:gd name="connsiteX42" fmla="*/ 68316 w 2477061"/>
                <a:gd name="connsiteY42" fmla="*/ 611023 h 611023"/>
                <a:gd name="connsiteX43" fmla="*/ 0 w 2477061"/>
                <a:gd name="connsiteY43" fmla="*/ 542707 h 611023"/>
                <a:gd name="connsiteX44" fmla="*/ 68316 w 2477061"/>
                <a:gd name="connsiteY44" fmla="*/ 474391 h 611023"/>
                <a:gd name="connsiteX45" fmla="*/ 2408744 w 2477061"/>
                <a:gd name="connsiteY45" fmla="*/ 236957 h 611023"/>
                <a:gd name="connsiteX46" fmla="*/ 2477061 w 2477061"/>
                <a:gd name="connsiteY46" fmla="*/ 305273 h 611023"/>
                <a:gd name="connsiteX47" fmla="*/ 2408744 w 2477061"/>
                <a:gd name="connsiteY47" fmla="*/ 373589 h 611023"/>
                <a:gd name="connsiteX48" fmla="*/ 2340428 w 2477061"/>
                <a:gd name="connsiteY48" fmla="*/ 305273 h 611023"/>
                <a:gd name="connsiteX49" fmla="*/ 2408744 w 2477061"/>
                <a:gd name="connsiteY49" fmla="*/ 236957 h 611023"/>
                <a:gd name="connsiteX50" fmla="*/ 2148378 w 2477061"/>
                <a:gd name="connsiteY50" fmla="*/ 236957 h 611023"/>
                <a:gd name="connsiteX51" fmla="*/ 2216695 w 2477061"/>
                <a:gd name="connsiteY51" fmla="*/ 305273 h 611023"/>
                <a:gd name="connsiteX52" fmla="*/ 2148378 w 2477061"/>
                <a:gd name="connsiteY52" fmla="*/ 373589 h 611023"/>
                <a:gd name="connsiteX53" fmla="*/ 2080062 w 2477061"/>
                <a:gd name="connsiteY53" fmla="*/ 305273 h 611023"/>
                <a:gd name="connsiteX54" fmla="*/ 2148378 w 2477061"/>
                <a:gd name="connsiteY54" fmla="*/ 236957 h 611023"/>
                <a:gd name="connsiteX55" fmla="*/ 1888012 w 2477061"/>
                <a:gd name="connsiteY55" fmla="*/ 236957 h 611023"/>
                <a:gd name="connsiteX56" fmla="*/ 1956329 w 2477061"/>
                <a:gd name="connsiteY56" fmla="*/ 305273 h 611023"/>
                <a:gd name="connsiteX57" fmla="*/ 1888012 w 2477061"/>
                <a:gd name="connsiteY57" fmla="*/ 373589 h 611023"/>
                <a:gd name="connsiteX58" fmla="*/ 1819696 w 2477061"/>
                <a:gd name="connsiteY58" fmla="*/ 305273 h 611023"/>
                <a:gd name="connsiteX59" fmla="*/ 1888012 w 2477061"/>
                <a:gd name="connsiteY59" fmla="*/ 236957 h 611023"/>
                <a:gd name="connsiteX60" fmla="*/ 1627168 w 2477061"/>
                <a:gd name="connsiteY60" fmla="*/ 236957 h 611023"/>
                <a:gd name="connsiteX61" fmla="*/ 1695484 w 2477061"/>
                <a:gd name="connsiteY61" fmla="*/ 305273 h 611023"/>
                <a:gd name="connsiteX62" fmla="*/ 1627168 w 2477061"/>
                <a:gd name="connsiteY62" fmla="*/ 373589 h 611023"/>
                <a:gd name="connsiteX63" fmla="*/ 1558852 w 2477061"/>
                <a:gd name="connsiteY63" fmla="*/ 305273 h 611023"/>
                <a:gd name="connsiteX64" fmla="*/ 1627168 w 2477061"/>
                <a:gd name="connsiteY64" fmla="*/ 236957 h 611023"/>
                <a:gd name="connsiteX65" fmla="*/ 1366802 w 2477061"/>
                <a:gd name="connsiteY65" fmla="*/ 236957 h 611023"/>
                <a:gd name="connsiteX66" fmla="*/ 1435118 w 2477061"/>
                <a:gd name="connsiteY66" fmla="*/ 305273 h 611023"/>
                <a:gd name="connsiteX67" fmla="*/ 1366802 w 2477061"/>
                <a:gd name="connsiteY67" fmla="*/ 373589 h 611023"/>
                <a:gd name="connsiteX68" fmla="*/ 1298486 w 2477061"/>
                <a:gd name="connsiteY68" fmla="*/ 305273 h 611023"/>
                <a:gd name="connsiteX69" fmla="*/ 1366802 w 2477061"/>
                <a:gd name="connsiteY69" fmla="*/ 236957 h 611023"/>
                <a:gd name="connsiteX70" fmla="*/ 1106436 w 2477061"/>
                <a:gd name="connsiteY70" fmla="*/ 236957 h 611023"/>
                <a:gd name="connsiteX71" fmla="*/ 1174752 w 2477061"/>
                <a:gd name="connsiteY71" fmla="*/ 305273 h 611023"/>
                <a:gd name="connsiteX72" fmla="*/ 1106436 w 2477061"/>
                <a:gd name="connsiteY72" fmla="*/ 373589 h 611023"/>
                <a:gd name="connsiteX73" fmla="*/ 1038120 w 2477061"/>
                <a:gd name="connsiteY73" fmla="*/ 305273 h 611023"/>
                <a:gd name="connsiteX74" fmla="*/ 1106436 w 2477061"/>
                <a:gd name="connsiteY74" fmla="*/ 236957 h 611023"/>
                <a:gd name="connsiteX75" fmla="*/ 846070 w 2477061"/>
                <a:gd name="connsiteY75" fmla="*/ 236957 h 611023"/>
                <a:gd name="connsiteX76" fmla="*/ 914386 w 2477061"/>
                <a:gd name="connsiteY76" fmla="*/ 305273 h 611023"/>
                <a:gd name="connsiteX77" fmla="*/ 846070 w 2477061"/>
                <a:gd name="connsiteY77" fmla="*/ 373589 h 611023"/>
                <a:gd name="connsiteX78" fmla="*/ 777754 w 2477061"/>
                <a:gd name="connsiteY78" fmla="*/ 305273 h 611023"/>
                <a:gd name="connsiteX79" fmla="*/ 846070 w 2477061"/>
                <a:gd name="connsiteY79" fmla="*/ 236957 h 611023"/>
                <a:gd name="connsiteX80" fmla="*/ 325338 w 2477061"/>
                <a:gd name="connsiteY80" fmla="*/ 236957 h 611023"/>
                <a:gd name="connsiteX81" fmla="*/ 393654 w 2477061"/>
                <a:gd name="connsiteY81" fmla="*/ 305273 h 611023"/>
                <a:gd name="connsiteX82" fmla="*/ 325338 w 2477061"/>
                <a:gd name="connsiteY82" fmla="*/ 373589 h 611023"/>
                <a:gd name="connsiteX83" fmla="*/ 257022 w 2477061"/>
                <a:gd name="connsiteY83" fmla="*/ 305273 h 611023"/>
                <a:gd name="connsiteX84" fmla="*/ 325338 w 2477061"/>
                <a:gd name="connsiteY84" fmla="*/ 236957 h 611023"/>
                <a:gd name="connsiteX85" fmla="*/ 68316 w 2477061"/>
                <a:gd name="connsiteY85" fmla="*/ 236957 h 611023"/>
                <a:gd name="connsiteX86" fmla="*/ 136632 w 2477061"/>
                <a:gd name="connsiteY86" fmla="*/ 305273 h 611023"/>
                <a:gd name="connsiteX87" fmla="*/ 68316 w 2477061"/>
                <a:gd name="connsiteY87" fmla="*/ 373589 h 611023"/>
                <a:gd name="connsiteX88" fmla="*/ 0 w 2477061"/>
                <a:gd name="connsiteY88" fmla="*/ 305273 h 611023"/>
                <a:gd name="connsiteX89" fmla="*/ 68316 w 2477061"/>
                <a:gd name="connsiteY89" fmla="*/ 236957 h 611023"/>
                <a:gd name="connsiteX90" fmla="*/ 2408744 w 2477061"/>
                <a:gd name="connsiteY90" fmla="*/ 0 h 611023"/>
                <a:gd name="connsiteX91" fmla="*/ 2477061 w 2477061"/>
                <a:gd name="connsiteY91" fmla="*/ 68316 h 611023"/>
                <a:gd name="connsiteX92" fmla="*/ 2408744 w 2477061"/>
                <a:gd name="connsiteY92" fmla="*/ 136633 h 611023"/>
                <a:gd name="connsiteX93" fmla="*/ 2340428 w 2477061"/>
                <a:gd name="connsiteY93" fmla="*/ 68316 h 611023"/>
                <a:gd name="connsiteX94" fmla="*/ 2408744 w 2477061"/>
                <a:gd name="connsiteY94" fmla="*/ 0 h 611023"/>
                <a:gd name="connsiteX95" fmla="*/ 2148378 w 2477061"/>
                <a:gd name="connsiteY95" fmla="*/ 0 h 611023"/>
                <a:gd name="connsiteX96" fmla="*/ 2216695 w 2477061"/>
                <a:gd name="connsiteY96" fmla="*/ 68316 h 611023"/>
                <a:gd name="connsiteX97" fmla="*/ 2148378 w 2477061"/>
                <a:gd name="connsiteY97" fmla="*/ 136633 h 611023"/>
                <a:gd name="connsiteX98" fmla="*/ 2080062 w 2477061"/>
                <a:gd name="connsiteY98" fmla="*/ 68316 h 611023"/>
                <a:gd name="connsiteX99" fmla="*/ 2148378 w 2477061"/>
                <a:gd name="connsiteY99" fmla="*/ 0 h 611023"/>
                <a:gd name="connsiteX100" fmla="*/ 1888012 w 2477061"/>
                <a:gd name="connsiteY100" fmla="*/ 0 h 611023"/>
                <a:gd name="connsiteX101" fmla="*/ 1956329 w 2477061"/>
                <a:gd name="connsiteY101" fmla="*/ 68316 h 611023"/>
                <a:gd name="connsiteX102" fmla="*/ 1888012 w 2477061"/>
                <a:gd name="connsiteY102" fmla="*/ 136633 h 611023"/>
                <a:gd name="connsiteX103" fmla="*/ 1819696 w 2477061"/>
                <a:gd name="connsiteY103" fmla="*/ 68316 h 611023"/>
                <a:gd name="connsiteX104" fmla="*/ 1888012 w 2477061"/>
                <a:gd name="connsiteY104" fmla="*/ 0 h 611023"/>
                <a:gd name="connsiteX105" fmla="*/ 1627168 w 2477061"/>
                <a:gd name="connsiteY105" fmla="*/ 0 h 611023"/>
                <a:gd name="connsiteX106" fmla="*/ 1695484 w 2477061"/>
                <a:gd name="connsiteY106" fmla="*/ 68316 h 611023"/>
                <a:gd name="connsiteX107" fmla="*/ 1627168 w 2477061"/>
                <a:gd name="connsiteY107" fmla="*/ 136633 h 611023"/>
                <a:gd name="connsiteX108" fmla="*/ 1558852 w 2477061"/>
                <a:gd name="connsiteY108" fmla="*/ 68316 h 611023"/>
                <a:gd name="connsiteX109" fmla="*/ 1627168 w 2477061"/>
                <a:gd name="connsiteY109" fmla="*/ 0 h 611023"/>
                <a:gd name="connsiteX110" fmla="*/ 1366802 w 2477061"/>
                <a:gd name="connsiteY110" fmla="*/ 0 h 611023"/>
                <a:gd name="connsiteX111" fmla="*/ 1435118 w 2477061"/>
                <a:gd name="connsiteY111" fmla="*/ 68316 h 611023"/>
                <a:gd name="connsiteX112" fmla="*/ 1366802 w 2477061"/>
                <a:gd name="connsiteY112" fmla="*/ 136633 h 611023"/>
                <a:gd name="connsiteX113" fmla="*/ 1298486 w 2477061"/>
                <a:gd name="connsiteY113" fmla="*/ 68316 h 611023"/>
                <a:gd name="connsiteX114" fmla="*/ 1366802 w 2477061"/>
                <a:gd name="connsiteY114" fmla="*/ 0 h 611023"/>
                <a:gd name="connsiteX115" fmla="*/ 1106436 w 2477061"/>
                <a:gd name="connsiteY115" fmla="*/ 0 h 611023"/>
                <a:gd name="connsiteX116" fmla="*/ 1174752 w 2477061"/>
                <a:gd name="connsiteY116" fmla="*/ 68316 h 611023"/>
                <a:gd name="connsiteX117" fmla="*/ 1106436 w 2477061"/>
                <a:gd name="connsiteY117" fmla="*/ 136633 h 611023"/>
                <a:gd name="connsiteX118" fmla="*/ 1038120 w 2477061"/>
                <a:gd name="connsiteY118" fmla="*/ 68316 h 611023"/>
                <a:gd name="connsiteX119" fmla="*/ 1106436 w 2477061"/>
                <a:gd name="connsiteY119" fmla="*/ 0 h 611023"/>
                <a:gd name="connsiteX120" fmla="*/ 846070 w 2477061"/>
                <a:gd name="connsiteY120" fmla="*/ 0 h 611023"/>
                <a:gd name="connsiteX121" fmla="*/ 914386 w 2477061"/>
                <a:gd name="connsiteY121" fmla="*/ 68316 h 611023"/>
                <a:gd name="connsiteX122" fmla="*/ 846070 w 2477061"/>
                <a:gd name="connsiteY122" fmla="*/ 136633 h 611023"/>
                <a:gd name="connsiteX123" fmla="*/ 777754 w 2477061"/>
                <a:gd name="connsiteY123" fmla="*/ 68316 h 611023"/>
                <a:gd name="connsiteX124" fmla="*/ 846070 w 2477061"/>
                <a:gd name="connsiteY124" fmla="*/ 0 h 61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2477061" h="611023">
                  <a:moveTo>
                    <a:pt x="2408744" y="474391"/>
                  </a:moveTo>
                  <a:cubicBezTo>
                    <a:pt x="2446474" y="474391"/>
                    <a:pt x="2477061" y="504977"/>
                    <a:pt x="2477061" y="542707"/>
                  </a:cubicBezTo>
                  <a:cubicBezTo>
                    <a:pt x="2477061" y="580437"/>
                    <a:pt x="2446474" y="611023"/>
                    <a:pt x="2408744" y="611023"/>
                  </a:cubicBezTo>
                  <a:cubicBezTo>
                    <a:pt x="2371015" y="611023"/>
                    <a:pt x="2340428" y="580437"/>
                    <a:pt x="2340428" y="542707"/>
                  </a:cubicBezTo>
                  <a:cubicBezTo>
                    <a:pt x="2340428" y="504977"/>
                    <a:pt x="2371015" y="474391"/>
                    <a:pt x="2408744" y="474391"/>
                  </a:cubicBezTo>
                  <a:close/>
                  <a:moveTo>
                    <a:pt x="2148378" y="474391"/>
                  </a:moveTo>
                  <a:cubicBezTo>
                    <a:pt x="2186108" y="474391"/>
                    <a:pt x="2216695" y="504977"/>
                    <a:pt x="2216695" y="542707"/>
                  </a:cubicBezTo>
                  <a:cubicBezTo>
                    <a:pt x="2216695" y="580437"/>
                    <a:pt x="2186108" y="611023"/>
                    <a:pt x="2148378" y="611023"/>
                  </a:cubicBezTo>
                  <a:cubicBezTo>
                    <a:pt x="2110649" y="611023"/>
                    <a:pt x="2080062" y="580437"/>
                    <a:pt x="2080062" y="542707"/>
                  </a:cubicBezTo>
                  <a:cubicBezTo>
                    <a:pt x="2080062" y="504977"/>
                    <a:pt x="2110649" y="474391"/>
                    <a:pt x="2148378" y="474391"/>
                  </a:cubicBezTo>
                  <a:close/>
                  <a:moveTo>
                    <a:pt x="1888012" y="474391"/>
                  </a:moveTo>
                  <a:cubicBezTo>
                    <a:pt x="1925742" y="474391"/>
                    <a:pt x="1956329" y="504977"/>
                    <a:pt x="1956329" y="542707"/>
                  </a:cubicBezTo>
                  <a:cubicBezTo>
                    <a:pt x="1956329" y="580437"/>
                    <a:pt x="1925742" y="611023"/>
                    <a:pt x="1888012" y="611023"/>
                  </a:cubicBezTo>
                  <a:cubicBezTo>
                    <a:pt x="1850283" y="611023"/>
                    <a:pt x="1819696" y="580437"/>
                    <a:pt x="1819696" y="542707"/>
                  </a:cubicBezTo>
                  <a:cubicBezTo>
                    <a:pt x="1819696" y="504977"/>
                    <a:pt x="1850283" y="474391"/>
                    <a:pt x="1888012" y="474391"/>
                  </a:cubicBezTo>
                  <a:close/>
                  <a:moveTo>
                    <a:pt x="1627168" y="474391"/>
                  </a:moveTo>
                  <a:cubicBezTo>
                    <a:pt x="1664898" y="474391"/>
                    <a:pt x="1695484" y="504977"/>
                    <a:pt x="1695484" y="542707"/>
                  </a:cubicBezTo>
                  <a:cubicBezTo>
                    <a:pt x="1695484" y="580437"/>
                    <a:pt x="1664898" y="611023"/>
                    <a:pt x="1627168" y="611023"/>
                  </a:cubicBezTo>
                  <a:cubicBezTo>
                    <a:pt x="1589438" y="611023"/>
                    <a:pt x="1558852" y="580437"/>
                    <a:pt x="1558852" y="542707"/>
                  </a:cubicBezTo>
                  <a:cubicBezTo>
                    <a:pt x="1558852" y="504977"/>
                    <a:pt x="1589438" y="474391"/>
                    <a:pt x="1627168" y="474391"/>
                  </a:cubicBezTo>
                  <a:close/>
                  <a:moveTo>
                    <a:pt x="1366802" y="474391"/>
                  </a:moveTo>
                  <a:cubicBezTo>
                    <a:pt x="1404532" y="474391"/>
                    <a:pt x="1435118" y="504977"/>
                    <a:pt x="1435118" y="542707"/>
                  </a:cubicBezTo>
                  <a:cubicBezTo>
                    <a:pt x="1435118" y="580437"/>
                    <a:pt x="1404532" y="611023"/>
                    <a:pt x="1366802" y="611023"/>
                  </a:cubicBezTo>
                  <a:cubicBezTo>
                    <a:pt x="1329072" y="611023"/>
                    <a:pt x="1298486" y="580437"/>
                    <a:pt x="1298486" y="542707"/>
                  </a:cubicBezTo>
                  <a:cubicBezTo>
                    <a:pt x="1298486" y="504977"/>
                    <a:pt x="1329072" y="474391"/>
                    <a:pt x="1366802" y="474391"/>
                  </a:cubicBezTo>
                  <a:close/>
                  <a:moveTo>
                    <a:pt x="1106436" y="474391"/>
                  </a:moveTo>
                  <a:cubicBezTo>
                    <a:pt x="1144166" y="474391"/>
                    <a:pt x="1174752" y="504977"/>
                    <a:pt x="1174752" y="542707"/>
                  </a:cubicBezTo>
                  <a:cubicBezTo>
                    <a:pt x="1174752" y="580437"/>
                    <a:pt x="1144166" y="611023"/>
                    <a:pt x="1106436" y="611023"/>
                  </a:cubicBezTo>
                  <a:cubicBezTo>
                    <a:pt x="1068706" y="611023"/>
                    <a:pt x="1038120" y="580437"/>
                    <a:pt x="1038120" y="542707"/>
                  </a:cubicBezTo>
                  <a:cubicBezTo>
                    <a:pt x="1038120" y="504977"/>
                    <a:pt x="1068706" y="474391"/>
                    <a:pt x="1106436" y="474391"/>
                  </a:cubicBezTo>
                  <a:close/>
                  <a:moveTo>
                    <a:pt x="846070" y="474391"/>
                  </a:moveTo>
                  <a:cubicBezTo>
                    <a:pt x="883800" y="474391"/>
                    <a:pt x="914386" y="504977"/>
                    <a:pt x="914386" y="542707"/>
                  </a:cubicBezTo>
                  <a:cubicBezTo>
                    <a:pt x="914386" y="580437"/>
                    <a:pt x="883800" y="611023"/>
                    <a:pt x="846070" y="611023"/>
                  </a:cubicBezTo>
                  <a:cubicBezTo>
                    <a:pt x="808340" y="611023"/>
                    <a:pt x="777754" y="580437"/>
                    <a:pt x="777754" y="542707"/>
                  </a:cubicBezTo>
                  <a:cubicBezTo>
                    <a:pt x="777754" y="504977"/>
                    <a:pt x="808340" y="474391"/>
                    <a:pt x="846070" y="474391"/>
                  </a:cubicBezTo>
                  <a:close/>
                  <a:moveTo>
                    <a:pt x="325338" y="474391"/>
                  </a:moveTo>
                  <a:cubicBezTo>
                    <a:pt x="363068" y="474391"/>
                    <a:pt x="393654" y="504977"/>
                    <a:pt x="393654" y="542707"/>
                  </a:cubicBezTo>
                  <a:cubicBezTo>
                    <a:pt x="393654" y="580437"/>
                    <a:pt x="363068" y="611023"/>
                    <a:pt x="325338" y="611023"/>
                  </a:cubicBezTo>
                  <a:cubicBezTo>
                    <a:pt x="287608" y="611023"/>
                    <a:pt x="257022" y="580437"/>
                    <a:pt x="257022" y="542707"/>
                  </a:cubicBezTo>
                  <a:cubicBezTo>
                    <a:pt x="257022" y="504977"/>
                    <a:pt x="287608" y="474391"/>
                    <a:pt x="325338" y="474391"/>
                  </a:cubicBezTo>
                  <a:close/>
                  <a:moveTo>
                    <a:pt x="68316" y="474391"/>
                  </a:moveTo>
                  <a:cubicBezTo>
                    <a:pt x="106046" y="474391"/>
                    <a:pt x="136632" y="504977"/>
                    <a:pt x="136632" y="542707"/>
                  </a:cubicBezTo>
                  <a:cubicBezTo>
                    <a:pt x="136632" y="580437"/>
                    <a:pt x="106046" y="611023"/>
                    <a:pt x="68316" y="611023"/>
                  </a:cubicBezTo>
                  <a:cubicBezTo>
                    <a:pt x="30586" y="611023"/>
                    <a:pt x="0" y="580437"/>
                    <a:pt x="0" y="542707"/>
                  </a:cubicBezTo>
                  <a:cubicBezTo>
                    <a:pt x="0" y="504977"/>
                    <a:pt x="30586" y="474391"/>
                    <a:pt x="68316" y="474391"/>
                  </a:cubicBezTo>
                  <a:close/>
                  <a:moveTo>
                    <a:pt x="2408744" y="236957"/>
                  </a:moveTo>
                  <a:cubicBezTo>
                    <a:pt x="2446474" y="236957"/>
                    <a:pt x="2477061" y="267543"/>
                    <a:pt x="2477061" y="305273"/>
                  </a:cubicBezTo>
                  <a:cubicBezTo>
                    <a:pt x="2477061" y="343003"/>
                    <a:pt x="2446474" y="373589"/>
                    <a:pt x="2408744" y="373589"/>
                  </a:cubicBezTo>
                  <a:cubicBezTo>
                    <a:pt x="2371015" y="373589"/>
                    <a:pt x="2340428" y="343003"/>
                    <a:pt x="2340428" y="305273"/>
                  </a:cubicBezTo>
                  <a:cubicBezTo>
                    <a:pt x="2340428" y="267543"/>
                    <a:pt x="2371015" y="236957"/>
                    <a:pt x="2408744" y="236957"/>
                  </a:cubicBezTo>
                  <a:close/>
                  <a:moveTo>
                    <a:pt x="2148378" y="236957"/>
                  </a:moveTo>
                  <a:cubicBezTo>
                    <a:pt x="2186108" y="236957"/>
                    <a:pt x="2216695" y="267543"/>
                    <a:pt x="2216695" y="305273"/>
                  </a:cubicBezTo>
                  <a:cubicBezTo>
                    <a:pt x="2216695" y="343003"/>
                    <a:pt x="2186108" y="373589"/>
                    <a:pt x="2148378" y="373589"/>
                  </a:cubicBezTo>
                  <a:cubicBezTo>
                    <a:pt x="2110649" y="373589"/>
                    <a:pt x="2080062" y="343003"/>
                    <a:pt x="2080062" y="305273"/>
                  </a:cubicBezTo>
                  <a:cubicBezTo>
                    <a:pt x="2080062" y="267543"/>
                    <a:pt x="2110649" y="236957"/>
                    <a:pt x="2148378" y="236957"/>
                  </a:cubicBezTo>
                  <a:close/>
                  <a:moveTo>
                    <a:pt x="1888012" y="236957"/>
                  </a:moveTo>
                  <a:cubicBezTo>
                    <a:pt x="1925742" y="236957"/>
                    <a:pt x="1956329" y="267543"/>
                    <a:pt x="1956329" y="305273"/>
                  </a:cubicBezTo>
                  <a:cubicBezTo>
                    <a:pt x="1956329" y="343003"/>
                    <a:pt x="1925742" y="373589"/>
                    <a:pt x="1888012" y="373589"/>
                  </a:cubicBezTo>
                  <a:cubicBezTo>
                    <a:pt x="1850283" y="373589"/>
                    <a:pt x="1819696" y="343003"/>
                    <a:pt x="1819696" y="305273"/>
                  </a:cubicBezTo>
                  <a:cubicBezTo>
                    <a:pt x="1819696" y="267543"/>
                    <a:pt x="1850283" y="236957"/>
                    <a:pt x="1888012" y="236957"/>
                  </a:cubicBezTo>
                  <a:close/>
                  <a:moveTo>
                    <a:pt x="1627168" y="236957"/>
                  </a:moveTo>
                  <a:cubicBezTo>
                    <a:pt x="1664898" y="236957"/>
                    <a:pt x="1695484" y="267543"/>
                    <a:pt x="1695484" y="305273"/>
                  </a:cubicBezTo>
                  <a:cubicBezTo>
                    <a:pt x="1695484" y="343003"/>
                    <a:pt x="1664898" y="373589"/>
                    <a:pt x="1627168" y="373589"/>
                  </a:cubicBezTo>
                  <a:cubicBezTo>
                    <a:pt x="1589438" y="373589"/>
                    <a:pt x="1558852" y="343003"/>
                    <a:pt x="1558852" y="305273"/>
                  </a:cubicBezTo>
                  <a:cubicBezTo>
                    <a:pt x="1558852" y="267543"/>
                    <a:pt x="1589438" y="236957"/>
                    <a:pt x="1627168" y="236957"/>
                  </a:cubicBezTo>
                  <a:close/>
                  <a:moveTo>
                    <a:pt x="1366802" y="236957"/>
                  </a:moveTo>
                  <a:cubicBezTo>
                    <a:pt x="1404532" y="236957"/>
                    <a:pt x="1435118" y="267543"/>
                    <a:pt x="1435118" y="305273"/>
                  </a:cubicBezTo>
                  <a:cubicBezTo>
                    <a:pt x="1435118" y="343003"/>
                    <a:pt x="1404532" y="373589"/>
                    <a:pt x="1366802" y="373589"/>
                  </a:cubicBezTo>
                  <a:cubicBezTo>
                    <a:pt x="1329072" y="373589"/>
                    <a:pt x="1298486" y="343003"/>
                    <a:pt x="1298486" y="305273"/>
                  </a:cubicBezTo>
                  <a:cubicBezTo>
                    <a:pt x="1298486" y="267543"/>
                    <a:pt x="1329072" y="236957"/>
                    <a:pt x="1366802" y="236957"/>
                  </a:cubicBezTo>
                  <a:close/>
                  <a:moveTo>
                    <a:pt x="1106436" y="236957"/>
                  </a:moveTo>
                  <a:cubicBezTo>
                    <a:pt x="1144166" y="236957"/>
                    <a:pt x="1174752" y="267543"/>
                    <a:pt x="1174752" y="305273"/>
                  </a:cubicBezTo>
                  <a:cubicBezTo>
                    <a:pt x="1174752" y="343003"/>
                    <a:pt x="1144166" y="373589"/>
                    <a:pt x="1106436" y="373589"/>
                  </a:cubicBezTo>
                  <a:cubicBezTo>
                    <a:pt x="1068706" y="373589"/>
                    <a:pt x="1038120" y="343003"/>
                    <a:pt x="1038120" y="305273"/>
                  </a:cubicBezTo>
                  <a:cubicBezTo>
                    <a:pt x="1038120" y="267543"/>
                    <a:pt x="1068706" y="236957"/>
                    <a:pt x="1106436" y="236957"/>
                  </a:cubicBezTo>
                  <a:close/>
                  <a:moveTo>
                    <a:pt x="846070" y="236957"/>
                  </a:moveTo>
                  <a:cubicBezTo>
                    <a:pt x="883800" y="236957"/>
                    <a:pt x="914386" y="267543"/>
                    <a:pt x="914386" y="305273"/>
                  </a:cubicBezTo>
                  <a:cubicBezTo>
                    <a:pt x="914386" y="343003"/>
                    <a:pt x="883800" y="373589"/>
                    <a:pt x="846070" y="373589"/>
                  </a:cubicBezTo>
                  <a:cubicBezTo>
                    <a:pt x="808340" y="373589"/>
                    <a:pt x="777754" y="343003"/>
                    <a:pt x="777754" y="305273"/>
                  </a:cubicBezTo>
                  <a:cubicBezTo>
                    <a:pt x="777754" y="267543"/>
                    <a:pt x="808340" y="236957"/>
                    <a:pt x="846070" y="236957"/>
                  </a:cubicBezTo>
                  <a:close/>
                  <a:moveTo>
                    <a:pt x="325338" y="236957"/>
                  </a:moveTo>
                  <a:cubicBezTo>
                    <a:pt x="363068" y="236957"/>
                    <a:pt x="393654" y="267543"/>
                    <a:pt x="393654" y="305273"/>
                  </a:cubicBezTo>
                  <a:cubicBezTo>
                    <a:pt x="393654" y="343003"/>
                    <a:pt x="363068" y="373589"/>
                    <a:pt x="325338" y="373589"/>
                  </a:cubicBezTo>
                  <a:cubicBezTo>
                    <a:pt x="287608" y="373589"/>
                    <a:pt x="257022" y="343003"/>
                    <a:pt x="257022" y="305273"/>
                  </a:cubicBezTo>
                  <a:cubicBezTo>
                    <a:pt x="257022" y="267543"/>
                    <a:pt x="287608" y="236957"/>
                    <a:pt x="325338" y="236957"/>
                  </a:cubicBezTo>
                  <a:close/>
                  <a:moveTo>
                    <a:pt x="68316" y="236957"/>
                  </a:moveTo>
                  <a:cubicBezTo>
                    <a:pt x="106046" y="236957"/>
                    <a:pt x="136632" y="267543"/>
                    <a:pt x="136632" y="305273"/>
                  </a:cubicBezTo>
                  <a:cubicBezTo>
                    <a:pt x="136632" y="343003"/>
                    <a:pt x="106046" y="373589"/>
                    <a:pt x="68316" y="373589"/>
                  </a:cubicBezTo>
                  <a:cubicBezTo>
                    <a:pt x="30586" y="373589"/>
                    <a:pt x="0" y="343003"/>
                    <a:pt x="0" y="305273"/>
                  </a:cubicBezTo>
                  <a:cubicBezTo>
                    <a:pt x="0" y="267543"/>
                    <a:pt x="30586" y="236957"/>
                    <a:pt x="68316" y="236957"/>
                  </a:cubicBezTo>
                  <a:close/>
                  <a:moveTo>
                    <a:pt x="2408744" y="0"/>
                  </a:moveTo>
                  <a:cubicBezTo>
                    <a:pt x="2446474" y="0"/>
                    <a:pt x="2477061" y="30586"/>
                    <a:pt x="2477061" y="68316"/>
                  </a:cubicBezTo>
                  <a:cubicBezTo>
                    <a:pt x="2477061" y="106046"/>
                    <a:pt x="2446474" y="136633"/>
                    <a:pt x="2408744" y="136633"/>
                  </a:cubicBezTo>
                  <a:cubicBezTo>
                    <a:pt x="2371015" y="136633"/>
                    <a:pt x="2340428" y="106046"/>
                    <a:pt x="2340428" y="68316"/>
                  </a:cubicBezTo>
                  <a:cubicBezTo>
                    <a:pt x="2340428" y="30586"/>
                    <a:pt x="2371015" y="0"/>
                    <a:pt x="2408744" y="0"/>
                  </a:cubicBezTo>
                  <a:close/>
                  <a:moveTo>
                    <a:pt x="2148378" y="0"/>
                  </a:moveTo>
                  <a:cubicBezTo>
                    <a:pt x="2186108" y="0"/>
                    <a:pt x="2216695" y="30586"/>
                    <a:pt x="2216695" y="68316"/>
                  </a:cubicBezTo>
                  <a:cubicBezTo>
                    <a:pt x="2216695" y="106046"/>
                    <a:pt x="2186108" y="136633"/>
                    <a:pt x="2148378" y="136633"/>
                  </a:cubicBezTo>
                  <a:cubicBezTo>
                    <a:pt x="2110649" y="136633"/>
                    <a:pt x="2080062" y="106046"/>
                    <a:pt x="2080062" y="68316"/>
                  </a:cubicBezTo>
                  <a:cubicBezTo>
                    <a:pt x="2080062" y="30586"/>
                    <a:pt x="2110649" y="0"/>
                    <a:pt x="2148378" y="0"/>
                  </a:cubicBezTo>
                  <a:close/>
                  <a:moveTo>
                    <a:pt x="1888012" y="0"/>
                  </a:moveTo>
                  <a:cubicBezTo>
                    <a:pt x="1925742" y="0"/>
                    <a:pt x="1956329" y="30586"/>
                    <a:pt x="1956329" y="68316"/>
                  </a:cubicBezTo>
                  <a:cubicBezTo>
                    <a:pt x="1956329" y="106046"/>
                    <a:pt x="1925742" y="136633"/>
                    <a:pt x="1888012" y="136633"/>
                  </a:cubicBezTo>
                  <a:cubicBezTo>
                    <a:pt x="1850283" y="136633"/>
                    <a:pt x="1819696" y="106046"/>
                    <a:pt x="1819696" y="68316"/>
                  </a:cubicBezTo>
                  <a:cubicBezTo>
                    <a:pt x="1819696" y="30586"/>
                    <a:pt x="1850283" y="0"/>
                    <a:pt x="1888012" y="0"/>
                  </a:cubicBezTo>
                  <a:close/>
                  <a:moveTo>
                    <a:pt x="1627168" y="0"/>
                  </a:moveTo>
                  <a:cubicBezTo>
                    <a:pt x="1664898" y="0"/>
                    <a:pt x="1695484" y="30586"/>
                    <a:pt x="1695484" y="68316"/>
                  </a:cubicBezTo>
                  <a:cubicBezTo>
                    <a:pt x="1695484" y="106046"/>
                    <a:pt x="1664898" y="136633"/>
                    <a:pt x="1627168" y="136633"/>
                  </a:cubicBezTo>
                  <a:cubicBezTo>
                    <a:pt x="1589438" y="136633"/>
                    <a:pt x="1558852" y="106046"/>
                    <a:pt x="1558852" y="68316"/>
                  </a:cubicBezTo>
                  <a:cubicBezTo>
                    <a:pt x="1558852" y="30586"/>
                    <a:pt x="1589438" y="0"/>
                    <a:pt x="1627168" y="0"/>
                  </a:cubicBezTo>
                  <a:close/>
                  <a:moveTo>
                    <a:pt x="1366802" y="0"/>
                  </a:moveTo>
                  <a:cubicBezTo>
                    <a:pt x="1404532" y="0"/>
                    <a:pt x="1435118" y="30586"/>
                    <a:pt x="1435118" y="68316"/>
                  </a:cubicBezTo>
                  <a:cubicBezTo>
                    <a:pt x="1435118" y="106046"/>
                    <a:pt x="1404532" y="136633"/>
                    <a:pt x="1366802" y="136633"/>
                  </a:cubicBezTo>
                  <a:cubicBezTo>
                    <a:pt x="1329072" y="136633"/>
                    <a:pt x="1298486" y="106046"/>
                    <a:pt x="1298486" y="68316"/>
                  </a:cubicBezTo>
                  <a:cubicBezTo>
                    <a:pt x="1298486" y="30586"/>
                    <a:pt x="1329072" y="0"/>
                    <a:pt x="1366802" y="0"/>
                  </a:cubicBezTo>
                  <a:close/>
                  <a:moveTo>
                    <a:pt x="1106436" y="0"/>
                  </a:moveTo>
                  <a:cubicBezTo>
                    <a:pt x="1144166" y="0"/>
                    <a:pt x="1174752" y="30586"/>
                    <a:pt x="1174752" y="68316"/>
                  </a:cubicBezTo>
                  <a:cubicBezTo>
                    <a:pt x="1174752" y="106046"/>
                    <a:pt x="1144166" y="136633"/>
                    <a:pt x="1106436" y="136633"/>
                  </a:cubicBezTo>
                  <a:cubicBezTo>
                    <a:pt x="1068706" y="136633"/>
                    <a:pt x="1038120" y="106046"/>
                    <a:pt x="1038120" y="68316"/>
                  </a:cubicBezTo>
                  <a:cubicBezTo>
                    <a:pt x="1038120" y="30586"/>
                    <a:pt x="1068706" y="0"/>
                    <a:pt x="1106436" y="0"/>
                  </a:cubicBezTo>
                  <a:close/>
                  <a:moveTo>
                    <a:pt x="846070" y="0"/>
                  </a:moveTo>
                  <a:cubicBezTo>
                    <a:pt x="883800" y="0"/>
                    <a:pt x="914386" y="30586"/>
                    <a:pt x="914386" y="68316"/>
                  </a:cubicBezTo>
                  <a:cubicBezTo>
                    <a:pt x="914386" y="106046"/>
                    <a:pt x="883800" y="136633"/>
                    <a:pt x="846070" y="136633"/>
                  </a:cubicBezTo>
                  <a:cubicBezTo>
                    <a:pt x="808340" y="136633"/>
                    <a:pt x="777754" y="106046"/>
                    <a:pt x="777754" y="68316"/>
                  </a:cubicBezTo>
                  <a:cubicBezTo>
                    <a:pt x="777754" y="30586"/>
                    <a:pt x="808340" y="0"/>
                    <a:pt x="846070" y="0"/>
                  </a:cubicBezTo>
                  <a:close/>
                </a:path>
              </a:pathLst>
            </a:custGeom>
          </p:spPr>
        </p:pic>
      </p:grpSp>
      <p:sp>
        <p:nvSpPr>
          <p:cNvPr id="90" name="Rectangle 89">
            <a:extLst>
              <a:ext uri="{FF2B5EF4-FFF2-40B4-BE49-F238E27FC236}">
                <a16:creationId xmlns:a16="http://schemas.microsoft.com/office/drawing/2014/main" id="{9902E17F-8C1B-4145-84F8-147E45B4670F}"/>
              </a:ext>
            </a:extLst>
          </p:cNvPr>
          <p:cNvSpPr/>
          <p:nvPr/>
        </p:nvSpPr>
        <p:spPr>
          <a:xfrm>
            <a:off x="5409088" y="4790502"/>
            <a:ext cx="2653253" cy="169277"/>
          </a:xfrm>
          <a:prstGeom prst="rect">
            <a:avLst/>
          </a:prstGeom>
          <a:noFill/>
          <a:ln>
            <a:noFill/>
          </a:ln>
        </p:spPr>
        <p:txBody>
          <a:bodyPr wrap="none" lIns="0" tIns="0" rIns="0" bIns="0" rtlCol="0" anchor="ctr">
            <a:noAutofit/>
          </a:bodyPr>
          <a:lstStyle/>
          <a:p>
            <a:pPr>
              <a:defRPr/>
            </a:pPr>
            <a:r>
              <a:rPr lang="en-US" sz="1400">
                <a:solidFill>
                  <a:schemeClr val="bg2"/>
                </a:solidFill>
                <a:latin typeface="CiscoSansTT ExtraLight"/>
              </a:rPr>
              <a:t>CASB</a:t>
            </a:r>
          </a:p>
        </p:txBody>
      </p:sp>
      <p:sp>
        <p:nvSpPr>
          <p:cNvPr id="91" name="Rectangle 90">
            <a:extLst>
              <a:ext uri="{FF2B5EF4-FFF2-40B4-BE49-F238E27FC236}">
                <a16:creationId xmlns:a16="http://schemas.microsoft.com/office/drawing/2014/main" id="{7A8ADD53-A735-42B6-818A-F1A9F9C43931}"/>
              </a:ext>
            </a:extLst>
          </p:cNvPr>
          <p:cNvSpPr/>
          <p:nvPr/>
        </p:nvSpPr>
        <p:spPr>
          <a:xfrm>
            <a:off x="5409088" y="2158052"/>
            <a:ext cx="2653253" cy="169277"/>
          </a:xfrm>
          <a:prstGeom prst="rect">
            <a:avLst/>
          </a:prstGeom>
          <a:noFill/>
          <a:ln>
            <a:noFill/>
          </a:ln>
        </p:spPr>
        <p:txBody>
          <a:bodyPr wrap="none" lIns="0" tIns="0" rIns="0" bIns="0" rtlCol="0" anchor="ctr">
            <a:noAutofit/>
          </a:bodyPr>
          <a:lstStyle/>
          <a:p>
            <a:pPr>
              <a:defRPr/>
            </a:pPr>
            <a:r>
              <a:rPr lang="en-US" sz="1400">
                <a:solidFill>
                  <a:schemeClr val="bg2"/>
                </a:solidFill>
                <a:latin typeface="CiscoSansTT ExtraLight"/>
              </a:rPr>
              <a:t>Deception</a:t>
            </a:r>
          </a:p>
        </p:txBody>
      </p:sp>
      <p:sp>
        <p:nvSpPr>
          <p:cNvPr id="92" name="Rectangle 91">
            <a:extLst>
              <a:ext uri="{FF2B5EF4-FFF2-40B4-BE49-F238E27FC236}">
                <a16:creationId xmlns:a16="http://schemas.microsoft.com/office/drawing/2014/main" id="{922D7F2D-14C3-4CE4-8985-3987B40F3BF6}"/>
              </a:ext>
            </a:extLst>
          </p:cNvPr>
          <p:cNvSpPr/>
          <p:nvPr/>
        </p:nvSpPr>
        <p:spPr>
          <a:xfrm>
            <a:off x="5409088" y="2487107"/>
            <a:ext cx="2653253" cy="169277"/>
          </a:xfrm>
          <a:prstGeom prst="rect">
            <a:avLst/>
          </a:prstGeom>
          <a:noFill/>
          <a:ln>
            <a:noFill/>
          </a:ln>
        </p:spPr>
        <p:txBody>
          <a:bodyPr wrap="none" lIns="0" tIns="0" rIns="0" bIns="0" rtlCol="0" anchor="ctr">
            <a:noAutofit/>
          </a:bodyPr>
          <a:lstStyle/>
          <a:p>
            <a:pPr>
              <a:defRPr/>
            </a:pPr>
            <a:r>
              <a:rPr lang="en-US" sz="1400">
                <a:solidFill>
                  <a:schemeClr val="bg2"/>
                </a:solidFill>
                <a:latin typeface="CiscoSansTT ExtraLight"/>
              </a:rPr>
              <a:t>Infrastructure</a:t>
            </a:r>
          </a:p>
        </p:txBody>
      </p:sp>
      <p:sp>
        <p:nvSpPr>
          <p:cNvPr id="93" name="Rectangle 92">
            <a:extLst>
              <a:ext uri="{FF2B5EF4-FFF2-40B4-BE49-F238E27FC236}">
                <a16:creationId xmlns:a16="http://schemas.microsoft.com/office/drawing/2014/main" id="{4D55BDCD-332B-4504-B1A5-C1A69C6FBB11}"/>
              </a:ext>
            </a:extLst>
          </p:cNvPr>
          <p:cNvSpPr/>
          <p:nvPr/>
        </p:nvSpPr>
        <p:spPr>
          <a:xfrm>
            <a:off x="5409088" y="2816162"/>
            <a:ext cx="2653253" cy="169277"/>
          </a:xfrm>
          <a:prstGeom prst="rect">
            <a:avLst/>
          </a:prstGeom>
          <a:noFill/>
          <a:ln>
            <a:noFill/>
          </a:ln>
        </p:spPr>
        <p:txBody>
          <a:bodyPr wrap="square" lIns="0" tIns="0" rIns="0" bIns="0" rtlCol="0" anchor="ctr">
            <a:noAutofit/>
          </a:bodyPr>
          <a:lstStyle/>
          <a:p>
            <a:pPr>
              <a:defRPr/>
            </a:pPr>
            <a:r>
              <a:rPr lang="en-US" sz="1400">
                <a:solidFill>
                  <a:schemeClr val="bg2"/>
                </a:solidFill>
                <a:latin typeface="CiscoSansTT ExtraLight"/>
              </a:rPr>
              <a:t>Firewall and Policy Management</a:t>
            </a:r>
          </a:p>
        </p:txBody>
      </p:sp>
      <p:sp>
        <p:nvSpPr>
          <p:cNvPr id="94" name="Rectangle 93">
            <a:extLst>
              <a:ext uri="{FF2B5EF4-FFF2-40B4-BE49-F238E27FC236}">
                <a16:creationId xmlns:a16="http://schemas.microsoft.com/office/drawing/2014/main" id="{C768A253-A8BD-43A8-9E5E-6775CE32E0AA}"/>
              </a:ext>
            </a:extLst>
          </p:cNvPr>
          <p:cNvSpPr/>
          <p:nvPr/>
        </p:nvSpPr>
        <p:spPr>
          <a:xfrm>
            <a:off x="5409088" y="3145217"/>
            <a:ext cx="2653253" cy="169277"/>
          </a:xfrm>
          <a:prstGeom prst="rect">
            <a:avLst/>
          </a:prstGeom>
          <a:noFill/>
          <a:ln>
            <a:noFill/>
          </a:ln>
        </p:spPr>
        <p:txBody>
          <a:bodyPr wrap="none" lIns="0" tIns="0" rIns="0" bIns="0" rtlCol="0" anchor="ctr">
            <a:noAutofit/>
          </a:bodyPr>
          <a:lstStyle/>
          <a:p>
            <a:pPr>
              <a:defRPr/>
            </a:pPr>
            <a:r>
              <a:rPr lang="en-US" sz="1400">
                <a:solidFill>
                  <a:schemeClr val="bg2"/>
                </a:solidFill>
                <a:latin typeface="CiscoSansTT ExtraLight"/>
              </a:rPr>
              <a:t>IAM/SSO</a:t>
            </a:r>
          </a:p>
        </p:txBody>
      </p:sp>
      <p:sp>
        <p:nvSpPr>
          <p:cNvPr id="95" name="Rectangle 94">
            <a:extLst>
              <a:ext uri="{FF2B5EF4-FFF2-40B4-BE49-F238E27FC236}">
                <a16:creationId xmlns:a16="http://schemas.microsoft.com/office/drawing/2014/main" id="{132A80C9-3189-469F-ABEA-8250345B912D}"/>
              </a:ext>
            </a:extLst>
          </p:cNvPr>
          <p:cNvSpPr/>
          <p:nvPr/>
        </p:nvSpPr>
        <p:spPr>
          <a:xfrm>
            <a:off x="5409088" y="3474272"/>
            <a:ext cx="2653253" cy="169277"/>
          </a:xfrm>
          <a:prstGeom prst="rect">
            <a:avLst/>
          </a:prstGeom>
          <a:noFill/>
          <a:ln>
            <a:noFill/>
          </a:ln>
        </p:spPr>
        <p:txBody>
          <a:bodyPr wrap="none" lIns="0" tIns="0" rIns="0" bIns="0" rtlCol="0" anchor="ctr">
            <a:noAutofit/>
          </a:bodyPr>
          <a:lstStyle/>
          <a:p>
            <a:pPr>
              <a:defRPr/>
            </a:pPr>
            <a:r>
              <a:rPr lang="en-US" sz="1400">
                <a:solidFill>
                  <a:schemeClr val="bg2"/>
                </a:solidFill>
                <a:latin typeface="CiscoSansTT ExtraLight"/>
              </a:rPr>
              <a:t>NPM/APM and Visualization</a:t>
            </a:r>
          </a:p>
        </p:txBody>
      </p:sp>
      <p:sp>
        <p:nvSpPr>
          <p:cNvPr id="96" name="Rectangle 95">
            <a:extLst>
              <a:ext uri="{FF2B5EF4-FFF2-40B4-BE49-F238E27FC236}">
                <a16:creationId xmlns:a16="http://schemas.microsoft.com/office/drawing/2014/main" id="{19F0D995-9CAB-4570-A172-59D12EBEDFCF}"/>
              </a:ext>
            </a:extLst>
          </p:cNvPr>
          <p:cNvSpPr/>
          <p:nvPr/>
        </p:nvSpPr>
        <p:spPr>
          <a:xfrm>
            <a:off x="5409088" y="3803327"/>
            <a:ext cx="2653253" cy="169277"/>
          </a:xfrm>
          <a:prstGeom prst="rect">
            <a:avLst/>
          </a:prstGeom>
          <a:noFill/>
          <a:ln>
            <a:noFill/>
          </a:ln>
        </p:spPr>
        <p:txBody>
          <a:bodyPr wrap="none" lIns="0" tIns="0" rIns="0" bIns="0" rtlCol="0" anchor="ctr">
            <a:noAutofit/>
          </a:bodyPr>
          <a:lstStyle/>
          <a:p>
            <a:pPr>
              <a:defRPr/>
            </a:pPr>
            <a:r>
              <a:rPr lang="en-US" sz="1400">
                <a:solidFill>
                  <a:schemeClr val="bg2"/>
                </a:solidFill>
                <a:latin typeface="CiscoSansTT ExtraLight"/>
              </a:rPr>
              <a:t>SIEM and Analytics</a:t>
            </a:r>
          </a:p>
        </p:txBody>
      </p:sp>
      <p:sp>
        <p:nvSpPr>
          <p:cNvPr id="97" name="Rectangle 96">
            <a:extLst>
              <a:ext uri="{FF2B5EF4-FFF2-40B4-BE49-F238E27FC236}">
                <a16:creationId xmlns:a16="http://schemas.microsoft.com/office/drawing/2014/main" id="{F39BCEB6-42EB-4D39-9266-4838CAB7C5FC}"/>
              </a:ext>
            </a:extLst>
          </p:cNvPr>
          <p:cNvSpPr/>
          <p:nvPr/>
        </p:nvSpPr>
        <p:spPr>
          <a:xfrm>
            <a:off x="5409088" y="4132382"/>
            <a:ext cx="2653253" cy="169277"/>
          </a:xfrm>
          <a:prstGeom prst="rect">
            <a:avLst/>
          </a:prstGeom>
          <a:noFill/>
          <a:ln>
            <a:noFill/>
          </a:ln>
        </p:spPr>
        <p:txBody>
          <a:bodyPr wrap="none" lIns="0" tIns="0" rIns="0" bIns="0" rtlCol="0" anchor="ctr">
            <a:noAutofit/>
          </a:bodyPr>
          <a:lstStyle/>
          <a:p>
            <a:pPr>
              <a:defRPr/>
            </a:pPr>
            <a:r>
              <a:rPr lang="en-US" sz="1400">
                <a:solidFill>
                  <a:schemeClr val="bg2"/>
                </a:solidFill>
                <a:latin typeface="CiscoSansTT ExtraLight"/>
              </a:rPr>
              <a:t>Threat Intelligence</a:t>
            </a:r>
          </a:p>
        </p:txBody>
      </p:sp>
      <p:sp>
        <p:nvSpPr>
          <p:cNvPr id="98" name="Rectangle 97">
            <a:extLst>
              <a:ext uri="{FF2B5EF4-FFF2-40B4-BE49-F238E27FC236}">
                <a16:creationId xmlns:a16="http://schemas.microsoft.com/office/drawing/2014/main" id="{3273E54D-1AB3-47A5-B030-C86425EDECA1}"/>
              </a:ext>
            </a:extLst>
          </p:cNvPr>
          <p:cNvSpPr/>
          <p:nvPr/>
        </p:nvSpPr>
        <p:spPr>
          <a:xfrm>
            <a:off x="5409088" y="4461437"/>
            <a:ext cx="2653253" cy="169277"/>
          </a:xfrm>
          <a:prstGeom prst="rect">
            <a:avLst/>
          </a:prstGeom>
          <a:noFill/>
          <a:ln>
            <a:noFill/>
          </a:ln>
        </p:spPr>
        <p:txBody>
          <a:bodyPr wrap="none" lIns="0" tIns="0" rIns="0" bIns="0" rtlCol="0" anchor="ctr">
            <a:noAutofit/>
          </a:bodyPr>
          <a:lstStyle/>
          <a:p>
            <a:pPr>
              <a:defRPr/>
            </a:pPr>
            <a:r>
              <a:rPr lang="en-US" sz="1400">
                <a:solidFill>
                  <a:schemeClr val="bg2"/>
                </a:solidFill>
                <a:latin typeface="CiscoSansTT ExtraLight"/>
              </a:rPr>
              <a:t>Vulnerability Management</a:t>
            </a:r>
          </a:p>
        </p:txBody>
      </p:sp>
      <p:sp>
        <p:nvSpPr>
          <p:cNvPr id="99" name="Rectangle 98">
            <a:extLst>
              <a:ext uri="{FF2B5EF4-FFF2-40B4-BE49-F238E27FC236}">
                <a16:creationId xmlns:a16="http://schemas.microsoft.com/office/drawing/2014/main" id="{E7AC7086-E6C5-4FAC-AEBB-35514E705E2A}"/>
              </a:ext>
            </a:extLst>
          </p:cNvPr>
          <p:cNvSpPr/>
          <p:nvPr/>
        </p:nvSpPr>
        <p:spPr>
          <a:xfrm>
            <a:off x="5409088" y="160639"/>
            <a:ext cx="2653253" cy="215444"/>
          </a:xfrm>
          <a:prstGeom prst="rect">
            <a:avLst/>
          </a:prstGeom>
          <a:noFill/>
          <a:ln>
            <a:noFill/>
          </a:ln>
        </p:spPr>
        <p:txBody>
          <a:bodyPr wrap="square" lIns="0" tIns="0" rIns="0" bIns="0" rtlCol="0" anchor="ctr">
            <a:spAutoFit/>
          </a:bodyPr>
          <a:lstStyle/>
          <a:p>
            <a:pPr>
              <a:defRPr/>
            </a:pPr>
            <a:r>
              <a:rPr lang="en-US" sz="1400">
                <a:solidFill>
                  <a:schemeClr val="bg2"/>
                </a:solidFill>
                <a:latin typeface="CiscoSansTT ExtraLight"/>
              </a:rPr>
              <a:t>Cloud Apps and Infrastructure</a:t>
            </a:r>
          </a:p>
        </p:txBody>
      </p:sp>
      <p:sp>
        <p:nvSpPr>
          <p:cNvPr id="100" name="Rectangle 99">
            <a:extLst>
              <a:ext uri="{FF2B5EF4-FFF2-40B4-BE49-F238E27FC236}">
                <a16:creationId xmlns:a16="http://schemas.microsoft.com/office/drawing/2014/main" id="{BBF52EF0-3BB9-4E15-BBFD-DC45E59E950B}"/>
              </a:ext>
            </a:extLst>
          </p:cNvPr>
          <p:cNvSpPr/>
          <p:nvPr/>
        </p:nvSpPr>
        <p:spPr>
          <a:xfrm>
            <a:off x="5409088" y="512777"/>
            <a:ext cx="2653253" cy="169277"/>
          </a:xfrm>
          <a:prstGeom prst="rect">
            <a:avLst/>
          </a:prstGeom>
          <a:noFill/>
          <a:ln>
            <a:noFill/>
          </a:ln>
        </p:spPr>
        <p:txBody>
          <a:bodyPr wrap="none" lIns="0" tIns="0" rIns="0" bIns="0" rtlCol="0" anchor="ctr">
            <a:noAutofit/>
          </a:bodyPr>
          <a:lstStyle/>
          <a:p>
            <a:pPr>
              <a:defRPr/>
            </a:pPr>
            <a:r>
              <a:rPr lang="en-US" sz="1400">
                <a:solidFill>
                  <a:schemeClr val="bg2"/>
                </a:solidFill>
                <a:latin typeface="CiscoSansTT ExtraLight"/>
              </a:rPr>
              <a:t>UEBA</a:t>
            </a:r>
          </a:p>
        </p:txBody>
      </p:sp>
      <p:sp>
        <p:nvSpPr>
          <p:cNvPr id="101" name="Rectangle 100">
            <a:extLst>
              <a:ext uri="{FF2B5EF4-FFF2-40B4-BE49-F238E27FC236}">
                <a16:creationId xmlns:a16="http://schemas.microsoft.com/office/drawing/2014/main" id="{843AD713-7775-41A5-ADD5-BB3458258C8C}"/>
              </a:ext>
            </a:extLst>
          </p:cNvPr>
          <p:cNvSpPr/>
          <p:nvPr/>
        </p:nvSpPr>
        <p:spPr>
          <a:xfrm>
            <a:off x="5409088" y="841832"/>
            <a:ext cx="2653253" cy="169277"/>
          </a:xfrm>
          <a:prstGeom prst="rect">
            <a:avLst/>
          </a:prstGeom>
          <a:noFill/>
          <a:ln>
            <a:noFill/>
          </a:ln>
        </p:spPr>
        <p:txBody>
          <a:bodyPr wrap="none" lIns="0" tIns="0" rIns="0" bIns="0" rtlCol="0" anchor="ctr">
            <a:noAutofit/>
          </a:bodyPr>
          <a:lstStyle/>
          <a:p>
            <a:pPr>
              <a:defRPr/>
            </a:pPr>
            <a:r>
              <a:rPr lang="en-US" sz="1400">
                <a:solidFill>
                  <a:schemeClr val="bg2"/>
                </a:solidFill>
                <a:latin typeface="CiscoSansTT ExtraLight"/>
              </a:rPr>
              <a:t>EMM/Mobility</a:t>
            </a:r>
          </a:p>
        </p:txBody>
      </p:sp>
      <p:sp>
        <p:nvSpPr>
          <p:cNvPr id="102" name="Rectangle 101">
            <a:extLst>
              <a:ext uri="{FF2B5EF4-FFF2-40B4-BE49-F238E27FC236}">
                <a16:creationId xmlns:a16="http://schemas.microsoft.com/office/drawing/2014/main" id="{23418A51-5BB1-4D4D-A0DA-C0690EB87278}"/>
              </a:ext>
            </a:extLst>
          </p:cNvPr>
          <p:cNvSpPr/>
          <p:nvPr/>
        </p:nvSpPr>
        <p:spPr>
          <a:xfrm>
            <a:off x="5409088" y="1170887"/>
            <a:ext cx="2653253" cy="169277"/>
          </a:xfrm>
          <a:prstGeom prst="rect">
            <a:avLst/>
          </a:prstGeom>
          <a:noFill/>
          <a:ln>
            <a:noFill/>
          </a:ln>
        </p:spPr>
        <p:txBody>
          <a:bodyPr wrap="none" lIns="0" tIns="0" rIns="0" bIns="0" rtlCol="0" anchor="ctr">
            <a:noAutofit/>
          </a:bodyPr>
          <a:lstStyle/>
          <a:p>
            <a:pPr>
              <a:defRPr/>
            </a:pPr>
            <a:r>
              <a:rPr lang="en-US" sz="1400">
                <a:solidFill>
                  <a:schemeClr val="bg2"/>
                </a:solidFill>
                <a:latin typeface="CiscoSansTT ExtraLight"/>
              </a:rPr>
              <a:t>Endpoint and Custom Detection</a:t>
            </a:r>
          </a:p>
        </p:txBody>
      </p:sp>
      <p:sp>
        <p:nvSpPr>
          <p:cNvPr id="103" name="Rectangle 102">
            <a:extLst>
              <a:ext uri="{FF2B5EF4-FFF2-40B4-BE49-F238E27FC236}">
                <a16:creationId xmlns:a16="http://schemas.microsoft.com/office/drawing/2014/main" id="{6C8758A5-FFD9-416C-964C-79B84DA33CEA}"/>
              </a:ext>
            </a:extLst>
          </p:cNvPr>
          <p:cNvSpPr/>
          <p:nvPr/>
        </p:nvSpPr>
        <p:spPr>
          <a:xfrm>
            <a:off x="5409088" y="1499942"/>
            <a:ext cx="2653253" cy="169277"/>
          </a:xfrm>
          <a:prstGeom prst="rect">
            <a:avLst/>
          </a:prstGeom>
          <a:noFill/>
          <a:ln>
            <a:noFill/>
          </a:ln>
        </p:spPr>
        <p:txBody>
          <a:bodyPr wrap="none" lIns="0" tIns="0" rIns="0" bIns="0" rtlCol="0" anchor="ctr">
            <a:noAutofit/>
          </a:bodyPr>
          <a:lstStyle/>
          <a:p>
            <a:pPr>
              <a:defRPr/>
            </a:pPr>
            <a:r>
              <a:rPr lang="en-US" sz="1400">
                <a:solidFill>
                  <a:schemeClr val="bg2"/>
                </a:solidFill>
                <a:latin typeface="CiscoSansTT ExtraLight"/>
              </a:rPr>
              <a:t>Orchestration</a:t>
            </a:r>
          </a:p>
        </p:txBody>
      </p:sp>
      <p:sp>
        <p:nvSpPr>
          <p:cNvPr id="104" name="Rectangle 103">
            <a:extLst>
              <a:ext uri="{FF2B5EF4-FFF2-40B4-BE49-F238E27FC236}">
                <a16:creationId xmlns:a16="http://schemas.microsoft.com/office/drawing/2014/main" id="{A5BE6B3D-1B4D-49A2-A48C-5F66F3B46EFA}"/>
              </a:ext>
            </a:extLst>
          </p:cNvPr>
          <p:cNvSpPr/>
          <p:nvPr/>
        </p:nvSpPr>
        <p:spPr>
          <a:xfrm>
            <a:off x="5409088" y="1828997"/>
            <a:ext cx="2653253" cy="169277"/>
          </a:xfrm>
          <a:prstGeom prst="rect">
            <a:avLst/>
          </a:prstGeom>
          <a:noFill/>
          <a:ln>
            <a:noFill/>
          </a:ln>
        </p:spPr>
        <p:txBody>
          <a:bodyPr wrap="none" lIns="0" tIns="0" rIns="0" bIns="0" rtlCol="0" anchor="ctr">
            <a:noAutofit/>
          </a:bodyPr>
          <a:lstStyle/>
          <a:p>
            <a:pPr>
              <a:defRPr/>
            </a:pPr>
            <a:r>
              <a:rPr lang="en-US" sz="1400">
                <a:solidFill>
                  <a:schemeClr val="bg2"/>
                </a:solidFill>
                <a:latin typeface="CiscoSansTT ExtraLight"/>
              </a:rPr>
              <a:t>Forensics and IR</a:t>
            </a:r>
          </a:p>
        </p:txBody>
      </p:sp>
      <p:grpSp>
        <p:nvGrpSpPr>
          <p:cNvPr id="145" name="Group 144">
            <a:extLst>
              <a:ext uri="{FF2B5EF4-FFF2-40B4-BE49-F238E27FC236}">
                <a16:creationId xmlns:a16="http://schemas.microsoft.com/office/drawing/2014/main" id="{D9A13215-72D6-4310-875C-9E509BCB560C}"/>
              </a:ext>
            </a:extLst>
          </p:cNvPr>
          <p:cNvGrpSpPr/>
          <p:nvPr/>
        </p:nvGrpSpPr>
        <p:grpSpPr>
          <a:xfrm>
            <a:off x="5106163" y="262440"/>
            <a:ext cx="224790" cy="4612700"/>
            <a:chOff x="5204460" y="432888"/>
            <a:chExt cx="224790" cy="4612700"/>
          </a:xfrm>
        </p:grpSpPr>
        <p:cxnSp>
          <p:nvCxnSpPr>
            <p:cNvPr id="129" name="Straight Connector 128">
              <a:extLst>
                <a:ext uri="{FF2B5EF4-FFF2-40B4-BE49-F238E27FC236}">
                  <a16:creationId xmlns:a16="http://schemas.microsoft.com/office/drawing/2014/main" id="{EB5247E0-6F92-497D-8FD5-73DEFE5E8C22}"/>
                </a:ext>
              </a:extLst>
            </p:cNvPr>
            <p:cNvCxnSpPr>
              <a:cxnSpLocks/>
            </p:cNvCxnSpPr>
            <p:nvPr/>
          </p:nvCxnSpPr>
          <p:spPr>
            <a:xfrm flipH="1">
              <a:off x="5204460" y="432888"/>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6100B896-63DD-47A6-B076-E4C44E57565A}"/>
                </a:ext>
              </a:extLst>
            </p:cNvPr>
            <p:cNvCxnSpPr>
              <a:cxnSpLocks/>
            </p:cNvCxnSpPr>
            <p:nvPr/>
          </p:nvCxnSpPr>
          <p:spPr>
            <a:xfrm flipH="1">
              <a:off x="5204460" y="761943"/>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9AA68201-AEB9-4D56-B706-7BD33B02870F}"/>
                </a:ext>
              </a:extLst>
            </p:cNvPr>
            <p:cNvCxnSpPr>
              <a:cxnSpLocks/>
            </p:cNvCxnSpPr>
            <p:nvPr/>
          </p:nvCxnSpPr>
          <p:spPr>
            <a:xfrm flipH="1">
              <a:off x="5204460" y="1090998"/>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D7BD2D0-BD48-4FC3-84E0-161CDEE6CEFD}"/>
                </a:ext>
              </a:extLst>
            </p:cNvPr>
            <p:cNvCxnSpPr>
              <a:cxnSpLocks/>
            </p:cNvCxnSpPr>
            <p:nvPr/>
          </p:nvCxnSpPr>
          <p:spPr>
            <a:xfrm flipH="1">
              <a:off x="5204460" y="1420053"/>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195A3275-3100-4E38-BBC8-2A2AC7F29842}"/>
                </a:ext>
              </a:extLst>
            </p:cNvPr>
            <p:cNvCxnSpPr>
              <a:cxnSpLocks/>
            </p:cNvCxnSpPr>
            <p:nvPr/>
          </p:nvCxnSpPr>
          <p:spPr>
            <a:xfrm flipH="1">
              <a:off x="5204460" y="1749108"/>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D4F2C119-9226-4CFB-8EC9-CB129F76BB67}"/>
                </a:ext>
              </a:extLst>
            </p:cNvPr>
            <p:cNvCxnSpPr>
              <a:cxnSpLocks/>
            </p:cNvCxnSpPr>
            <p:nvPr/>
          </p:nvCxnSpPr>
          <p:spPr>
            <a:xfrm flipH="1">
              <a:off x="5204460" y="2078163"/>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66E8AD12-DCCE-498A-AC62-8E4465EAF39C}"/>
                </a:ext>
              </a:extLst>
            </p:cNvPr>
            <p:cNvCxnSpPr>
              <a:cxnSpLocks/>
            </p:cNvCxnSpPr>
            <p:nvPr/>
          </p:nvCxnSpPr>
          <p:spPr>
            <a:xfrm flipH="1">
              <a:off x="5204460" y="2407218"/>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3470969-8DDB-490F-B59E-5C7B012BA98B}"/>
                </a:ext>
              </a:extLst>
            </p:cNvPr>
            <p:cNvCxnSpPr>
              <a:cxnSpLocks/>
            </p:cNvCxnSpPr>
            <p:nvPr/>
          </p:nvCxnSpPr>
          <p:spPr>
            <a:xfrm flipH="1">
              <a:off x="5204460" y="3065328"/>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68C8EAD6-D293-424E-8258-E85C412944D9}"/>
                </a:ext>
              </a:extLst>
            </p:cNvPr>
            <p:cNvCxnSpPr>
              <a:cxnSpLocks/>
            </p:cNvCxnSpPr>
            <p:nvPr/>
          </p:nvCxnSpPr>
          <p:spPr>
            <a:xfrm flipH="1">
              <a:off x="5204460" y="3394383"/>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63F01903-887D-4A5A-AB9E-CCCFE32BE0B7}"/>
                </a:ext>
              </a:extLst>
            </p:cNvPr>
            <p:cNvCxnSpPr>
              <a:cxnSpLocks/>
            </p:cNvCxnSpPr>
            <p:nvPr/>
          </p:nvCxnSpPr>
          <p:spPr>
            <a:xfrm flipH="1">
              <a:off x="5204460" y="3723438"/>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F478746-5FD6-486F-91B3-E82B909D6474}"/>
                </a:ext>
              </a:extLst>
            </p:cNvPr>
            <p:cNvCxnSpPr>
              <a:cxnSpLocks/>
            </p:cNvCxnSpPr>
            <p:nvPr/>
          </p:nvCxnSpPr>
          <p:spPr>
            <a:xfrm flipH="1">
              <a:off x="5204460" y="4052493"/>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E6AAE87C-3CFC-4CF7-87D3-C4EC90D4CF32}"/>
                </a:ext>
              </a:extLst>
            </p:cNvPr>
            <p:cNvCxnSpPr>
              <a:cxnSpLocks/>
            </p:cNvCxnSpPr>
            <p:nvPr/>
          </p:nvCxnSpPr>
          <p:spPr>
            <a:xfrm flipH="1">
              <a:off x="5204460" y="4381548"/>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6A316BC9-30D9-4C2B-A24D-80BED8EB68E7}"/>
                </a:ext>
              </a:extLst>
            </p:cNvPr>
            <p:cNvCxnSpPr>
              <a:cxnSpLocks/>
            </p:cNvCxnSpPr>
            <p:nvPr/>
          </p:nvCxnSpPr>
          <p:spPr>
            <a:xfrm flipH="1">
              <a:off x="5204460" y="4710603"/>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91F02A1B-B44E-48A6-920D-EAD8E6F9D055}"/>
                </a:ext>
              </a:extLst>
            </p:cNvPr>
            <p:cNvCxnSpPr>
              <a:cxnSpLocks/>
            </p:cNvCxnSpPr>
            <p:nvPr/>
          </p:nvCxnSpPr>
          <p:spPr>
            <a:xfrm flipH="1">
              <a:off x="5204460" y="2736273"/>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166163CD-0649-49F9-8A16-E74DDEE3715F}"/>
                </a:ext>
              </a:extLst>
            </p:cNvPr>
            <p:cNvCxnSpPr>
              <a:cxnSpLocks/>
            </p:cNvCxnSpPr>
            <p:nvPr/>
          </p:nvCxnSpPr>
          <p:spPr>
            <a:xfrm flipH="1">
              <a:off x="5204460" y="5045588"/>
              <a:ext cx="224790" cy="0"/>
            </a:xfrm>
            <a:prstGeom prst="line">
              <a:avLst/>
            </a:prstGeom>
            <a:ln>
              <a:gradFill flip="none" rotWithShape="1">
                <a:gsLst>
                  <a:gs pos="0">
                    <a:schemeClr val="tx1"/>
                  </a:gs>
                  <a:gs pos="100000">
                    <a:schemeClr val="tx1">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grpSp>
        <p:nvGrpSpPr>
          <p:cNvPr id="105" name="Group 104">
            <a:extLst>
              <a:ext uri="{FF2B5EF4-FFF2-40B4-BE49-F238E27FC236}">
                <a16:creationId xmlns:a16="http://schemas.microsoft.com/office/drawing/2014/main" id="{AB535315-DE6A-4886-8584-3EE5F5681F1A}"/>
              </a:ext>
            </a:extLst>
          </p:cNvPr>
          <p:cNvGrpSpPr/>
          <p:nvPr/>
        </p:nvGrpSpPr>
        <p:grpSpPr>
          <a:xfrm>
            <a:off x="4891576" y="709571"/>
            <a:ext cx="81775" cy="3663203"/>
            <a:chOff x="3690235" y="709571"/>
            <a:chExt cx="81775" cy="3663203"/>
          </a:xfrm>
        </p:grpSpPr>
        <p:cxnSp>
          <p:nvCxnSpPr>
            <p:cNvPr id="107" name="Straight Connector 106">
              <a:extLst>
                <a:ext uri="{FF2B5EF4-FFF2-40B4-BE49-F238E27FC236}">
                  <a16:creationId xmlns:a16="http://schemas.microsoft.com/office/drawing/2014/main" id="{E96EE63E-774E-4785-A052-DF33ADC5B557}"/>
                </a:ext>
              </a:extLst>
            </p:cNvPr>
            <p:cNvCxnSpPr>
              <a:cxnSpLocks/>
            </p:cNvCxnSpPr>
            <p:nvPr/>
          </p:nvCxnSpPr>
          <p:spPr>
            <a:xfrm>
              <a:off x="3690235" y="709571"/>
              <a:ext cx="0" cy="3192871"/>
            </a:xfrm>
            <a:prstGeom prst="line">
              <a:avLst/>
            </a:prstGeom>
            <a:ln>
              <a:solidFill>
                <a:schemeClr val="accent3"/>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22B5122C-33B6-41FF-B0C7-2273E9C0FECF}"/>
                </a:ext>
              </a:extLst>
            </p:cNvPr>
            <p:cNvCxnSpPr>
              <a:cxnSpLocks/>
            </p:cNvCxnSpPr>
            <p:nvPr/>
          </p:nvCxnSpPr>
          <p:spPr>
            <a:xfrm>
              <a:off x="3772010" y="1179903"/>
              <a:ext cx="0" cy="3192871"/>
            </a:xfrm>
            <a:prstGeom prst="line">
              <a:avLst/>
            </a:prstGeom>
            <a:ln>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360623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Partial Circle 2">
            <a:extLst>
              <a:ext uri="{FF2B5EF4-FFF2-40B4-BE49-F238E27FC236}">
                <a16:creationId xmlns:a16="http://schemas.microsoft.com/office/drawing/2014/main" id="{BB1B541D-F1FF-4FD1-A697-A25E15FF05A7}"/>
              </a:ext>
            </a:extLst>
          </p:cNvPr>
          <p:cNvSpPr/>
          <p:nvPr/>
        </p:nvSpPr>
        <p:spPr>
          <a:xfrm rot="20759294">
            <a:off x="5141236" y="3195152"/>
            <a:ext cx="906020" cy="903381"/>
          </a:xfrm>
          <a:prstGeom prst="pie">
            <a:avLst>
              <a:gd name="adj1" fmla="val 2141836"/>
              <a:gd name="adj2" fmla="val 1707950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0" name="Title 9">
            <a:extLst>
              <a:ext uri="{FF2B5EF4-FFF2-40B4-BE49-F238E27FC236}">
                <a16:creationId xmlns:a16="http://schemas.microsoft.com/office/drawing/2014/main" id="{B8E27929-9D46-43E4-9536-F8EF62CCFDBA}"/>
              </a:ext>
            </a:extLst>
          </p:cNvPr>
          <p:cNvSpPr txBox="1">
            <a:spLocks/>
          </p:cNvSpPr>
          <p:nvPr/>
        </p:nvSpPr>
        <p:spPr bwMode="auto">
          <a:xfrm>
            <a:off x="533400" y="2819966"/>
            <a:ext cx="4138071"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BCEB"/>
                </a:solidFill>
                <a:effectLst/>
                <a:uLnTx/>
                <a:uFillTx/>
                <a:latin typeface="CiscoSansTT" panose="020B0503020201020303" pitchFamily="34" charset="0"/>
              </a:rPr>
              <a:t>Strengthen your security strategy</a:t>
            </a:r>
            <a:r>
              <a:rPr kumimoji="0" lang="en-US" sz="2000" b="0" i="0" u="none" strike="noStrike" kern="1200" cap="none" spc="0" normalizeH="0" baseline="0" noProof="0">
                <a:ln>
                  <a:noFill/>
                </a:ln>
                <a:solidFill>
                  <a:srgbClr val="00BCEB"/>
                </a:solidFill>
                <a:effectLst/>
                <a:uLnTx/>
                <a:uFillTx/>
                <a:latin typeface="CiscoSansTT Heavy" panose="020B0903020201020303" pitchFamily="34" charset="0"/>
              </a:rPr>
              <a:t> </a:t>
            </a:r>
            <a:r>
              <a:rPr kumimoji="0" lang="en-US" sz="2000" b="0" i="0" u="none" strike="noStrike" kern="1200" cap="none" spc="0" normalizeH="0" baseline="0" noProof="0">
                <a:ln>
                  <a:noFill/>
                </a:ln>
                <a:solidFill>
                  <a:srgbClr val="0D274D"/>
                </a:solidFill>
                <a:effectLst/>
                <a:uLnTx/>
                <a:uFillTx/>
                <a:latin typeface="CiscoSansTT ExtraLight"/>
              </a:rPr>
              <a:t>and reduce risk with a platform you can rely on, backed by unparalleled resources and expertise.</a:t>
            </a:r>
          </a:p>
        </p:txBody>
      </p:sp>
      <p:cxnSp>
        <p:nvCxnSpPr>
          <p:cNvPr id="11" name="Straight Connector 10">
            <a:extLst>
              <a:ext uri="{FF2B5EF4-FFF2-40B4-BE49-F238E27FC236}">
                <a16:creationId xmlns:a16="http://schemas.microsoft.com/office/drawing/2014/main" id="{CD07045A-DD46-41B5-8AC4-6D6F0055E8E8}"/>
              </a:ext>
            </a:extLst>
          </p:cNvPr>
          <p:cNvCxnSpPr>
            <a:cxnSpLocks/>
          </p:cNvCxnSpPr>
          <p:nvPr/>
        </p:nvCxnSpPr>
        <p:spPr>
          <a:xfrm flipH="1">
            <a:off x="533400" y="2656875"/>
            <a:ext cx="3931920" cy="0"/>
          </a:xfrm>
          <a:prstGeom prst="line">
            <a:avLst/>
          </a:prstGeom>
          <a:noFill/>
          <a:ln w="9525" cap="flat" cmpd="sng" algn="ctr">
            <a:solidFill>
              <a:schemeClr val="bg2"/>
            </a:solidFill>
            <a:prstDash val="solid"/>
          </a:ln>
          <a:effectLst/>
        </p:spPr>
      </p:cxnSp>
      <p:grpSp>
        <p:nvGrpSpPr>
          <p:cNvPr id="13" name="Group 12">
            <a:extLst>
              <a:ext uri="{FF2B5EF4-FFF2-40B4-BE49-F238E27FC236}">
                <a16:creationId xmlns:a16="http://schemas.microsoft.com/office/drawing/2014/main" id="{A9E871E7-71DC-4945-9B88-D099B9BEFA3E}"/>
              </a:ext>
            </a:extLst>
          </p:cNvPr>
          <p:cNvGrpSpPr/>
          <p:nvPr/>
        </p:nvGrpSpPr>
        <p:grpSpPr>
          <a:xfrm>
            <a:off x="533400" y="1692937"/>
            <a:ext cx="2823883" cy="823833"/>
            <a:chOff x="2985156" y="2404877"/>
            <a:chExt cx="2823883" cy="823833"/>
          </a:xfrm>
        </p:grpSpPr>
        <p:sp>
          <p:nvSpPr>
            <p:cNvPr id="14" name="Title 9">
              <a:extLst>
                <a:ext uri="{FF2B5EF4-FFF2-40B4-BE49-F238E27FC236}">
                  <a16:creationId xmlns:a16="http://schemas.microsoft.com/office/drawing/2014/main" id="{177D9E92-7A79-4002-8C36-92C889792C37}"/>
                </a:ext>
              </a:extLst>
            </p:cNvPr>
            <p:cNvSpPr txBox="1">
              <a:spLocks/>
            </p:cNvSpPr>
            <p:nvPr/>
          </p:nvSpPr>
          <p:spPr bwMode="auto">
            <a:xfrm>
              <a:off x="2985156" y="2736267"/>
              <a:ext cx="2823883" cy="49244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a:ln>
                    <a:noFill/>
                  </a:ln>
                  <a:solidFill>
                    <a:srgbClr val="6CBF4F"/>
                  </a:solidFill>
                  <a:effectLst/>
                  <a:uLnTx/>
                  <a:uFillTx/>
                  <a:latin typeface="CiscoSansTT Light" panose="020B0503020201020303" pitchFamily="34" charset="0"/>
                </a:rPr>
                <a:t>protected</a:t>
              </a:r>
            </a:p>
          </p:txBody>
        </p:sp>
        <p:sp>
          <p:nvSpPr>
            <p:cNvPr id="15" name="Title 9">
              <a:extLst>
                <a:ext uri="{FF2B5EF4-FFF2-40B4-BE49-F238E27FC236}">
                  <a16:creationId xmlns:a16="http://schemas.microsoft.com/office/drawing/2014/main" id="{544F7A89-D20C-42AB-8932-F48FAAE2E6D2}"/>
                </a:ext>
              </a:extLst>
            </p:cNvPr>
            <p:cNvSpPr txBox="1">
              <a:spLocks/>
            </p:cNvSpPr>
            <p:nvPr/>
          </p:nvSpPr>
          <p:spPr bwMode="auto">
            <a:xfrm>
              <a:off x="2985156" y="2404877"/>
              <a:ext cx="2823883" cy="49244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0BCEC"/>
                  </a:solidFill>
                  <a:effectLst/>
                  <a:uLnTx/>
                  <a:uFillTx/>
                  <a:latin typeface="CiscoSansTT ExtraLight"/>
                </a:rPr>
                <a:t>Future</a:t>
              </a:r>
            </a:p>
          </p:txBody>
        </p:sp>
      </p:grpSp>
      <p:grpSp>
        <p:nvGrpSpPr>
          <p:cNvPr id="5" name="Group 4">
            <a:extLst>
              <a:ext uri="{FF2B5EF4-FFF2-40B4-BE49-F238E27FC236}">
                <a16:creationId xmlns:a16="http://schemas.microsoft.com/office/drawing/2014/main" id="{45A29CE8-E16A-4D41-9716-B8E6589BD1EB}"/>
              </a:ext>
            </a:extLst>
          </p:cNvPr>
          <p:cNvGrpSpPr/>
          <p:nvPr/>
        </p:nvGrpSpPr>
        <p:grpSpPr>
          <a:xfrm>
            <a:off x="5380168" y="1146403"/>
            <a:ext cx="3458221" cy="2904434"/>
            <a:chOff x="5380168" y="1146403"/>
            <a:chExt cx="3458221" cy="2904434"/>
          </a:xfrm>
        </p:grpSpPr>
        <p:sp>
          <p:nvSpPr>
            <p:cNvPr id="60" name="Oval 59">
              <a:extLst>
                <a:ext uri="{FF2B5EF4-FFF2-40B4-BE49-F238E27FC236}">
                  <a16:creationId xmlns:a16="http://schemas.microsoft.com/office/drawing/2014/main" id="{5861A46A-B4C6-45FD-A8CA-690E56AFF4B1}"/>
                </a:ext>
              </a:extLst>
            </p:cNvPr>
            <p:cNvSpPr/>
            <p:nvPr/>
          </p:nvSpPr>
          <p:spPr>
            <a:xfrm>
              <a:off x="6002312" y="1281575"/>
              <a:ext cx="2647784" cy="2647784"/>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grpSp>
          <p:nvGrpSpPr>
            <p:cNvPr id="61" name="Group 60">
              <a:extLst>
                <a:ext uri="{FF2B5EF4-FFF2-40B4-BE49-F238E27FC236}">
                  <a16:creationId xmlns:a16="http://schemas.microsoft.com/office/drawing/2014/main" id="{E12CE25B-DCC6-41E2-8B67-9602F08402A9}"/>
                </a:ext>
              </a:extLst>
            </p:cNvPr>
            <p:cNvGrpSpPr/>
            <p:nvPr/>
          </p:nvGrpSpPr>
          <p:grpSpPr>
            <a:xfrm>
              <a:off x="5380168" y="2150256"/>
              <a:ext cx="1855356" cy="1727200"/>
              <a:chOff x="6860201" y="2704884"/>
              <a:chExt cx="1679289" cy="1563293"/>
            </a:xfrm>
          </p:grpSpPr>
          <p:cxnSp>
            <p:nvCxnSpPr>
              <p:cNvPr id="285" name="Straight Connector 284">
                <a:extLst>
                  <a:ext uri="{FF2B5EF4-FFF2-40B4-BE49-F238E27FC236}">
                    <a16:creationId xmlns:a16="http://schemas.microsoft.com/office/drawing/2014/main" id="{CA3C0B02-C081-498C-ABE6-2F3E52936AE3}"/>
                  </a:ext>
                </a:extLst>
              </p:cNvPr>
              <p:cNvCxnSpPr/>
              <p:nvPr/>
            </p:nvCxnSpPr>
            <p:spPr>
              <a:xfrm flipV="1">
                <a:off x="6860201" y="2704884"/>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4A473C9E-0CFA-4205-9A56-ECAD1BAE3462}"/>
                  </a:ext>
                </a:extLst>
              </p:cNvPr>
              <p:cNvCxnSpPr/>
              <p:nvPr/>
            </p:nvCxnSpPr>
            <p:spPr>
              <a:xfrm flipV="1">
                <a:off x="6888195" y="2728247"/>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E6723160-EF57-49D8-A506-CCEBD3BA56AD}"/>
                  </a:ext>
                </a:extLst>
              </p:cNvPr>
              <p:cNvCxnSpPr/>
              <p:nvPr/>
            </p:nvCxnSpPr>
            <p:spPr>
              <a:xfrm flipV="1">
                <a:off x="6972177" y="2798336"/>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8C5DE8BE-EDF6-40B9-85DD-BDA158141F8F}"/>
                  </a:ext>
                </a:extLst>
              </p:cNvPr>
              <p:cNvCxnSpPr/>
              <p:nvPr/>
            </p:nvCxnSpPr>
            <p:spPr>
              <a:xfrm flipV="1">
                <a:off x="7028165" y="2845062"/>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BAFFC085-CEE3-4F1D-80FB-DA9E7BA8BDA2}"/>
                  </a:ext>
                </a:extLst>
              </p:cNvPr>
              <p:cNvCxnSpPr/>
              <p:nvPr/>
            </p:nvCxnSpPr>
            <p:spPr>
              <a:xfrm flipV="1">
                <a:off x="7084153" y="2891788"/>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426CF5A0-F1CB-4B50-9604-638680DF1F96}"/>
                  </a:ext>
                </a:extLst>
              </p:cNvPr>
              <p:cNvCxnSpPr/>
              <p:nvPr/>
            </p:nvCxnSpPr>
            <p:spPr>
              <a:xfrm flipV="1">
                <a:off x="7140141" y="2938514"/>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9ECAEC47-B2D2-49DC-9EF8-F4869D8E2E0B}"/>
                  </a:ext>
                </a:extLst>
              </p:cNvPr>
              <p:cNvCxnSpPr/>
              <p:nvPr/>
            </p:nvCxnSpPr>
            <p:spPr>
              <a:xfrm flipV="1">
                <a:off x="7196129" y="2985240"/>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77D2E707-2AE7-4D6D-A64D-2069E02A690F}"/>
                  </a:ext>
                </a:extLst>
              </p:cNvPr>
              <p:cNvCxnSpPr/>
              <p:nvPr/>
            </p:nvCxnSpPr>
            <p:spPr>
              <a:xfrm flipV="1">
                <a:off x="7252117" y="3031966"/>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95558EBC-E930-4892-869A-315886A20C6C}"/>
                  </a:ext>
                </a:extLst>
              </p:cNvPr>
              <p:cNvCxnSpPr/>
              <p:nvPr/>
            </p:nvCxnSpPr>
            <p:spPr>
              <a:xfrm flipV="1">
                <a:off x="6916189" y="2751610"/>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6F7BEB72-E7FE-41A5-AB9D-CE1C9DA6EA39}"/>
                  </a:ext>
                </a:extLst>
              </p:cNvPr>
              <p:cNvCxnSpPr/>
              <p:nvPr/>
            </p:nvCxnSpPr>
            <p:spPr>
              <a:xfrm flipV="1">
                <a:off x="6944183" y="2774973"/>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B5026D04-25DD-4A17-BC49-2322CE0DFF53}"/>
                  </a:ext>
                </a:extLst>
              </p:cNvPr>
              <p:cNvCxnSpPr/>
              <p:nvPr/>
            </p:nvCxnSpPr>
            <p:spPr>
              <a:xfrm flipV="1">
                <a:off x="7000171" y="2821699"/>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F2475067-515D-48EB-A777-C5BB2150482E}"/>
                  </a:ext>
                </a:extLst>
              </p:cNvPr>
              <p:cNvCxnSpPr/>
              <p:nvPr/>
            </p:nvCxnSpPr>
            <p:spPr>
              <a:xfrm flipV="1">
                <a:off x="7056159" y="2868425"/>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5CEBE5BF-39E6-4290-815D-B47789018ABA}"/>
                  </a:ext>
                </a:extLst>
              </p:cNvPr>
              <p:cNvCxnSpPr/>
              <p:nvPr/>
            </p:nvCxnSpPr>
            <p:spPr>
              <a:xfrm flipV="1">
                <a:off x="7112147" y="2915151"/>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7851B6E9-2F16-4B5B-AE54-09B819A9BA78}"/>
                  </a:ext>
                </a:extLst>
              </p:cNvPr>
              <p:cNvCxnSpPr/>
              <p:nvPr/>
            </p:nvCxnSpPr>
            <p:spPr>
              <a:xfrm flipV="1">
                <a:off x="7168135" y="2961877"/>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29D69053-14E1-4C4D-A901-5AAC49DFEA96}"/>
                  </a:ext>
                </a:extLst>
              </p:cNvPr>
              <p:cNvCxnSpPr/>
              <p:nvPr/>
            </p:nvCxnSpPr>
            <p:spPr>
              <a:xfrm flipV="1">
                <a:off x="7224123" y="3008603"/>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31F2A3C6-62B3-464B-ADAB-0DFCFEA57F03}"/>
                  </a:ext>
                </a:extLst>
              </p:cNvPr>
              <p:cNvCxnSpPr/>
              <p:nvPr/>
            </p:nvCxnSpPr>
            <p:spPr>
              <a:xfrm flipV="1">
                <a:off x="7280112" y="3055327"/>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grpSp>
        <p:sp>
          <p:nvSpPr>
            <p:cNvPr id="62" name="Arc 61">
              <a:extLst>
                <a:ext uri="{FF2B5EF4-FFF2-40B4-BE49-F238E27FC236}">
                  <a16:creationId xmlns:a16="http://schemas.microsoft.com/office/drawing/2014/main" id="{7FA47AD4-359D-42ED-B6FE-7DB9299846C2}"/>
                </a:ext>
              </a:extLst>
            </p:cNvPr>
            <p:cNvSpPr/>
            <p:nvPr/>
          </p:nvSpPr>
          <p:spPr>
            <a:xfrm flipH="1">
              <a:off x="5812807" y="1146403"/>
              <a:ext cx="2904434" cy="2904434"/>
            </a:xfrm>
            <a:prstGeom prst="arc">
              <a:avLst>
                <a:gd name="adj1" fmla="val 10740278"/>
                <a:gd name="adj2" fmla="val 17887486"/>
              </a:avLst>
            </a:prstGeom>
            <a:noFill/>
            <a:ln w="15875"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3" name="Oval 62">
              <a:extLst>
                <a:ext uri="{FF2B5EF4-FFF2-40B4-BE49-F238E27FC236}">
                  <a16:creationId xmlns:a16="http://schemas.microsoft.com/office/drawing/2014/main" id="{328380B9-2E98-4162-ABE8-56DCC79FEF1E}"/>
                </a:ext>
              </a:extLst>
            </p:cNvPr>
            <p:cNvSpPr/>
            <p:nvPr/>
          </p:nvSpPr>
          <p:spPr>
            <a:xfrm>
              <a:off x="5941352" y="1281575"/>
              <a:ext cx="2647784" cy="264778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4" name="Oval 63">
              <a:extLst>
                <a:ext uri="{FF2B5EF4-FFF2-40B4-BE49-F238E27FC236}">
                  <a16:creationId xmlns:a16="http://schemas.microsoft.com/office/drawing/2014/main" id="{0DD93A3D-8AFA-4C37-B2BF-B4F63DF2C979}"/>
                </a:ext>
              </a:extLst>
            </p:cNvPr>
            <p:cNvSpPr/>
            <p:nvPr/>
          </p:nvSpPr>
          <p:spPr>
            <a:xfrm>
              <a:off x="5699438" y="1423815"/>
              <a:ext cx="1025865" cy="102586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grpSp>
          <p:nvGrpSpPr>
            <p:cNvPr id="69" name="Group 68">
              <a:extLst>
                <a:ext uri="{FF2B5EF4-FFF2-40B4-BE49-F238E27FC236}">
                  <a16:creationId xmlns:a16="http://schemas.microsoft.com/office/drawing/2014/main" id="{F727F444-4D64-4F65-82B9-7C778DF27D8A}"/>
                </a:ext>
              </a:extLst>
            </p:cNvPr>
            <p:cNvGrpSpPr/>
            <p:nvPr/>
          </p:nvGrpSpPr>
          <p:grpSpPr>
            <a:xfrm rot="1430743">
              <a:off x="6552710" y="1841704"/>
              <a:ext cx="816998" cy="341297"/>
              <a:chOff x="4010392" y="4875092"/>
              <a:chExt cx="498334" cy="208179"/>
            </a:xfrm>
            <a:solidFill>
              <a:srgbClr val="74BF4B"/>
            </a:solidFill>
          </p:grpSpPr>
          <p:sp>
            <p:nvSpPr>
              <p:cNvPr id="225" name="Freeform: Shape 224">
                <a:extLst>
                  <a:ext uri="{FF2B5EF4-FFF2-40B4-BE49-F238E27FC236}">
                    <a16:creationId xmlns:a16="http://schemas.microsoft.com/office/drawing/2014/main" id="{709EAE0E-FE61-4EF6-A4D7-CD2FE4FD7232}"/>
                  </a:ext>
                </a:extLst>
              </p:cNvPr>
              <p:cNvSpPr/>
              <p:nvPr/>
            </p:nvSpPr>
            <p:spPr>
              <a:xfrm>
                <a:off x="4010536" y="4972383"/>
                <a:ext cx="42922" cy="42922"/>
              </a:xfrm>
              <a:custGeom>
                <a:avLst/>
                <a:gdLst>
                  <a:gd name="connsiteX0" fmla="*/ 33123 w 42922"/>
                  <a:gd name="connsiteY0" fmla="*/ 24539 h 42922"/>
                  <a:gd name="connsiteX1" fmla="*/ 24683 w 42922"/>
                  <a:gd name="connsiteY1" fmla="*/ 16096 h 42922"/>
                  <a:gd name="connsiteX2" fmla="*/ 24539 w 42922"/>
                  <a:gd name="connsiteY2" fmla="*/ 16097 h 42922"/>
                  <a:gd name="connsiteX3" fmla="*/ 16097 w 42922"/>
                  <a:gd name="connsiteY3" fmla="*/ 24250 h 42922"/>
                  <a:gd name="connsiteX4" fmla="*/ 16097 w 42922"/>
                  <a:gd name="connsiteY4" fmla="*/ 24539 h 42922"/>
                  <a:gd name="connsiteX5" fmla="*/ 24394 w 42922"/>
                  <a:gd name="connsiteY5" fmla="*/ 33122 h 42922"/>
                  <a:gd name="connsiteX6" fmla="*/ 24539 w 42922"/>
                  <a:gd name="connsiteY6" fmla="*/ 33123 h 42922"/>
                  <a:gd name="connsiteX7" fmla="*/ 33123 w 42922"/>
                  <a:gd name="connsiteY7" fmla="*/ 245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539"/>
                    </a:moveTo>
                    <a:cubicBezTo>
                      <a:pt x="33123" y="19877"/>
                      <a:pt x="29344" y="16097"/>
                      <a:pt x="24683" y="16096"/>
                    </a:cubicBezTo>
                    <a:cubicBezTo>
                      <a:pt x="24634" y="16096"/>
                      <a:pt x="24587" y="16096"/>
                      <a:pt x="24539" y="16097"/>
                    </a:cubicBezTo>
                    <a:cubicBezTo>
                      <a:pt x="19956" y="16017"/>
                      <a:pt x="16177" y="19667"/>
                      <a:pt x="16097" y="24250"/>
                    </a:cubicBezTo>
                    <a:cubicBezTo>
                      <a:pt x="16096" y="24346"/>
                      <a:pt x="16096" y="24443"/>
                      <a:pt x="16097" y="24539"/>
                    </a:cubicBezTo>
                    <a:cubicBezTo>
                      <a:pt x="16018" y="29200"/>
                      <a:pt x="19733" y="33043"/>
                      <a:pt x="24394" y="33122"/>
                    </a:cubicBezTo>
                    <a:cubicBezTo>
                      <a:pt x="24443" y="33123"/>
                      <a:pt x="24490" y="33123"/>
                      <a:pt x="24539" y="33123"/>
                    </a:cubicBezTo>
                    <a:cubicBezTo>
                      <a:pt x="29280" y="33123"/>
                      <a:pt x="33123" y="29280"/>
                      <a:pt x="33123" y="2453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26" name="Freeform: Shape 225">
                <a:extLst>
                  <a:ext uri="{FF2B5EF4-FFF2-40B4-BE49-F238E27FC236}">
                    <a16:creationId xmlns:a16="http://schemas.microsoft.com/office/drawing/2014/main" id="{6B44C5CE-FDD8-4403-943B-8B931D916743}"/>
                  </a:ext>
                </a:extLst>
              </p:cNvPr>
              <p:cNvSpPr/>
              <p:nvPr/>
            </p:nvSpPr>
            <p:spPr>
              <a:xfrm>
                <a:off x="4062044" y="4972815"/>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6"/>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27" name="Freeform: Shape 226">
                <a:extLst>
                  <a:ext uri="{FF2B5EF4-FFF2-40B4-BE49-F238E27FC236}">
                    <a16:creationId xmlns:a16="http://schemas.microsoft.com/office/drawing/2014/main" id="{039A8016-0006-4745-B249-B73EAB859C00}"/>
                  </a:ext>
                </a:extLst>
              </p:cNvPr>
              <p:cNvSpPr/>
              <p:nvPr/>
            </p:nvSpPr>
            <p:spPr>
              <a:xfrm>
                <a:off x="4115125" y="4974966"/>
                <a:ext cx="42922" cy="42922"/>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28" name="Freeform: Shape 227">
                <a:extLst>
                  <a:ext uri="{FF2B5EF4-FFF2-40B4-BE49-F238E27FC236}">
                    <a16:creationId xmlns:a16="http://schemas.microsoft.com/office/drawing/2014/main" id="{A4ECB4FA-16BC-49D8-95AA-B104A87E67CD}"/>
                  </a:ext>
                </a:extLst>
              </p:cNvPr>
              <p:cNvSpPr/>
              <p:nvPr/>
            </p:nvSpPr>
            <p:spPr>
              <a:xfrm>
                <a:off x="4166918" y="4974103"/>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29" name="Freeform: Shape 228">
                <a:extLst>
                  <a:ext uri="{FF2B5EF4-FFF2-40B4-BE49-F238E27FC236}">
                    <a16:creationId xmlns:a16="http://schemas.microsoft.com/office/drawing/2014/main" id="{4277F607-B56F-4BCA-BD59-1CB7DA5837F6}"/>
                  </a:ext>
                </a:extLst>
              </p:cNvPr>
              <p:cNvSpPr/>
              <p:nvPr/>
            </p:nvSpPr>
            <p:spPr>
              <a:xfrm>
                <a:off x="4219068" y="4975609"/>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30" name="Freeform: Shape 229">
                <a:extLst>
                  <a:ext uri="{FF2B5EF4-FFF2-40B4-BE49-F238E27FC236}">
                    <a16:creationId xmlns:a16="http://schemas.microsoft.com/office/drawing/2014/main" id="{ADB12997-FBFE-442D-A66C-16C4CF264DAA}"/>
                  </a:ext>
                </a:extLst>
              </p:cNvPr>
              <p:cNvSpPr/>
              <p:nvPr/>
            </p:nvSpPr>
            <p:spPr>
              <a:xfrm>
                <a:off x="4271362" y="4975389"/>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31" name="Freeform: Shape 230">
                <a:extLst>
                  <a:ext uri="{FF2B5EF4-FFF2-40B4-BE49-F238E27FC236}">
                    <a16:creationId xmlns:a16="http://schemas.microsoft.com/office/drawing/2014/main" id="{A63A5EE8-FA2A-4FCE-B0A5-9997EBDAE917}"/>
                  </a:ext>
                </a:extLst>
              </p:cNvPr>
              <p:cNvSpPr/>
              <p:nvPr/>
            </p:nvSpPr>
            <p:spPr>
              <a:xfrm>
                <a:off x="4323513" y="4976791"/>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32" name="Freeform: Shape 231">
                <a:extLst>
                  <a:ext uri="{FF2B5EF4-FFF2-40B4-BE49-F238E27FC236}">
                    <a16:creationId xmlns:a16="http://schemas.microsoft.com/office/drawing/2014/main" id="{4ADB1D69-7EA5-4F6A-B105-5A2563471F5E}"/>
                  </a:ext>
                </a:extLst>
              </p:cNvPr>
              <p:cNvSpPr/>
              <p:nvPr/>
            </p:nvSpPr>
            <p:spPr>
              <a:xfrm>
                <a:off x="4375808" y="4976820"/>
                <a:ext cx="28615" cy="28615"/>
              </a:xfrm>
              <a:custGeom>
                <a:avLst/>
                <a:gdLst>
                  <a:gd name="connsiteX0" fmla="*/ 24392 w 28614"/>
                  <a:gd name="connsiteY0" fmla="*/ 20102 h 28614"/>
                  <a:gd name="connsiteX1" fmla="*/ 20103 w 28614"/>
                  <a:gd name="connsiteY1" fmla="*/ 16098 h 28614"/>
                  <a:gd name="connsiteX2" fmla="*/ 16098 w 28614"/>
                  <a:gd name="connsiteY2" fmla="*/ 20388 h 28614"/>
                  <a:gd name="connsiteX3" fmla="*/ 20243 w 28614"/>
                  <a:gd name="connsiteY3" fmla="*/ 24394 h 28614"/>
                  <a:gd name="connsiteX4" fmla="*/ 24395 w 28614"/>
                  <a:gd name="connsiteY4" fmla="*/ 20248 h 28614"/>
                  <a:gd name="connsiteX5" fmla="*/ 24392 w 28614"/>
                  <a:gd name="connsiteY5" fmla="*/ 201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4392" y="20102"/>
                    </a:moveTo>
                    <a:cubicBezTo>
                      <a:pt x="24314" y="17811"/>
                      <a:pt x="22392" y="16018"/>
                      <a:pt x="20103" y="16098"/>
                    </a:cubicBezTo>
                    <a:cubicBezTo>
                      <a:pt x="17812" y="16177"/>
                      <a:pt x="16020" y="18097"/>
                      <a:pt x="16098" y="20388"/>
                    </a:cubicBezTo>
                    <a:cubicBezTo>
                      <a:pt x="16176" y="22621"/>
                      <a:pt x="18008" y="24393"/>
                      <a:pt x="20243" y="24394"/>
                    </a:cubicBezTo>
                    <a:cubicBezTo>
                      <a:pt x="22535" y="24395"/>
                      <a:pt x="24394" y="22538"/>
                      <a:pt x="24395" y="20248"/>
                    </a:cubicBezTo>
                    <a:cubicBezTo>
                      <a:pt x="24395" y="20199"/>
                      <a:pt x="24394" y="20150"/>
                      <a:pt x="24392" y="20102"/>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33" name="Freeform: Shape 232">
                <a:extLst>
                  <a:ext uri="{FF2B5EF4-FFF2-40B4-BE49-F238E27FC236}">
                    <a16:creationId xmlns:a16="http://schemas.microsoft.com/office/drawing/2014/main" id="{E08D4D28-6BAA-49AA-9093-69BE14BC3210}"/>
                  </a:ext>
                </a:extLst>
              </p:cNvPr>
              <p:cNvSpPr/>
              <p:nvPr/>
            </p:nvSpPr>
            <p:spPr>
              <a:xfrm>
                <a:off x="4428601" y="4977249"/>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728" y="16169"/>
                      <a:pt x="16169" y="17728"/>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34" name="Freeform: Shape 233">
                <a:extLst>
                  <a:ext uri="{FF2B5EF4-FFF2-40B4-BE49-F238E27FC236}">
                    <a16:creationId xmlns:a16="http://schemas.microsoft.com/office/drawing/2014/main" id="{B5D25A73-B354-4670-BAB4-AA21AF38E596}"/>
                  </a:ext>
                </a:extLst>
              </p:cNvPr>
              <p:cNvSpPr/>
              <p:nvPr/>
            </p:nvSpPr>
            <p:spPr>
              <a:xfrm>
                <a:off x="4480111" y="4977961"/>
                <a:ext cx="28615" cy="28615"/>
              </a:xfrm>
              <a:custGeom>
                <a:avLst/>
                <a:gdLst>
                  <a:gd name="connsiteX0" fmla="*/ 21962 w 28614"/>
                  <a:gd name="connsiteY0" fmla="*/ 18961 h 28614"/>
                  <a:gd name="connsiteX1" fmla="*/ 19100 w 28614"/>
                  <a:gd name="connsiteY1" fmla="*/ 16100 h 28614"/>
                  <a:gd name="connsiteX2" fmla="*/ 16100 w 28614"/>
                  <a:gd name="connsiteY2" fmla="*/ 18814 h 28614"/>
                  <a:gd name="connsiteX3" fmla="*/ 16096 w 28614"/>
                  <a:gd name="connsiteY3" fmla="*/ 18961 h 28614"/>
                  <a:gd name="connsiteX4" fmla="*/ 19100 w 28614"/>
                  <a:gd name="connsiteY4" fmla="*/ 21966 h 28614"/>
                  <a:gd name="connsiteX5" fmla="*/ 21966 w 28614"/>
                  <a:gd name="connsiteY5" fmla="*/ 19107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4"/>
                    </a:cubicBezTo>
                    <a:cubicBezTo>
                      <a:pt x="16097" y="18864"/>
                      <a:pt x="16096" y="18912"/>
                      <a:pt x="16096" y="18961"/>
                    </a:cubicBezTo>
                    <a:cubicBezTo>
                      <a:pt x="16096" y="20621"/>
                      <a:pt x="17441" y="21966"/>
                      <a:pt x="19100" y="21966"/>
                    </a:cubicBezTo>
                    <a:cubicBezTo>
                      <a:pt x="20682" y="21967"/>
                      <a:pt x="21963" y="20688"/>
                      <a:pt x="21966" y="19107"/>
                    </a:cubicBezTo>
                    <a:cubicBezTo>
                      <a:pt x="21966" y="19058"/>
                      <a:pt x="21965" y="19010"/>
                      <a:pt x="21962" y="18961"/>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35" name="Freeform: Shape 234">
                <a:extLst>
                  <a:ext uri="{FF2B5EF4-FFF2-40B4-BE49-F238E27FC236}">
                    <a16:creationId xmlns:a16="http://schemas.microsoft.com/office/drawing/2014/main" id="{1046C942-5991-4D0E-849D-6322C5749508}"/>
                  </a:ext>
                </a:extLst>
              </p:cNvPr>
              <p:cNvSpPr/>
              <p:nvPr/>
            </p:nvSpPr>
            <p:spPr>
              <a:xfrm>
                <a:off x="4010396" y="5004719"/>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36" name="Freeform: Shape 235">
                <a:extLst>
                  <a:ext uri="{FF2B5EF4-FFF2-40B4-BE49-F238E27FC236}">
                    <a16:creationId xmlns:a16="http://schemas.microsoft.com/office/drawing/2014/main" id="{5C31E2B0-0953-40D1-949A-91C40B12134D}"/>
                  </a:ext>
                </a:extLst>
              </p:cNvPr>
              <p:cNvSpPr/>
              <p:nvPr/>
            </p:nvSpPr>
            <p:spPr>
              <a:xfrm>
                <a:off x="4062048" y="5005150"/>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96" y="32119"/>
                      <a:pt x="32119" y="28596"/>
                      <a:pt x="32119" y="2425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37" name="Freeform: Shape 236">
                <a:extLst>
                  <a:ext uri="{FF2B5EF4-FFF2-40B4-BE49-F238E27FC236}">
                    <a16:creationId xmlns:a16="http://schemas.microsoft.com/office/drawing/2014/main" id="{DAC64701-07F2-4725-89BA-D74E40440FA4}"/>
                  </a:ext>
                </a:extLst>
              </p:cNvPr>
              <p:cNvSpPr/>
              <p:nvPr/>
            </p:nvSpPr>
            <p:spPr>
              <a:xfrm>
                <a:off x="4114841" y="5006007"/>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38" name="Freeform: Shape 237">
                <a:extLst>
                  <a:ext uri="{FF2B5EF4-FFF2-40B4-BE49-F238E27FC236}">
                    <a16:creationId xmlns:a16="http://schemas.microsoft.com/office/drawing/2014/main" id="{E378DE5A-066E-4A65-B46A-8D07CD7FA817}"/>
                  </a:ext>
                </a:extLst>
              </p:cNvPr>
              <p:cNvSpPr/>
              <p:nvPr/>
            </p:nvSpPr>
            <p:spPr>
              <a:xfrm>
                <a:off x="4166920" y="5006581"/>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39" name="Freeform: Shape 238">
                <a:extLst>
                  <a:ext uri="{FF2B5EF4-FFF2-40B4-BE49-F238E27FC236}">
                    <a16:creationId xmlns:a16="http://schemas.microsoft.com/office/drawing/2014/main" id="{73BBC2A3-E059-4DE9-BCE8-E6D105B3A648}"/>
                  </a:ext>
                </a:extLst>
              </p:cNvPr>
              <p:cNvSpPr/>
              <p:nvPr/>
            </p:nvSpPr>
            <p:spPr>
              <a:xfrm>
                <a:off x="4219001" y="5007011"/>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40" name="Freeform: Shape 239">
                <a:extLst>
                  <a:ext uri="{FF2B5EF4-FFF2-40B4-BE49-F238E27FC236}">
                    <a16:creationId xmlns:a16="http://schemas.microsoft.com/office/drawing/2014/main" id="{013A11E3-7B06-4677-AD1A-140995D5F1CA}"/>
                  </a:ext>
                </a:extLst>
              </p:cNvPr>
              <p:cNvSpPr/>
              <p:nvPr/>
            </p:nvSpPr>
            <p:spPr>
              <a:xfrm>
                <a:off x="4271365" y="5007867"/>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41" name="Freeform: Shape 240">
                <a:extLst>
                  <a:ext uri="{FF2B5EF4-FFF2-40B4-BE49-F238E27FC236}">
                    <a16:creationId xmlns:a16="http://schemas.microsoft.com/office/drawing/2014/main" id="{6E71F4A0-CE3D-4715-ADBF-C2489257A502}"/>
                  </a:ext>
                </a:extLst>
              </p:cNvPr>
              <p:cNvSpPr/>
              <p:nvPr/>
            </p:nvSpPr>
            <p:spPr>
              <a:xfrm>
                <a:off x="4323444" y="5008441"/>
                <a:ext cx="28615" cy="28615"/>
              </a:xfrm>
              <a:custGeom>
                <a:avLst/>
                <a:gdLst>
                  <a:gd name="connsiteX0" fmla="*/ 25825 w 28614"/>
                  <a:gd name="connsiteY0" fmla="*/ 20959 h 28614"/>
                  <a:gd name="connsiteX1" fmla="*/ 20959 w 28614"/>
                  <a:gd name="connsiteY1" fmla="*/ 16096 h 28614"/>
                  <a:gd name="connsiteX2" fmla="*/ 16096 w 28614"/>
                  <a:gd name="connsiteY2" fmla="*/ 20963 h 28614"/>
                  <a:gd name="connsiteX3" fmla="*/ 20963 w 28614"/>
                  <a:gd name="connsiteY3" fmla="*/ 25825 h 28614"/>
                  <a:gd name="connsiteX4" fmla="*/ 21104 w 28614"/>
                  <a:gd name="connsiteY4" fmla="*/ 25824 h 28614"/>
                  <a:gd name="connsiteX5" fmla="*/ 25825 w 28614"/>
                  <a:gd name="connsiteY5" fmla="*/ 2095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5" y="20959"/>
                    </a:moveTo>
                    <a:cubicBezTo>
                      <a:pt x="25824" y="18272"/>
                      <a:pt x="23644" y="16096"/>
                      <a:pt x="20959" y="16096"/>
                    </a:cubicBezTo>
                    <a:cubicBezTo>
                      <a:pt x="18272" y="16097"/>
                      <a:pt x="16094" y="18276"/>
                      <a:pt x="16096" y="20963"/>
                    </a:cubicBezTo>
                    <a:cubicBezTo>
                      <a:pt x="16097" y="23650"/>
                      <a:pt x="18276" y="25826"/>
                      <a:pt x="20963" y="25825"/>
                    </a:cubicBezTo>
                    <a:cubicBezTo>
                      <a:pt x="21009" y="25825"/>
                      <a:pt x="21056" y="25825"/>
                      <a:pt x="21104" y="25824"/>
                    </a:cubicBezTo>
                    <a:cubicBezTo>
                      <a:pt x="23735" y="25746"/>
                      <a:pt x="25826" y="23590"/>
                      <a:pt x="25825" y="2095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42" name="Freeform: Shape 241">
                <a:extLst>
                  <a:ext uri="{FF2B5EF4-FFF2-40B4-BE49-F238E27FC236}">
                    <a16:creationId xmlns:a16="http://schemas.microsoft.com/office/drawing/2014/main" id="{2FD6B7CC-743A-491D-8F9D-D1F7627264FD}"/>
                  </a:ext>
                </a:extLst>
              </p:cNvPr>
              <p:cNvSpPr/>
              <p:nvPr/>
            </p:nvSpPr>
            <p:spPr>
              <a:xfrm>
                <a:off x="4375809" y="5009155"/>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43" name="Freeform: Shape 242">
                <a:extLst>
                  <a:ext uri="{FF2B5EF4-FFF2-40B4-BE49-F238E27FC236}">
                    <a16:creationId xmlns:a16="http://schemas.microsoft.com/office/drawing/2014/main" id="{5DB9ADC0-B31E-43B7-90B0-799065B52D00}"/>
                  </a:ext>
                </a:extLst>
              </p:cNvPr>
              <p:cNvSpPr/>
              <p:nvPr/>
            </p:nvSpPr>
            <p:spPr>
              <a:xfrm>
                <a:off x="4428604" y="5009727"/>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44" name="Freeform: Shape 243">
                <a:extLst>
                  <a:ext uri="{FF2B5EF4-FFF2-40B4-BE49-F238E27FC236}">
                    <a16:creationId xmlns:a16="http://schemas.microsoft.com/office/drawing/2014/main" id="{1A6FB120-9727-4E55-8E19-672F04FEA6F9}"/>
                  </a:ext>
                </a:extLst>
              </p:cNvPr>
              <p:cNvSpPr/>
              <p:nvPr/>
            </p:nvSpPr>
            <p:spPr>
              <a:xfrm>
                <a:off x="4479967" y="5010302"/>
                <a:ext cx="28615" cy="28615"/>
              </a:xfrm>
              <a:custGeom>
                <a:avLst/>
                <a:gdLst>
                  <a:gd name="connsiteX0" fmla="*/ 22105 w 28614"/>
                  <a:gd name="connsiteY0" fmla="*/ 19098 h 28614"/>
                  <a:gd name="connsiteX1" fmla="*/ 19098 w 28614"/>
                  <a:gd name="connsiteY1" fmla="*/ 16096 h 28614"/>
                  <a:gd name="connsiteX2" fmla="*/ 16096 w 28614"/>
                  <a:gd name="connsiteY2" fmla="*/ 19105 h 28614"/>
                  <a:gd name="connsiteX3" fmla="*/ 19103 w 28614"/>
                  <a:gd name="connsiteY3" fmla="*/ 22105 h 28614"/>
                  <a:gd name="connsiteX4" fmla="*/ 19244 w 28614"/>
                  <a:gd name="connsiteY4" fmla="*/ 22102 h 28614"/>
                  <a:gd name="connsiteX5" fmla="*/ 22105 w 28614"/>
                  <a:gd name="connsiteY5" fmla="*/ 1909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2105" y="19098"/>
                    </a:moveTo>
                    <a:cubicBezTo>
                      <a:pt x="22104" y="17438"/>
                      <a:pt x="20756" y="16094"/>
                      <a:pt x="19098" y="16096"/>
                    </a:cubicBezTo>
                    <a:cubicBezTo>
                      <a:pt x="17438" y="16099"/>
                      <a:pt x="16094" y="17445"/>
                      <a:pt x="16096" y="19105"/>
                    </a:cubicBezTo>
                    <a:cubicBezTo>
                      <a:pt x="16097" y="20764"/>
                      <a:pt x="17445" y="22108"/>
                      <a:pt x="19103" y="22105"/>
                    </a:cubicBezTo>
                    <a:cubicBezTo>
                      <a:pt x="19151" y="22105"/>
                      <a:pt x="19196" y="22105"/>
                      <a:pt x="19244" y="22102"/>
                    </a:cubicBezTo>
                    <a:cubicBezTo>
                      <a:pt x="20847" y="22026"/>
                      <a:pt x="22107" y="20703"/>
                      <a:pt x="22105" y="19098"/>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45" name="Freeform: Shape 244">
                <a:extLst>
                  <a:ext uri="{FF2B5EF4-FFF2-40B4-BE49-F238E27FC236}">
                    <a16:creationId xmlns:a16="http://schemas.microsoft.com/office/drawing/2014/main" id="{A5C27CE4-F28D-41E6-BD02-A98856DF8182}"/>
                  </a:ext>
                </a:extLst>
              </p:cNvPr>
              <p:cNvSpPr/>
              <p:nvPr/>
            </p:nvSpPr>
            <p:spPr>
              <a:xfrm>
                <a:off x="4010538" y="5037198"/>
                <a:ext cx="42922" cy="42922"/>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46" name="Freeform: Shape 245">
                <a:extLst>
                  <a:ext uri="{FF2B5EF4-FFF2-40B4-BE49-F238E27FC236}">
                    <a16:creationId xmlns:a16="http://schemas.microsoft.com/office/drawing/2014/main" id="{0570A60F-3C62-44B9-A421-BDC03C67C8F4}"/>
                  </a:ext>
                </a:extLst>
              </p:cNvPr>
              <p:cNvSpPr/>
              <p:nvPr/>
            </p:nvSpPr>
            <p:spPr>
              <a:xfrm>
                <a:off x="4062048" y="5037629"/>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47" name="Freeform: Shape 246">
                <a:extLst>
                  <a:ext uri="{FF2B5EF4-FFF2-40B4-BE49-F238E27FC236}">
                    <a16:creationId xmlns:a16="http://schemas.microsoft.com/office/drawing/2014/main" id="{4A26B6D0-C70F-4182-B65C-AC6CCC6929D0}"/>
                  </a:ext>
                </a:extLst>
              </p:cNvPr>
              <p:cNvSpPr/>
              <p:nvPr/>
            </p:nvSpPr>
            <p:spPr>
              <a:xfrm>
                <a:off x="4114841" y="5038486"/>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89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89"/>
                      <a:pt x="23393" y="30689"/>
                    </a:cubicBezTo>
                    <a:cubicBezTo>
                      <a:pt x="27423" y="30689"/>
                      <a:pt x="30689" y="27423"/>
                      <a:pt x="30689" y="233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48" name="Freeform: Shape 247">
                <a:extLst>
                  <a:ext uri="{FF2B5EF4-FFF2-40B4-BE49-F238E27FC236}">
                    <a16:creationId xmlns:a16="http://schemas.microsoft.com/office/drawing/2014/main" id="{465FC5B5-9DB8-4117-B483-9E2B1719C121}"/>
                  </a:ext>
                </a:extLst>
              </p:cNvPr>
              <p:cNvSpPr/>
              <p:nvPr/>
            </p:nvSpPr>
            <p:spPr>
              <a:xfrm>
                <a:off x="4166922" y="5038917"/>
                <a:ext cx="42922" cy="42922"/>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49" name="Freeform: Shape 248">
                <a:extLst>
                  <a:ext uri="{FF2B5EF4-FFF2-40B4-BE49-F238E27FC236}">
                    <a16:creationId xmlns:a16="http://schemas.microsoft.com/office/drawing/2014/main" id="{3BBB3278-B117-4D6D-BB3E-44058B599DD6}"/>
                  </a:ext>
                </a:extLst>
              </p:cNvPr>
              <p:cNvSpPr/>
              <p:nvPr/>
            </p:nvSpPr>
            <p:spPr>
              <a:xfrm>
                <a:off x="4219001" y="5039489"/>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50" name="Freeform: Shape 249">
                <a:extLst>
                  <a:ext uri="{FF2B5EF4-FFF2-40B4-BE49-F238E27FC236}">
                    <a16:creationId xmlns:a16="http://schemas.microsoft.com/office/drawing/2014/main" id="{23E9AA34-D9A7-4597-B1AE-995C9B46D94F}"/>
                  </a:ext>
                </a:extLst>
              </p:cNvPr>
              <p:cNvSpPr/>
              <p:nvPr/>
            </p:nvSpPr>
            <p:spPr>
              <a:xfrm>
                <a:off x="4271364" y="5040349"/>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51" name="Freeform: Shape 250">
                <a:extLst>
                  <a:ext uri="{FF2B5EF4-FFF2-40B4-BE49-F238E27FC236}">
                    <a16:creationId xmlns:a16="http://schemas.microsoft.com/office/drawing/2014/main" id="{704C386F-E1A1-4DC1-BF23-342F8E613BF9}"/>
                  </a:ext>
                </a:extLst>
              </p:cNvPr>
              <p:cNvSpPr/>
              <p:nvPr/>
            </p:nvSpPr>
            <p:spPr>
              <a:xfrm>
                <a:off x="4323445" y="5040780"/>
                <a:ext cx="28615" cy="28615"/>
              </a:xfrm>
              <a:custGeom>
                <a:avLst/>
                <a:gdLst>
                  <a:gd name="connsiteX0" fmla="*/ 25823 w 28614"/>
                  <a:gd name="connsiteY0" fmla="*/ 21101 h 28614"/>
                  <a:gd name="connsiteX1" fmla="*/ 21101 w 28614"/>
                  <a:gd name="connsiteY1" fmla="*/ 16098 h 28614"/>
                  <a:gd name="connsiteX2" fmla="*/ 16098 w 28614"/>
                  <a:gd name="connsiteY2" fmla="*/ 20820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20"/>
                    </a:cubicBezTo>
                    <a:cubicBezTo>
                      <a:pt x="16019" y="23505"/>
                      <a:pt x="18134" y="25746"/>
                      <a:pt x="20820" y="25823"/>
                    </a:cubicBezTo>
                    <a:cubicBezTo>
                      <a:pt x="20914" y="25826"/>
                      <a:pt x="21007" y="25826"/>
                      <a:pt x="21101" y="25823"/>
                    </a:cubicBezTo>
                    <a:cubicBezTo>
                      <a:pt x="23677" y="25748"/>
                      <a:pt x="25748" y="23678"/>
                      <a:pt x="25823" y="21101"/>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52" name="Freeform: Shape 251">
                <a:extLst>
                  <a:ext uri="{FF2B5EF4-FFF2-40B4-BE49-F238E27FC236}">
                    <a16:creationId xmlns:a16="http://schemas.microsoft.com/office/drawing/2014/main" id="{26315B2B-D7E8-4B5E-A880-8A00ED555FA6}"/>
                  </a:ext>
                </a:extLst>
              </p:cNvPr>
              <p:cNvSpPr/>
              <p:nvPr/>
            </p:nvSpPr>
            <p:spPr>
              <a:xfrm>
                <a:off x="4375809" y="5041637"/>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53" name="Freeform: Shape 252">
                <a:extLst>
                  <a:ext uri="{FF2B5EF4-FFF2-40B4-BE49-F238E27FC236}">
                    <a16:creationId xmlns:a16="http://schemas.microsoft.com/office/drawing/2014/main" id="{804ED1A4-5225-4B44-8886-6B82787FC54F}"/>
                  </a:ext>
                </a:extLst>
              </p:cNvPr>
              <p:cNvSpPr/>
              <p:nvPr/>
            </p:nvSpPr>
            <p:spPr>
              <a:xfrm>
                <a:off x="4429185" y="5042066"/>
                <a:ext cx="28615" cy="28615"/>
              </a:xfrm>
              <a:custGeom>
                <a:avLst/>
                <a:gdLst>
                  <a:gd name="connsiteX0" fmla="*/ 22668 w 28614"/>
                  <a:gd name="connsiteY0" fmla="*/ 19816 h 28614"/>
                  <a:gd name="connsiteX1" fmla="*/ 19091 w 28614"/>
                  <a:gd name="connsiteY1" fmla="*/ 16096 h 28614"/>
                  <a:gd name="connsiteX2" fmla="*/ 16168 w 28614"/>
                  <a:gd name="connsiteY2" fmla="*/ 20470 h 28614"/>
                  <a:gd name="connsiteX3" fmla="*/ 19091 w 28614"/>
                  <a:gd name="connsiteY3" fmla="*/ 23393 h 28614"/>
                  <a:gd name="connsiteX4" fmla="*/ 22668 w 28614"/>
                  <a:gd name="connsiteY4" fmla="*/ 19816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2668" y="19816"/>
                    </a:moveTo>
                    <a:cubicBezTo>
                      <a:pt x="22669" y="17816"/>
                      <a:pt x="21090" y="16173"/>
                      <a:pt x="19091" y="16096"/>
                    </a:cubicBezTo>
                    <a:cubicBezTo>
                      <a:pt x="17077" y="16497"/>
                      <a:pt x="15767" y="18455"/>
                      <a:pt x="16168" y="20470"/>
                    </a:cubicBezTo>
                    <a:cubicBezTo>
                      <a:pt x="16463" y="21946"/>
                      <a:pt x="17616" y="23099"/>
                      <a:pt x="19091" y="23393"/>
                    </a:cubicBezTo>
                    <a:cubicBezTo>
                      <a:pt x="21067" y="23393"/>
                      <a:pt x="22668" y="21792"/>
                      <a:pt x="22668" y="19816"/>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54" name="Freeform: Shape 253">
                <a:extLst>
                  <a:ext uri="{FF2B5EF4-FFF2-40B4-BE49-F238E27FC236}">
                    <a16:creationId xmlns:a16="http://schemas.microsoft.com/office/drawing/2014/main" id="{10BE0DB7-A548-4B3D-9ABB-29081F237017}"/>
                  </a:ext>
                </a:extLst>
              </p:cNvPr>
              <p:cNvSpPr/>
              <p:nvPr/>
            </p:nvSpPr>
            <p:spPr>
              <a:xfrm>
                <a:off x="4480110" y="5042777"/>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1"/>
                      <a:pt x="21962" y="1910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55" name="Freeform: Shape 254">
                <a:extLst>
                  <a:ext uri="{FF2B5EF4-FFF2-40B4-BE49-F238E27FC236}">
                    <a16:creationId xmlns:a16="http://schemas.microsoft.com/office/drawing/2014/main" id="{D9410111-0B3B-44FF-9C08-3E17759054DE}"/>
                  </a:ext>
                </a:extLst>
              </p:cNvPr>
              <p:cNvSpPr/>
              <p:nvPr/>
            </p:nvSpPr>
            <p:spPr>
              <a:xfrm>
                <a:off x="4010538" y="4875092"/>
                <a:ext cx="42922" cy="42922"/>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56" name="Freeform: Shape 255">
                <a:extLst>
                  <a:ext uri="{FF2B5EF4-FFF2-40B4-BE49-F238E27FC236}">
                    <a16:creationId xmlns:a16="http://schemas.microsoft.com/office/drawing/2014/main" id="{5ABD1588-46F9-4327-B3DA-5ACA651C9F00}"/>
                  </a:ext>
                </a:extLst>
              </p:cNvPr>
              <p:cNvSpPr/>
              <p:nvPr/>
            </p:nvSpPr>
            <p:spPr>
              <a:xfrm>
                <a:off x="4062048" y="4875533"/>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57" name="Freeform: Shape 256">
                <a:extLst>
                  <a:ext uri="{FF2B5EF4-FFF2-40B4-BE49-F238E27FC236}">
                    <a16:creationId xmlns:a16="http://schemas.microsoft.com/office/drawing/2014/main" id="{3020A48D-4367-4879-ABC7-056C0DE8DF64}"/>
                  </a:ext>
                </a:extLst>
              </p:cNvPr>
              <p:cNvSpPr/>
              <p:nvPr/>
            </p:nvSpPr>
            <p:spPr>
              <a:xfrm>
                <a:off x="4115127" y="4877827"/>
                <a:ext cx="42922" cy="42922"/>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58" name="Freeform: Shape 257">
                <a:extLst>
                  <a:ext uri="{FF2B5EF4-FFF2-40B4-BE49-F238E27FC236}">
                    <a16:creationId xmlns:a16="http://schemas.microsoft.com/office/drawing/2014/main" id="{EC0CFBDA-BB40-4C5E-866F-8425155FDF24}"/>
                  </a:ext>
                </a:extLst>
              </p:cNvPr>
              <p:cNvSpPr/>
              <p:nvPr/>
            </p:nvSpPr>
            <p:spPr>
              <a:xfrm>
                <a:off x="4166922" y="4876832"/>
                <a:ext cx="42922" cy="42922"/>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59" name="Freeform: Shape 258">
                <a:extLst>
                  <a:ext uri="{FF2B5EF4-FFF2-40B4-BE49-F238E27FC236}">
                    <a16:creationId xmlns:a16="http://schemas.microsoft.com/office/drawing/2014/main" id="{91EA55F7-D79B-41A7-A0D9-EC29C2507CE0}"/>
                  </a:ext>
                </a:extLst>
              </p:cNvPr>
              <p:cNvSpPr/>
              <p:nvPr/>
            </p:nvSpPr>
            <p:spPr>
              <a:xfrm>
                <a:off x="4219001" y="4877399"/>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1"/>
                      <a:pt x="22296" y="28401"/>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60" name="Freeform: Shape 259">
                <a:extLst>
                  <a:ext uri="{FF2B5EF4-FFF2-40B4-BE49-F238E27FC236}">
                    <a16:creationId xmlns:a16="http://schemas.microsoft.com/office/drawing/2014/main" id="{B07A6A5D-2D35-4A2A-8A8F-7AB78C51CE47}"/>
                  </a:ext>
                </a:extLst>
              </p:cNvPr>
              <p:cNvSpPr/>
              <p:nvPr/>
            </p:nvSpPr>
            <p:spPr>
              <a:xfrm>
                <a:off x="4271365" y="4878261"/>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61" name="Freeform: Shape 260">
                <a:extLst>
                  <a:ext uri="{FF2B5EF4-FFF2-40B4-BE49-F238E27FC236}">
                    <a16:creationId xmlns:a16="http://schemas.microsoft.com/office/drawing/2014/main" id="{83419BB6-D45D-4308-995A-59408559D957}"/>
                  </a:ext>
                </a:extLst>
              </p:cNvPr>
              <p:cNvSpPr/>
              <p:nvPr/>
            </p:nvSpPr>
            <p:spPr>
              <a:xfrm>
                <a:off x="4323445" y="4878694"/>
                <a:ext cx="28615" cy="28616"/>
              </a:xfrm>
              <a:custGeom>
                <a:avLst/>
                <a:gdLst>
                  <a:gd name="connsiteX0" fmla="*/ 25823 w 28614"/>
                  <a:gd name="connsiteY0" fmla="*/ 21101 h 28614"/>
                  <a:gd name="connsiteX1" fmla="*/ 21101 w 28614"/>
                  <a:gd name="connsiteY1" fmla="*/ 16098 h 28614"/>
                  <a:gd name="connsiteX2" fmla="*/ 16098 w 28614"/>
                  <a:gd name="connsiteY2" fmla="*/ 20819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19"/>
                    </a:cubicBezTo>
                    <a:cubicBezTo>
                      <a:pt x="16019" y="23505"/>
                      <a:pt x="18134" y="25746"/>
                      <a:pt x="20820" y="25823"/>
                    </a:cubicBezTo>
                    <a:cubicBezTo>
                      <a:pt x="20914" y="25826"/>
                      <a:pt x="21007" y="25826"/>
                      <a:pt x="21101" y="25823"/>
                    </a:cubicBezTo>
                    <a:cubicBezTo>
                      <a:pt x="23677" y="25748"/>
                      <a:pt x="25748" y="23677"/>
                      <a:pt x="25823" y="21101"/>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62" name="Freeform: Shape 261">
                <a:extLst>
                  <a:ext uri="{FF2B5EF4-FFF2-40B4-BE49-F238E27FC236}">
                    <a16:creationId xmlns:a16="http://schemas.microsoft.com/office/drawing/2014/main" id="{254ADB5C-7B3D-4DB1-8E0C-E21904D7FE49}"/>
                  </a:ext>
                </a:extLst>
              </p:cNvPr>
              <p:cNvSpPr/>
              <p:nvPr/>
            </p:nvSpPr>
            <p:spPr>
              <a:xfrm>
                <a:off x="4375808" y="4879540"/>
                <a:ext cx="28615" cy="28616"/>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63" name="Freeform: Shape 262">
                <a:extLst>
                  <a:ext uri="{FF2B5EF4-FFF2-40B4-BE49-F238E27FC236}">
                    <a16:creationId xmlns:a16="http://schemas.microsoft.com/office/drawing/2014/main" id="{C96C679C-8322-4644-AA39-8C653C919380}"/>
                  </a:ext>
                </a:extLst>
              </p:cNvPr>
              <p:cNvSpPr/>
              <p:nvPr/>
            </p:nvSpPr>
            <p:spPr>
              <a:xfrm>
                <a:off x="4427888" y="4879883"/>
                <a:ext cx="28615" cy="28615"/>
              </a:xfrm>
              <a:custGeom>
                <a:avLst/>
                <a:gdLst>
                  <a:gd name="connsiteX0" fmla="*/ 23965 w 28614"/>
                  <a:gd name="connsiteY0" fmla="*/ 19889 h 28614"/>
                  <a:gd name="connsiteX1" fmla="*/ 20611 w 28614"/>
                  <a:gd name="connsiteY1" fmla="*/ 16102 h 28614"/>
                  <a:gd name="connsiteX2" fmla="*/ 19673 w 28614"/>
                  <a:gd name="connsiteY2" fmla="*/ 16169 h 28614"/>
                  <a:gd name="connsiteX3" fmla="*/ 16096 w 28614"/>
                  <a:gd name="connsiteY3" fmla="*/ 19746 h 28614"/>
                  <a:gd name="connsiteX4" fmla="*/ 19673 w 28614"/>
                  <a:gd name="connsiteY4" fmla="*/ 23323 h 28614"/>
                  <a:gd name="connsiteX5" fmla="*/ 23250 w 28614"/>
                  <a:gd name="connsiteY5" fmla="*/ 1974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965" y="19889"/>
                    </a:moveTo>
                    <a:cubicBezTo>
                      <a:pt x="24085" y="17918"/>
                      <a:pt x="22583" y="16222"/>
                      <a:pt x="20611" y="16102"/>
                    </a:cubicBezTo>
                    <a:cubicBezTo>
                      <a:pt x="20297" y="16084"/>
                      <a:pt x="19982" y="16106"/>
                      <a:pt x="19673" y="16169"/>
                    </a:cubicBezTo>
                    <a:cubicBezTo>
                      <a:pt x="17697" y="16169"/>
                      <a:pt x="16096" y="17770"/>
                      <a:pt x="16096" y="19746"/>
                    </a:cubicBezTo>
                    <a:cubicBezTo>
                      <a:pt x="16169" y="21691"/>
                      <a:pt x="17728" y="23250"/>
                      <a:pt x="19673" y="23323"/>
                    </a:cubicBezTo>
                    <a:cubicBezTo>
                      <a:pt x="21649" y="23323"/>
                      <a:pt x="23250" y="21722"/>
                      <a:pt x="23250" y="19746"/>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64" name="Freeform: Shape 263">
                <a:extLst>
                  <a:ext uri="{FF2B5EF4-FFF2-40B4-BE49-F238E27FC236}">
                    <a16:creationId xmlns:a16="http://schemas.microsoft.com/office/drawing/2014/main" id="{885F0FFF-BAE1-4B8B-B9BC-37A0972FE8B5}"/>
                  </a:ext>
                </a:extLst>
              </p:cNvPr>
              <p:cNvSpPr/>
              <p:nvPr/>
            </p:nvSpPr>
            <p:spPr>
              <a:xfrm>
                <a:off x="4480110" y="4880686"/>
                <a:ext cx="28615" cy="28616"/>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0"/>
                      <a:pt x="21962" y="1910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65" name="Freeform: Shape 264">
                <a:extLst>
                  <a:ext uri="{FF2B5EF4-FFF2-40B4-BE49-F238E27FC236}">
                    <a16:creationId xmlns:a16="http://schemas.microsoft.com/office/drawing/2014/main" id="{4417F843-B3F3-4FB6-B4BF-91E57644769A}"/>
                  </a:ext>
                </a:extLst>
              </p:cNvPr>
              <p:cNvSpPr/>
              <p:nvPr/>
            </p:nvSpPr>
            <p:spPr>
              <a:xfrm>
                <a:off x="4010395" y="4907453"/>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66" name="Freeform: Shape 265">
                <a:extLst>
                  <a:ext uri="{FF2B5EF4-FFF2-40B4-BE49-F238E27FC236}">
                    <a16:creationId xmlns:a16="http://schemas.microsoft.com/office/drawing/2014/main" id="{FD0E54E5-F05F-4154-950E-4DFAB48B9974}"/>
                  </a:ext>
                </a:extLst>
              </p:cNvPr>
              <p:cNvSpPr/>
              <p:nvPr/>
            </p:nvSpPr>
            <p:spPr>
              <a:xfrm>
                <a:off x="4062045" y="4908014"/>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8"/>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67" name="Freeform: Shape 266">
                <a:extLst>
                  <a:ext uri="{FF2B5EF4-FFF2-40B4-BE49-F238E27FC236}">
                    <a16:creationId xmlns:a16="http://schemas.microsoft.com/office/drawing/2014/main" id="{886D7627-91D5-45F6-9571-BA5B6562F59F}"/>
                  </a:ext>
                </a:extLst>
              </p:cNvPr>
              <p:cNvSpPr/>
              <p:nvPr/>
            </p:nvSpPr>
            <p:spPr>
              <a:xfrm>
                <a:off x="4114840" y="4908737"/>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68" name="Freeform: Shape 267">
                <a:extLst>
                  <a:ext uri="{FF2B5EF4-FFF2-40B4-BE49-F238E27FC236}">
                    <a16:creationId xmlns:a16="http://schemas.microsoft.com/office/drawing/2014/main" id="{CDBB4BB9-D9AF-4B72-9F1C-47A5D0AFFEDE}"/>
                  </a:ext>
                </a:extLst>
              </p:cNvPr>
              <p:cNvSpPr/>
              <p:nvPr/>
            </p:nvSpPr>
            <p:spPr>
              <a:xfrm>
                <a:off x="4166919" y="4909320"/>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69" name="Freeform: Shape 268">
                <a:extLst>
                  <a:ext uri="{FF2B5EF4-FFF2-40B4-BE49-F238E27FC236}">
                    <a16:creationId xmlns:a16="http://schemas.microsoft.com/office/drawing/2014/main" id="{EE08B46E-5058-439A-A226-E2284136E65E}"/>
                  </a:ext>
                </a:extLst>
              </p:cNvPr>
              <p:cNvSpPr/>
              <p:nvPr/>
            </p:nvSpPr>
            <p:spPr>
              <a:xfrm>
                <a:off x="4219069" y="4910826"/>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70" name="Freeform: Shape 269">
                <a:extLst>
                  <a:ext uri="{FF2B5EF4-FFF2-40B4-BE49-F238E27FC236}">
                    <a16:creationId xmlns:a16="http://schemas.microsoft.com/office/drawing/2014/main" id="{7396B053-87F3-4769-AFA8-53AFB30FB1C1}"/>
                  </a:ext>
                </a:extLst>
              </p:cNvPr>
              <p:cNvSpPr/>
              <p:nvPr/>
            </p:nvSpPr>
            <p:spPr>
              <a:xfrm>
                <a:off x="4271363" y="4910613"/>
                <a:ext cx="42922" cy="42923"/>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71" name="Freeform: Shape 270">
                <a:extLst>
                  <a:ext uri="{FF2B5EF4-FFF2-40B4-BE49-F238E27FC236}">
                    <a16:creationId xmlns:a16="http://schemas.microsoft.com/office/drawing/2014/main" id="{84273FC7-F13C-4B59-8791-284858BE3DDE}"/>
                  </a:ext>
                </a:extLst>
              </p:cNvPr>
              <p:cNvSpPr/>
              <p:nvPr/>
            </p:nvSpPr>
            <p:spPr>
              <a:xfrm>
                <a:off x="4323513" y="4912016"/>
                <a:ext cx="28615" cy="28616"/>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72" name="Freeform: Shape 271">
                <a:extLst>
                  <a:ext uri="{FF2B5EF4-FFF2-40B4-BE49-F238E27FC236}">
                    <a16:creationId xmlns:a16="http://schemas.microsoft.com/office/drawing/2014/main" id="{DF30971D-F405-460F-9CEB-4487BA7A4636}"/>
                  </a:ext>
                </a:extLst>
              </p:cNvPr>
              <p:cNvSpPr/>
              <p:nvPr/>
            </p:nvSpPr>
            <p:spPr>
              <a:xfrm>
                <a:off x="4375808" y="4911917"/>
                <a:ext cx="28615" cy="28616"/>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73" name="Freeform: Shape 272">
                <a:extLst>
                  <a:ext uri="{FF2B5EF4-FFF2-40B4-BE49-F238E27FC236}">
                    <a16:creationId xmlns:a16="http://schemas.microsoft.com/office/drawing/2014/main" id="{F195624C-1369-4864-B090-9723F27B5177}"/>
                  </a:ext>
                </a:extLst>
              </p:cNvPr>
              <p:cNvSpPr/>
              <p:nvPr/>
            </p:nvSpPr>
            <p:spPr>
              <a:xfrm>
                <a:off x="4428603" y="4912506"/>
                <a:ext cx="28615" cy="28616"/>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74" name="Freeform: Shape 273">
                <a:extLst>
                  <a:ext uri="{FF2B5EF4-FFF2-40B4-BE49-F238E27FC236}">
                    <a16:creationId xmlns:a16="http://schemas.microsoft.com/office/drawing/2014/main" id="{8CA36692-F1FE-4515-B067-C8CEE685A170}"/>
                  </a:ext>
                </a:extLst>
              </p:cNvPr>
              <p:cNvSpPr/>
              <p:nvPr/>
            </p:nvSpPr>
            <p:spPr>
              <a:xfrm>
                <a:off x="4480108" y="4913206"/>
                <a:ext cx="28615" cy="28616"/>
              </a:xfrm>
              <a:custGeom>
                <a:avLst/>
                <a:gdLst>
                  <a:gd name="connsiteX0" fmla="*/ 21962 w 28614"/>
                  <a:gd name="connsiteY0" fmla="*/ 18961 h 28614"/>
                  <a:gd name="connsiteX1" fmla="*/ 19100 w 28614"/>
                  <a:gd name="connsiteY1" fmla="*/ 16100 h 28614"/>
                  <a:gd name="connsiteX2" fmla="*/ 16100 w 28614"/>
                  <a:gd name="connsiteY2" fmla="*/ 18815 h 28614"/>
                  <a:gd name="connsiteX3" fmla="*/ 16096 w 28614"/>
                  <a:gd name="connsiteY3" fmla="*/ 18961 h 28614"/>
                  <a:gd name="connsiteX4" fmla="*/ 19100 w 28614"/>
                  <a:gd name="connsiteY4" fmla="*/ 21966 h 28614"/>
                  <a:gd name="connsiteX5" fmla="*/ 21966 w 28614"/>
                  <a:gd name="connsiteY5" fmla="*/ 19108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5"/>
                    </a:cubicBezTo>
                    <a:cubicBezTo>
                      <a:pt x="16097" y="18864"/>
                      <a:pt x="16096" y="18912"/>
                      <a:pt x="16096" y="18961"/>
                    </a:cubicBezTo>
                    <a:cubicBezTo>
                      <a:pt x="16096" y="20621"/>
                      <a:pt x="17441" y="21966"/>
                      <a:pt x="19100" y="21966"/>
                    </a:cubicBezTo>
                    <a:cubicBezTo>
                      <a:pt x="20682" y="21967"/>
                      <a:pt x="21963" y="20688"/>
                      <a:pt x="21966" y="19108"/>
                    </a:cubicBezTo>
                    <a:cubicBezTo>
                      <a:pt x="21966" y="19058"/>
                      <a:pt x="21965" y="19010"/>
                      <a:pt x="21962" y="18961"/>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75" name="Freeform: Shape 274">
                <a:extLst>
                  <a:ext uri="{FF2B5EF4-FFF2-40B4-BE49-F238E27FC236}">
                    <a16:creationId xmlns:a16="http://schemas.microsoft.com/office/drawing/2014/main" id="{3A051E7D-3273-4775-A420-F9DAD9263D12}"/>
                  </a:ext>
                </a:extLst>
              </p:cNvPr>
              <p:cNvSpPr/>
              <p:nvPr/>
            </p:nvSpPr>
            <p:spPr>
              <a:xfrm>
                <a:off x="4010392" y="4939942"/>
                <a:ext cx="42922" cy="42923"/>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76" name="Freeform: Shape 275">
                <a:extLst>
                  <a:ext uri="{FF2B5EF4-FFF2-40B4-BE49-F238E27FC236}">
                    <a16:creationId xmlns:a16="http://schemas.microsoft.com/office/drawing/2014/main" id="{364E21F4-2D73-4D01-A9EA-7BDD6F54DFDD}"/>
                  </a:ext>
                </a:extLst>
              </p:cNvPr>
              <p:cNvSpPr/>
              <p:nvPr/>
            </p:nvSpPr>
            <p:spPr>
              <a:xfrm>
                <a:off x="4062046" y="4940357"/>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77" name="Freeform: Shape 276">
                <a:extLst>
                  <a:ext uri="{FF2B5EF4-FFF2-40B4-BE49-F238E27FC236}">
                    <a16:creationId xmlns:a16="http://schemas.microsoft.com/office/drawing/2014/main" id="{1575CBDB-8898-4133-AB4B-2A45EF6A949B}"/>
                  </a:ext>
                </a:extLst>
              </p:cNvPr>
              <p:cNvSpPr/>
              <p:nvPr/>
            </p:nvSpPr>
            <p:spPr>
              <a:xfrm>
                <a:off x="4114836" y="4941205"/>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78" name="Freeform: Shape 277">
                <a:extLst>
                  <a:ext uri="{FF2B5EF4-FFF2-40B4-BE49-F238E27FC236}">
                    <a16:creationId xmlns:a16="http://schemas.microsoft.com/office/drawing/2014/main" id="{660CABC2-D042-4266-A4DB-662544A07393}"/>
                  </a:ext>
                </a:extLst>
              </p:cNvPr>
              <p:cNvSpPr/>
              <p:nvPr/>
            </p:nvSpPr>
            <p:spPr>
              <a:xfrm>
                <a:off x="4166917" y="4941787"/>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79" name="Freeform: Shape 278">
                <a:extLst>
                  <a:ext uri="{FF2B5EF4-FFF2-40B4-BE49-F238E27FC236}">
                    <a16:creationId xmlns:a16="http://schemas.microsoft.com/office/drawing/2014/main" id="{D694260A-A926-48A8-8277-4C809F12033C}"/>
                  </a:ext>
                </a:extLst>
              </p:cNvPr>
              <p:cNvSpPr/>
              <p:nvPr/>
            </p:nvSpPr>
            <p:spPr>
              <a:xfrm>
                <a:off x="4218997" y="4942195"/>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80" name="Freeform: Shape 279">
                <a:extLst>
                  <a:ext uri="{FF2B5EF4-FFF2-40B4-BE49-F238E27FC236}">
                    <a16:creationId xmlns:a16="http://schemas.microsoft.com/office/drawing/2014/main" id="{718048E5-7031-4AED-9057-C01CEB4C0865}"/>
                  </a:ext>
                </a:extLst>
              </p:cNvPr>
              <p:cNvSpPr/>
              <p:nvPr/>
            </p:nvSpPr>
            <p:spPr>
              <a:xfrm>
                <a:off x="4271359" y="4943028"/>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81" name="Freeform: Shape 280">
                <a:extLst>
                  <a:ext uri="{FF2B5EF4-FFF2-40B4-BE49-F238E27FC236}">
                    <a16:creationId xmlns:a16="http://schemas.microsoft.com/office/drawing/2014/main" id="{6E0E05F5-4A39-4136-B9EB-7FC0A88A31C2}"/>
                  </a:ext>
                </a:extLst>
              </p:cNvPr>
              <p:cNvSpPr/>
              <p:nvPr/>
            </p:nvSpPr>
            <p:spPr>
              <a:xfrm>
                <a:off x="4323513" y="4942771"/>
                <a:ext cx="28615" cy="42922"/>
              </a:xfrm>
              <a:custGeom>
                <a:avLst/>
                <a:gdLst>
                  <a:gd name="connsiteX0" fmla="*/ 25754 w 28614"/>
                  <a:gd name="connsiteY0" fmla="*/ 21793 h 42922"/>
                  <a:gd name="connsiteX1" fmla="*/ 21793 w 28614"/>
                  <a:gd name="connsiteY1" fmla="*/ 16168 h 42922"/>
                  <a:gd name="connsiteX2" fmla="*/ 16168 w 28614"/>
                  <a:gd name="connsiteY2" fmla="*/ 20130 h 42922"/>
                  <a:gd name="connsiteX3" fmla="*/ 16168 w 28614"/>
                  <a:gd name="connsiteY3" fmla="*/ 21793 h 42922"/>
                  <a:gd name="connsiteX4" fmla="*/ 20130 w 28614"/>
                  <a:gd name="connsiteY4" fmla="*/ 27417 h 42922"/>
                  <a:gd name="connsiteX5" fmla="*/ 25754 w 28614"/>
                  <a:gd name="connsiteY5" fmla="*/ 23455 h 42922"/>
                  <a:gd name="connsiteX6" fmla="*/ 25754 w 28614"/>
                  <a:gd name="connsiteY6" fmla="*/ 2179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42922">
                    <a:moveTo>
                      <a:pt x="25754" y="21793"/>
                    </a:moveTo>
                    <a:cubicBezTo>
                      <a:pt x="26214" y="19146"/>
                      <a:pt x="24439" y="16628"/>
                      <a:pt x="21793" y="16168"/>
                    </a:cubicBezTo>
                    <a:cubicBezTo>
                      <a:pt x="19146" y="15709"/>
                      <a:pt x="16628" y="17483"/>
                      <a:pt x="16168" y="20130"/>
                    </a:cubicBezTo>
                    <a:cubicBezTo>
                      <a:pt x="16072" y="20681"/>
                      <a:pt x="16072" y="21243"/>
                      <a:pt x="16168" y="21793"/>
                    </a:cubicBezTo>
                    <a:cubicBezTo>
                      <a:pt x="15709" y="24439"/>
                      <a:pt x="17483" y="26958"/>
                      <a:pt x="20130" y="27417"/>
                    </a:cubicBezTo>
                    <a:cubicBezTo>
                      <a:pt x="22777" y="27876"/>
                      <a:pt x="25295" y="26102"/>
                      <a:pt x="25754" y="23455"/>
                    </a:cubicBezTo>
                    <a:cubicBezTo>
                      <a:pt x="25850" y="22904"/>
                      <a:pt x="25850" y="22342"/>
                      <a:pt x="25754" y="217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82" name="Freeform: Shape 281">
                <a:extLst>
                  <a:ext uri="{FF2B5EF4-FFF2-40B4-BE49-F238E27FC236}">
                    <a16:creationId xmlns:a16="http://schemas.microsoft.com/office/drawing/2014/main" id="{FA439953-7ABB-4FB2-9B3C-F69BD3F4898F}"/>
                  </a:ext>
                </a:extLst>
              </p:cNvPr>
              <p:cNvSpPr/>
              <p:nvPr/>
            </p:nvSpPr>
            <p:spPr>
              <a:xfrm>
                <a:off x="4375812" y="4944297"/>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83" name="Freeform: Shape 282">
                <a:extLst>
                  <a:ext uri="{FF2B5EF4-FFF2-40B4-BE49-F238E27FC236}">
                    <a16:creationId xmlns:a16="http://schemas.microsoft.com/office/drawing/2014/main" id="{8785579F-AA44-41B9-8FEA-D7ACFA59F8C6}"/>
                  </a:ext>
                </a:extLst>
              </p:cNvPr>
              <p:cNvSpPr/>
              <p:nvPr/>
            </p:nvSpPr>
            <p:spPr>
              <a:xfrm>
                <a:off x="4428596" y="4944840"/>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84" name="Freeform: Shape 283">
                <a:extLst>
                  <a:ext uri="{FF2B5EF4-FFF2-40B4-BE49-F238E27FC236}">
                    <a16:creationId xmlns:a16="http://schemas.microsoft.com/office/drawing/2014/main" id="{C7CBF075-470A-43C6-88FD-CD8456617AD4}"/>
                  </a:ext>
                </a:extLst>
              </p:cNvPr>
              <p:cNvSpPr/>
              <p:nvPr/>
            </p:nvSpPr>
            <p:spPr>
              <a:xfrm>
                <a:off x="4480045" y="4945430"/>
                <a:ext cx="28615" cy="28615"/>
              </a:xfrm>
              <a:custGeom>
                <a:avLst/>
                <a:gdLst>
                  <a:gd name="connsiteX0" fmla="*/ 22034 w 28614"/>
                  <a:gd name="connsiteY0" fmla="*/ 19100 h 28614"/>
                  <a:gd name="connsiteX1" fmla="*/ 19320 w 28614"/>
                  <a:gd name="connsiteY1" fmla="*/ 16099 h 28614"/>
                  <a:gd name="connsiteX2" fmla="*/ 19173 w 28614"/>
                  <a:gd name="connsiteY2" fmla="*/ 16096 h 28614"/>
                  <a:gd name="connsiteX3" fmla="*/ 16168 w 28614"/>
                  <a:gd name="connsiteY3" fmla="*/ 19100 h 28614"/>
                  <a:gd name="connsiteX4" fmla="*/ 18449 w 28614"/>
                  <a:gd name="connsiteY4" fmla="*/ 22686 h 28614"/>
                  <a:gd name="connsiteX5" fmla="*/ 22034 w 28614"/>
                  <a:gd name="connsiteY5" fmla="*/ 20404 h 28614"/>
                  <a:gd name="connsiteX6" fmla="*/ 22034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2034" y="19100"/>
                    </a:moveTo>
                    <a:cubicBezTo>
                      <a:pt x="22113" y="17522"/>
                      <a:pt x="20898" y="16179"/>
                      <a:pt x="19320" y="16099"/>
                    </a:cubicBezTo>
                    <a:cubicBezTo>
                      <a:pt x="19270" y="16097"/>
                      <a:pt x="19222" y="16096"/>
                      <a:pt x="19173" y="16096"/>
                    </a:cubicBezTo>
                    <a:cubicBezTo>
                      <a:pt x="17513" y="16096"/>
                      <a:pt x="16168" y="17441"/>
                      <a:pt x="16168" y="19100"/>
                    </a:cubicBezTo>
                    <a:cubicBezTo>
                      <a:pt x="15808" y="20720"/>
                      <a:pt x="16829" y="22325"/>
                      <a:pt x="18449" y="22686"/>
                    </a:cubicBezTo>
                    <a:cubicBezTo>
                      <a:pt x="20070" y="23045"/>
                      <a:pt x="21674" y="22023"/>
                      <a:pt x="22034" y="20404"/>
                    </a:cubicBezTo>
                    <a:cubicBezTo>
                      <a:pt x="22130" y="19975"/>
                      <a:pt x="22130" y="19530"/>
                      <a:pt x="22034" y="1910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nvGrpSpPr>
            <p:cNvPr id="70" name="Group 69">
              <a:extLst>
                <a:ext uri="{FF2B5EF4-FFF2-40B4-BE49-F238E27FC236}">
                  <a16:creationId xmlns:a16="http://schemas.microsoft.com/office/drawing/2014/main" id="{AEFBA3A7-954C-4188-A366-46775C94A540}"/>
                </a:ext>
              </a:extLst>
            </p:cNvPr>
            <p:cNvGrpSpPr/>
            <p:nvPr/>
          </p:nvGrpSpPr>
          <p:grpSpPr>
            <a:xfrm rot="1348360">
              <a:off x="6291630" y="2458651"/>
              <a:ext cx="816983" cy="341277"/>
              <a:chOff x="4010404" y="4875001"/>
              <a:chExt cx="498331" cy="208165"/>
            </a:xfrm>
            <a:solidFill>
              <a:srgbClr val="74BF4B"/>
            </a:solidFill>
          </p:grpSpPr>
          <p:sp>
            <p:nvSpPr>
              <p:cNvPr id="165" name="Freeform: Shape 164">
                <a:extLst>
                  <a:ext uri="{FF2B5EF4-FFF2-40B4-BE49-F238E27FC236}">
                    <a16:creationId xmlns:a16="http://schemas.microsoft.com/office/drawing/2014/main" id="{66F93262-B438-41E6-96F4-BFBEC096CFBA}"/>
                  </a:ext>
                </a:extLst>
              </p:cNvPr>
              <p:cNvSpPr/>
              <p:nvPr/>
            </p:nvSpPr>
            <p:spPr>
              <a:xfrm>
                <a:off x="4010546" y="4972281"/>
                <a:ext cx="42922" cy="42921"/>
              </a:xfrm>
              <a:custGeom>
                <a:avLst/>
                <a:gdLst>
                  <a:gd name="connsiteX0" fmla="*/ 33123 w 42922"/>
                  <a:gd name="connsiteY0" fmla="*/ 24539 h 42922"/>
                  <a:gd name="connsiteX1" fmla="*/ 24683 w 42922"/>
                  <a:gd name="connsiteY1" fmla="*/ 16096 h 42922"/>
                  <a:gd name="connsiteX2" fmla="*/ 24539 w 42922"/>
                  <a:gd name="connsiteY2" fmla="*/ 16097 h 42922"/>
                  <a:gd name="connsiteX3" fmla="*/ 16097 w 42922"/>
                  <a:gd name="connsiteY3" fmla="*/ 24250 h 42922"/>
                  <a:gd name="connsiteX4" fmla="*/ 16097 w 42922"/>
                  <a:gd name="connsiteY4" fmla="*/ 24539 h 42922"/>
                  <a:gd name="connsiteX5" fmla="*/ 24394 w 42922"/>
                  <a:gd name="connsiteY5" fmla="*/ 33122 h 42922"/>
                  <a:gd name="connsiteX6" fmla="*/ 24539 w 42922"/>
                  <a:gd name="connsiteY6" fmla="*/ 33123 h 42922"/>
                  <a:gd name="connsiteX7" fmla="*/ 33123 w 42922"/>
                  <a:gd name="connsiteY7" fmla="*/ 245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539"/>
                    </a:moveTo>
                    <a:cubicBezTo>
                      <a:pt x="33123" y="19877"/>
                      <a:pt x="29344" y="16097"/>
                      <a:pt x="24683" y="16096"/>
                    </a:cubicBezTo>
                    <a:cubicBezTo>
                      <a:pt x="24634" y="16096"/>
                      <a:pt x="24587" y="16096"/>
                      <a:pt x="24539" y="16097"/>
                    </a:cubicBezTo>
                    <a:cubicBezTo>
                      <a:pt x="19956" y="16017"/>
                      <a:pt x="16177" y="19667"/>
                      <a:pt x="16097" y="24250"/>
                    </a:cubicBezTo>
                    <a:cubicBezTo>
                      <a:pt x="16096" y="24346"/>
                      <a:pt x="16096" y="24443"/>
                      <a:pt x="16097" y="24539"/>
                    </a:cubicBezTo>
                    <a:cubicBezTo>
                      <a:pt x="16018" y="29200"/>
                      <a:pt x="19733" y="33043"/>
                      <a:pt x="24394" y="33122"/>
                    </a:cubicBezTo>
                    <a:cubicBezTo>
                      <a:pt x="24443" y="33123"/>
                      <a:pt x="24490" y="33123"/>
                      <a:pt x="24539" y="33123"/>
                    </a:cubicBezTo>
                    <a:cubicBezTo>
                      <a:pt x="29280" y="33123"/>
                      <a:pt x="33123" y="29280"/>
                      <a:pt x="33123" y="2453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66" name="Freeform: Shape 165">
                <a:extLst>
                  <a:ext uri="{FF2B5EF4-FFF2-40B4-BE49-F238E27FC236}">
                    <a16:creationId xmlns:a16="http://schemas.microsoft.com/office/drawing/2014/main" id="{0A3BFF0F-A795-493A-A86F-271E4A9D1BEA}"/>
                  </a:ext>
                </a:extLst>
              </p:cNvPr>
              <p:cNvSpPr/>
              <p:nvPr/>
            </p:nvSpPr>
            <p:spPr>
              <a:xfrm>
                <a:off x="4062055" y="4972713"/>
                <a:ext cx="42922" cy="42921"/>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6"/>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67" name="Freeform: Shape 166">
                <a:extLst>
                  <a:ext uri="{FF2B5EF4-FFF2-40B4-BE49-F238E27FC236}">
                    <a16:creationId xmlns:a16="http://schemas.microsoft.com/office/drawing/2014/main" id="{165FBBE6-5A02-4C8B-93A0-B6EFC563C3B8}"/>
                  </a:ext>
                </a:extLst>
              </p:cNvPr>
              <p:cNvSpPr/>
              <p:nvPr/>
            </p:nvSpPr>
            <p:spPr>
              <a:xfrm>
                <a:off x="4115135" y="4974864"/>
                <a:ext cx="42922" cy="42921"/>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68" name="Freeform: Shape 167">
                <a:extLst>
                  <a:ext uri="{FF2B5EF4-FFF2-40B4-BE49-F238E27FC236}">
                    <a16:creationId xmlns:a16="http://schemas.microsoft.com/office/drawing/2014/main" id="{658C10B3-DC55-43C3-8F4E-58123F6CC0CB}"/>
                  </a:ext>
                </a:extLst>
              </p:cNvPr>
              <p:cNvSpPr/>
              <p:nvPr/>
            </p:nvSpPr>
            <p:spPr>
              <a:xfrm>
                <a:off x="4166928" y="4974001"/>
                <a:ext cx="42922" cy="42921"/>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69" name="Freeform: Shape 168">
                <a:extLst>
                  <a:ext uri="{FF2B5EF4-FFF2-40B4-BE49-F238E27FC236}">
                    <a16:creationId xmlns:a16="http://schemas.microsoft.com/office/drawing/2014/main" id="{3C30659C-6610-499C-A5DC-C1D57B8FB0CC}"/>
                  </a:ext>
                </a:extLst>
              </p:cNvPr>
              <p:cNvSpPr/>
              <p:nvPr/>
            </p:nvSpPr>
            <p:spPr>
              <a:xfrm>
                <a:off x="4219079" y="4975507"/>
                <a:ext cx="42922" cy="42921"/>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70" name="Freeform: Shape 169">
                <a:extLst>
                  <a:ext uri="{FF2B5EF4-FFF2-40B4-BE49-F238E27FC236}">
                    <a16:creationId xmlns:a16="http://schemas.microsoft.com/office/drawing/2014/main" id="{208D29F8-3AF1-4A28-93A9-449E5063011F}"/>
                  </a:ext>
                </a:extLst>
              </p:cNvPr>
              <p:cNvSpPr/>
              <p:nvPr/>
            </p:nvSpPr>
            <p:spPr>
              <a:xfrm>
                <a:off x="4271373" y="4975287"/>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71" name="Freeform: Shape 170">
                <a:extLst>
                  <a:ext uri="{FF2B5EF4-FFF2-40B4-BE49-F238E27FC236}">
                    <a16:creationId xmlns:a16="http://schemas.microsoft.com/office/drawing/2014/main" id="{DDD6C39F-0F9F-4FB4-BC70-B69A797960A3}"/>
                  </a:ext>
                </a:extLst>
              </p:cNvPr>
              <p:cNvSpPr/>
              <p:nvPr/>
            </p:nvSpPr>
            <p:spPr>
              <a:xfrm>
                <a:off x="4323524" y="4976690"/>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72" name="Freeform: Shape 171">
                <a:extLst>
                  <a:ext uri="{FF2B5EF4-FFF2-40B4-BE49-F238E27FC236}">
                    <a16:creationId xmlns:a16="http://schemas.microsoft.com/office/drawing/2014/main" id="{362C4585-CCAC-48CD-AC2E-1CB2072609ED}"/>
                  </a:ext>
                </a:extLst>
              </p:cNvPr>
              <p:cNvSpPr/>
              <p:nvPr/>
            </p:nvSpPr>
            <p:spPr>
              <a:xfrm>
                <a:off x="4375820" y="4976717"/>
                <a:ext cx="28615" cy="28615"/>
              </a:xfrm>
              <a:custGeom>
                <a:avLst/>
                <a:gdLst>
                  <a:gd name="connsiteX0" fmla="*/ 24392 w 28614"/>
                  <a:gd name="connsiteY0" fmla="*/ 20102 h 28614"/>
                  <a:gd name="connsiteX1" fmla="*/ 20103 w 28614"/>
                  <a:gd name="connsiteY1" fmla="*/ 16098 h 28614"/>
                  <a:gd name="connsiteX2" fmla="*/ 16098 w 28614"/>
                  <a:gd name="connsiteY2" fmla="*/ 20388 h 28614"/>
                  <a:gd name="connsiteX3" fmla="*/ 20243 w 28614"/>
                  <a:gd name="connsiteY3" fmla="*/ 24394 h 28614"/>
                  <a:gd name="connsiteX4" fmla="*/ 24395 w 28614"/>
                  <a:gd name="connsiteY4" fmla="*/ 20248 h 28614"/>
                  <a:gd name="connsiteX5" fmla="*/ 24392 w 28614"/>
                  <a:gd name="connsiteY5" fmla="*/ 201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4392" y="20102"/>
                    </a:moveTo>
                    <a:cubicBezTo>
                      <a:pt x="24314" y="17811"/>
                      <a:pt x="22392" y="16018"/>
                      <a:pt x="20103" y="16098"/>
                    </a:cubicBezTo>
                    <a:cubicBezTo>
                      <a:pt x="17812" y="16177"/>
                      <a:pt x="16020" y="18097"/>
                      <a:pt x="16098" y="20388"/>
                    </a:cubicBezTo>
                    <a:cubicBezTo>
                      <a:pt x="16176" y="22621"/>
                      <a:pt x="18008" y="24393"/>
                      <a:pt x="20243" y="24394"/>
                    </a:cubicBezTo>
                    <a:cubicBezTo>
                      <a:pt x="22535" y="24395"/>
                      <a:pt x="24394" y="22538"/>
                      <a:pt x="24395" y="20248"/>
                    </a:cubicBezTo>
                    <a:cubicBezTo>
                      <a:pt x="24395" y="20199"/>
                      <a:pt x="24394" y="20150"/>
                      <a:pt x="24392" y="20102"/>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73" name="Freeform: Shape 172">
                <a:extLst>
                  <a:ext uri="{FF2B5EF4-FFF2-40B4-BE49-F238E27FC236}">
                    <a16:creationId xmlns:a16="http://schemas.microsoft.com/office/drawing/2014/main" id="{1D8AE9EC-BDE5-4F8B-986E-58E52D597D6D}"/>
                  </a:ext>
                </a:extLst>
              </p:cNvPr>
              <p:cNvSpPr/>
              <p:nvPr/>
            </p:nvSpPr>
            <p:spPr>
              <a:xfrm>
                <a:off x="4428613" y="4977147"/>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728" y="16169"/>
                      <a:pt x="16169" y="17728"/>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74" name="Freeform: Shape 173">
                <a:extLst>
                  <a:ext uri="{FF2B5EF4-FFF2-40B4-BE49-F238E27FC236}">
                    <a16:creationId xmlns:a16="http://schemas.microsoft.com/office/drawing/2014/main" id="{EC7D3915-F1AA-464F-BB72-98D437A7AE74}"/>
                  </a:ext>
                </a:extLst>
              </p:cNvPr>
              <p:cNvSpPr/>
              <p:nvPr/>
            </p:nvSpPr>
            <p:spPr>
              <a:xfrm>
                <a:off x="4480119" y="4977859"/>
                <a:ext cx="28615" cy="28615"/>
              </a:xfrm>
              <a:custGeom>
                <a:avLst/>
                <a:gdLst>
                  <a:gd name="connsiteX0" fmla="*/ 21962 w 28614"/>
                  <a:gd name="connsiteY0" fmla="*/ 18961 h 28614"/>
                  <a:gd name="connsiteX1" fmla="*/ 19100 w 28614"/>
                  <a:gd name="connsiteY1" fmla="*/ 16100 h 28614"/>
                  <a:gd name="connsiteX2" fmla="*/ 16100 w 28614"/>
                  <a:gd name="connsiteY2" fmla="*/ 18814 h 28614"/>
                  <a:gd name="connsiteX3" fmla="*/ 16096 w 28614"/>
                  <a:gd name="connsiteY3" fmla="*/ 18961 h 28614"/>
                  <a:gd name="connsiteX4" fmla="*/ 19100 w 28614"/>
                  <a:gd name="connsiteY4" fmla="*/ 21966 h 28614"/>
                  <a:gd name="connsiteX5" fmla="*/ 21966 w 28614"/>
                  <a:gd name="connsiteY5" fmla="*/ 19107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4"/>
                    </a:cubicBezTo>
                    <a:cubicBezTo>
                      <a:pt x="16097" y="18864"/>
                      <a:pt x="16096" y="18912"/>
                      <a:pt x="16096" y="18961"/>
                    </a:cubicBezTo>
                    <a:cubicBezTo>
                      <a:pt x="16096" y="20621"/>
                      <a:pt x="17441" y="21966"/>
                      <a:pt x="19100" y="21966"/>
                    </a:cubicBezTo>
                    <a:cubicBezTo>
                      <a:pt x="20682" y="21967"/>
                      <a:pt x="21963" y="20688"/>
                      <a:pt x="21966" y="19107"/>
                    </a:cubicBezTo>
                    <a:cubicBezTo>
                      <a:pt x="21966" y="19058"/>
                      <a:pt x="21965" y="19010"/>
                      <a:pt x="21962" y="18961"/>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75" name="Freeform: Shape 174">
                <a:extLst>
                  <a:ext uri="{FF2B5EF4-FFF2-40B4-BE49-F238E27FC236}">
                    <a16:creationId xmlns:a16="http://schemas.microsoft.com/office/drawing/2014/main" id="{438D3ECA-8109-477B-BF86-737B4AA8411D}"/>
                  </a:ext>
                </a:extLst>
              </p:cNvPr>
              <p:cNvSpPr/>
              <p:nvPr/>
            </p:nvSpPr>
            <p:spPr>
              <a:xfrm>
                <a:off x="4010404" y="5004617"/>
                <a:ext cx="42922" cy="42921"/>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76" name="Freeform: Shape 175">
                <a:extLst>
                  <a:ext uri="{FF2B5EF4-FFF2-40B4-BE49-F238E27FC236}">
                    <a16:creationId xmlns:a16="http://schemas.microsoft.com/office/drawing/2014/main" id="{7DE59B27-B355-4737-81A8-AE3F1D0A2EA6}"/>
                  </a:ext>
                </a:extLst>
              </p:cNvPr>
              <p:cNvSpPr/>
              <p:nvPr/>
            </p:nvSpPr>
            <p:spPr>
              <a:xfrm>
                <a:off x="4062057" y="5005047"/>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96" y="32119"/>
                      <a:pt x="32119" y="28596"/>
                      <a:pt x="32119" y="2425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77" name="Freeform: Shape 176">
                <a:extLst>
                  <a:ext uri="{FF2B5EF4-FFF2-40B4-BE49-F238E27FC236}">
                    <a16:creationId xmlns:a16="http://schemas.microsoft.com/office/drawing/2014/main" id="{EAFA49FD-66DA-4FA0-B1FC-86035AE2EFCB}"/>
                  </a:ext>
                </a:extLst>
              </p:cNvPr>
              <p:cNvSpPr/>
              <p:nvPr/>
            </p:nvSpPr>
            <p:spPr>
              <a:xfrm>
                <a:off x="4114849" y="5005905"/>
                <a:ext cx="42922" cy="42921"/>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78" name="Freeform: Shape 177">
                <a:extLst>
                  <a:ext uri="{FF2B5EF4-FFF2-40B4-BE49-F238E27FC236}">
                    <a16:creationId xmlns:a16="http://schemas.microsoft.com/office/drawing/2014/main" id="{34A0584F-AE2D-4B5E-984A-E4FA0FA4212E}"/>
                  </a:ext>
                </a:extLst>
              </p:cNvPr>
              <p:cNvSpPr/>
              <p:nvPr/>
            </p:nvSpPr>
            <p:spPr>
              <a:xfrm>
                <a:off x="4166929" y="5006479"/>
                <a:ext cx="42922" cy="42921"/>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79" name="Freeform: Shape 178">
                <a:extLst>
                  <a:ext uri="{FF2B5EF4-FFF2-40B4-BE49-F238E27FC236}">
                    <a16:creationId xmlns:a16="http://schemas.microsoft.com/office/drawing/2014/main" id="{082D72A3-B2F6-4372-81D1-B29D615D81E9}"/>
                  </a:ext>
                </a:extLst>
              </p:cNvPr>
              <p:cNvSpPr/>
              <p:nvPr/>
            </p:nvSpPr>
            <p:spPr>
              <a:xfrm>
                <a:off x="4219009" y="5006907"/>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80" name="Freeform: Shape 179">
                <a:extLst>
                  <a:ext uri="{FF2B5EF4-FFF2-40B4-BE49-F238E27FC236}">
                    <a16:creationId xmlns:a16="http://schemas.microsoft.com/office/drawing/2014/main" id="{AD9D80AD-B2DC-43E5-9EB3-A365A90ACDFB}"/>
                  </a:ext>
                </a:extLst>
              </p:cNvPr>
              <p:cNvSpPr/>
              <p:nvPr/>
            </p:nvSpPr>
            <p:spPr>
              <a:xfrm>
                <a:off x="4271373" y="5007764"/>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81" name="Freeform: Shape 180">
                <a:extLst>
                  <a:ext uri="{FF2B5EF4-FFF2-40B4-BE49-F238E27FC236}">
                    <a16:creationId xmlns:a16="http://schemas.microsoft.com/office/drawing/2014/main" id="{AFBED991-3297-4CE9-A44F-F1B8C5A781D9}"/>
                  </a:ext>
                </a:extLst>
              </p:cNvPr>
              <p:cNvSpPr/>
              <p:nvPr/>
            </p:nvSpPr>
            <p:spPr>
              <a:xfrm>
                <a:off x="4323452" y="5008338"/>
                <a:ext cx="28615" cy="28615"/>
              </a:xfrm>
              <a:custGeom>
                <a:avLst/>
                <a:gdLst>
                  <a:gd name="connsiteX0" fmla="*/ 25825 w 28614"/>
                  <a:gd name="connsiteY0" fmla="*/ 20959 h 28614"/>
                  <a:gd name="connsiteX1" fmla="*/ 20959 w 28614"/>
                  <a:gd name="connsiteY1" fmla="*/ 16096 h 28614"/>
                  <a:gd name="connsiteX2" fmla="*/ 16096 w 28614"/>
                  <a:gd name="connsiteY2" fmla="*/ 20963 h 28614"/>
                  <a:gd name="connsiteX3" fmla="*/ 20963 w 28614"/>
                  <a:gd name="connsiteY3" fmla="*/ 25825 h 28614"/>
                  <a:gd name="connsiteX4" fmla="*/ 21104 w 28614"/>
                  <a:gd name="connsiteY4" fmla="*/ 25824 h 28614"/>
                  <a:gd name="connsiteX5" fmla="*/ 25825 w 28614"/>
                  <a:gd name="connsiteY5" fmla="*/ 2095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5" y="20959"/>
                    </a:moveTo>
                    <a:cubicBezTo>
                      <a:pt x="25824" y="18272"/>
                      <a:pt x="23644" y="16096"/>
                      <a:pt x="20959" y="16096"/>
                    </a:cubicBezTo>
                    <a:cubicBezTo>
                      <a:pt x="18272" y="16097"/>
                      <a:pt x="16094" y="18276"/>
                      <a:pt x="16096" y="20963"/>
                    </a:cubicBezTo>
                    <a:cubicBezTo>
                      <a:pt x="16097" y="23650"/>
                      <a:pt x="18276" y="25826"/>
                      <a:pt x="20963" y="25825"/>
                    </a:cubicBezTo>
                    <a:cubicBezTo>
                      <a:pt x="21009" y="25825"/>
                      <a:pt x="21056" y="25825"/>
                      <a:pt x="21104" y="25824"/>
                    </a:cubicBezTo>
                    <a:cubicBezTo>
                      <a:pt x="23735" y="25746"/>
                      <a:pt x="25826" y="23590"/>
                      <a:pt x="25825" y="2095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82" name="Freeform: Shape 181">
                <a:extLst>
                  <a:ext uri="{FF2B5EF4-FFF2-40B4-BE49-F238E27FC236}">
                    <a16:creationId xmlns:a16="http://schemas.microsoft.com/office/drawing/2014/main" id="{D05B2EBF-194F-4582-9F56-3C5D4523045A}"/>
                  </a:ext>
                </a:extLst>
              </p:cNvPr>
              <p:cNvSpPr/>
              <p:nvPr/>
            </p:nvSpPr>
            <p:spPr>
              <a:xfrm>
                <a:off x="4375817" y="5009052"/>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83" name="Freeform: Shape 182">
                <a:extLst>
                  <a:ext uri="{FF2B5EF4-FFF2-40B4-BE49-F238E27FC236}">
                    <a16:creationId xmlns:a16="http://schemas.microsoft.com/office/drawing/2014/main" id="{3A5F3823-8A4D-466F-9ADC-1ED3B92A42CB}"/>
                  </a:ext>
                </a:extLst>
              </p:cNvPr>
              <p:cNvSpPr/>
              <p:nvPr/>
            </p:nvSpPr>
            <p:spPr>
              <a:xfrm>
                <a:off x="4428613" y="5009625"/>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84" name="Freeform: Shape 183">
                <a:extLst>
                  <a:ext uri="{FF2B5EF4-FFF2-40B4-BE49-F238E27FC236}">
                    <a16:creationId xmlns:a16="http://schemas.microsoft.com/office/drawing/2014/main" id="{C66CE1CB-AEC0-42FF-96F9-43BAE4C3B697}"/>
                  </a:ext>
                </a:extLst>
              </p:cNvPr>
              <p:cNvSpPr/>
              <p:nvPr/>
            </p:nvSpPr>
            <p:spPr>
              <a:xfrm>
                <a:off x="4479977" y="5010199"/>
                <a:ext cx="28615" cy="28615"/>
              </a:xfrm>
              <a:custGeom>
                <a:avLst/>
                <a:gdLst>
                  <a:gd name="connsiteX0" fmla="*/ 22105 w 28614"/>
                  <a:gd name="connsiteY0" fmla="*/ 19098 h 28614"/>
                  <a:gd name="connsiteX1" fmla="*/ 19098 w 28614"/>
                  <a:gd name="connsiteY1" fmla="*/ 16096 h 28614"/>
                  <a:gd name="connsiteX2" fmla="*/ 16096 w 28614"/>
                  <a:gd name="connsiteY2" fmla="*/ 19105 h 28614"/>
                  <a:gd name="connsiteX3" fmla="*/ 19103 w 28614"/>
                  <a:gd name="connsiteY3" fmla="*/ 22105 h 28614"/>
                  <a:gd name="connsiteX4" fmla="*/ 19244 w 28614"/>
                  <a:gd name="connsiteY4" fmla="*/ 22102 h 28614"/>
                  <a:gd name="connsiteX5" fmla="*/ 22105 w 28614"/>
                  <a:gd name="connsiteY5" fmla="*/ 1909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2105" y="19098"/>
                    </a:moveTo>
                    <a:cubicBezTo>
                      <a:pt x="22104" y="17438"/>
                      <a:pt x="20756" y="16094"/>
                      <a:pt x="19098" y="16096"/>
                    </a:cubicBezTo>
                    <a:cubicBezTo>
                      <a:pt x="17438" y="16099"/>
                      <a:pt x="16094" y="17445"/>
                      <a:pt x="16096" y="19105"/>
                    </a:cubicBezTo>
                    <a:cubicBezTo>
                      <a:pt x="16097" y="20764"/>
                      <a:pt x="17445" y="22108"/>
                      <a:pt x="19103" y="22105"/>
                    </a:cubicBezTo>
                    <a:cubicBezTo>
                      <a:pt x="19151" y="22105"/>
                      <a:pt x="19196" y="22105"/>
                      <a:pt x="19244" y="22102"/>
                    </a:cubicBezTo>
                    <a:cubicBezTo>
                      <a:pt x="20847" y="22026"/>
                      <a:pt x="22107" y="20703"/>
                      <a:pt x="22105" y="19098"/>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85" name="Freeform: Shape 184">
                <a:extLst>
                  <a:ext uri="{FF2B5EF4-FFF2-40B4-BE49-F238E27FC236}">
                    <a16:creationId xmlns:a16="http://schemas.microsoft.com/office/drawing/2014/main" id="{A3A652D3-E67E-4A45-A0C1-5A01EEFD16AD}"/>
                  </a:ext>
                </a:extLst>
              </p:cNvPr>
              <p:cNvSpPr/>
              <p:nvPr/>
            </p:nvSpPr>
            <p:spPr>
              <a:xfrm>
                <a:off x="4010547" y="5037094"/>
                <a:ext cx="42922" cy="42921"/>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86" name="Freeform: Shape 185">
                <a:extLst>
                  <a:ext uri="{FF2B5EF4-FFF2-40B4-BE49-F238E27FC236}">
                    <a16:creationId xmlns:a16="http://schemas.microsoft.com/office/drawing/2014/main" id="{1CD8E05A-7A94-440E-AF2A-B000D388E24B}"/>
                  </a:ext>
                </a:extLst>
              </p:cNvPr>
              <p:cNvSpPr/>
              <p:nvPr/>
            </p:nvSpPr>
            <p:spPr>
              <a:xfrm>
                <a:off x="4062057" y="5037525"/>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87" name="Freeform: Shape 186">
                <a:extLst>
                  <a:ext uri="{FF2B5EF4-FFF2-40B4-BE49-F238E27FC236}">
                    <a16:creationId xmlns:a16="http://schemas.microsoft.com/office/drawing/2014/main" id="{FBAC6D05-D88F-4B18-B83B-C46DB86BAEAA}"/>
                  </a:ext>
                </a:extLst>
              </p:cNvPr>
              <p:cNvSpPr/>
              <p:nvPr/>
            </p:nvSpPr>
            <p:spPr>
              <a:xfrm>
                <a:off x="4114850" y="5038382"/>
                <a:ext cx="42922" cy="42921"/>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89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89"/>
                      <a:pt x="23393" y="30689"/>
                    </a:cubicBezTo>
                    <a:cubicBezTo>
                      <a:pt x="27423" y="30689"/>
                      <a:pt x="30689" y="27423"/>
                      <a:pt x="30689" y="233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88" name="Freeform: Shape 187">
                <a:extLst>
                  <a:ext uri="{FF2B5EF4-FFF2-40B4-BE49-F238E27FC236}">
                    <a16:creationId xmlns:a16="http://schemas.microsoft.com/office/drawing/2014/main" id="{F6EF6944-885F-4CEC-905A-9D4644AE7694}"/>
                  </a:ext>
                </a:extLst>
              </p:cNvPr>
              <p:cNvSpPr/>
              <p:nvPr/>
            </p:nvSpPr>
            <p:spPr>
              <a:xfrm>
                <a:off x="4166931" y="5038813"/>
                <a:ext cx="42922" cy="42921"/>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89" name="Freeform: Shape 188">
                <a:extLst>
                  <a:ext uri="{FF2B5EF4-FFF2-40B4-BE49-F238E27FC236}">
                    <a16:creationId xmlns:a16="http://schemas.microsoft.com/office/drawing/2014/main" id="{785D01B3-FF2F-4C56-B0F1-5AA55342FF9B}"/>
                  </a:ext>
                </a:extLst>
              </p:cNvPr>
              <p:cNvSpPr/>
              <p:nvPr/>
            </p:nvSpPr>
            <p:spPr>
              <a:xfrm>
                <a:off x="4219010" y="5039385"/>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90" name="Freeform: Shape 189">
                <a:extLst>
                  <a:ext uri="{FF2B5EF4-FFF2-40B4-BE49-F238E27FC236}">
                    <a16:creationId xmlns:a16="http://schemas.microsoft.com/office/drawing/2014/main" id="{0F6B527B-5BC7-42BF-BCF5-77E66A4B1461}"/>
                  </a:ext>
                </a:extLst>
              </p:cNvPr>
              <p:cNvSpPr/>
              <p:nvPr/>
            </p:nvSpPr>
            <p:spPr>
              <a:xfrm>
                <a:off x="4271373" y="5040245"/>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91" name="Freeform: Shape 190">
                <a:extLst>
                  <a:ext uri="{FF2B5EF4-FFF2-40B4-BE49-F238E27FC236}">
                    <a16:creationId xmlns:a16="http://schemas.microsoft.com/office/drawing/2014/main" id="{EC197A87-6A9F-4D8C-9AF0-F3DB405C94A9}"/>
                  </a:ext>
                </a:extLst>
              </p:cNvPr>
              <p:cNvSpPr/>
              <p:nvPr/>
            </p:nvSpPr>
            <p:spPr>
              <a:xfrm>
                <a:off x="4323455" y="5040675"/>
                <a:ext cx="28615" cy="28615"/>
              </a:xfrm>
              <a:custGeom>
                <a:avLst/>
                <a:gdLst>
                  <a:gd name="connsiteX0" fmla="*/ 25823 w 28614"/>
                  <a:gd name="connsiteY0" fmla="*/ 21101 h 28614"/>
                  <a:gd name="connsiteX1" fmla="*/ 21101 w 28614"/>
                  <a:gd name="connsiteY1" fmla="*/ 16098 h 28614"/>
                  <a:gd name="connsiteX2" fmla="*/ 16098 w 28614"/>
                  <a:gd name="connsiteY2" fmla="*/ 20820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20"/>
                    </a:cubicBezTo>
                    <a:cubicBezTo>
                      <a:pt x="16019" y="23505"/>
                      <a:pt x="18134" y="25746"/>
                      <a:pt x="20820" y="25823"/>
                    </a:cubicBezTo>
                    <a:cubicBezTo>
                      <a:pt x="20914" y="25826"/>
                      <a:pt x="21007" y="25826"/>
                      <a:pt x="21101" y="25823"/>
                    </a:cubicBezTo>
                    <a:cubicBezTo>
                      <a:pt x="23677" y="25748"/>
                      <a:pt x="25748" y="23678"/>
                      <a:pt x="25823" y="21101"/>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92" name="Freeform: Shape 191">
                <a:extLst>
                  <a:ext uri="{FF2B5EF4-FFF2-40B4-BE49-F238E27FC236}">
                    <a16:creationId xmlns:a16="http://schemas.microsoft.com/office/drawing/2014/main" id="{3D0F4B8E-39B8-4F1F-A843-0FD60D4CB08E}"/>
                  </a:ext>
                </a:extLst>
              </p:cNvPr>
              <p:cNvSpPr/>
              <p:nvPr/>
            </p:nvSpPr>
            <p:spPr>
              <a:xfrm>
                <a:off x="4375818" y="5041533"/>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93" name="Freeform: Shape 192">
                <a:extLst>
                  <a:ext uri="{FF2B5EF4-FFF2-40B4-BE49-F238E27FC236}">
                    <a16:creationId xmlns:a16="http://schemas.microsoft.com/office/drawing/2014/main" id="{D0E33290-93C4-4FD1-AA9D-5A026E627C30}"/>
                  </a:ext>
                </a:extLst>
              </p:cNvPr>
              <p:cNvSpPr/>
              <p:nvPr/>
            </p:nvSpPr>
            <p:spPr>
              <a:xfrm>
                <a:off x="4429194" y="5041961"/>
                <a:ext cx="28615" cy="28615"/>
              </a:xfrm>
              <a:custGeom>
                <a:avLst/>
                <a:gdLst>
                  <a:gd name="connsiteX0" fmla="*/ 22668 w 28614"/>
                  <a:gd name="connsiteY0" fmla="*/ 19816 h 28614"/>
                  <a:gd name="connsiteX1" fmla="*/ 19091 w 28614"/>
                  <a:gd name="connsiteY1" fmla="*/ 16096 h 28614"/>
                  <a:gd name="connsiteX2" fmla="*/ 16168 w 28614"/>
                  <a:gd name="connsiteY2" fmla="*/ 20470 h 28614"/>
                  <a:gd name="connsiteX3" fmla="*/ 19091 w 28614"/>
                  <a:gd name="connsiteY3" fmla="*/ 23393 h 28614"/>
                  <a:gd name="connsiteX4" fmla="*/ 22668 w 28614"/>
                  <a:gd name="connsiteY4" fmla="*/ 19816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2668" y="19816"/>
                    </a:moveTo>
                    <a:cubicBezTo>
                      <a:pt x="22669" y="17816"/>
                      <a:pt x="21090" y="16173"/>
                      <a:pt x="19091" y="16096"/>
                    </a:cubicBezTo>
                    <a:cubicBezTo>
                      <a:pt x="17077" y="16497"/>
                      <a:pt x="15767" y="18455"/>
                      <a:pt x="16168" y="20470"/>
                    </a:cubicBezTo>
                    <a:cubicBezTo>
                      <a:pt x="16463" y="21946"/>
                      <a:pt x="17616" y="23099"/>
                      <a:pt x="19091" y="23393"/>
                    </a:cubicBezTo>
                    <a:cubicBezTo>
                      <a:pt x="21067" y="23393"/>
                      <a:pt x="22668" y="21792"/>
                      <a:pt x="22668" y="19816"/>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94" name="Freeform: Shape 193">
                <a:extLst>
                  <a:ext uri="{FF2B5EF4-FFF2-40B4-BE49-F238E27FC236}">
                    <a16:creationId xmlns:a16="http://schemas.microsoft.com/office/drawing/2014/main" id="{FC4D458C-BFE3-4224-9319-162BE007C34E}"/>
                  </a:ext>
                </a:extLst>
              </p:cNvPr>
              <p:cNvSpPr/>
              <p:nvPr/>
            </p:nvSpPr>
            <p:spPr>
              <a:xfrm>
                <a:off x="4480120" y="5042671"/>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1"/>
                      <a:pt x="21962" y="1910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95" name="Freeform: Shape 194">
                <a:extLst>
                  <a:ext uri="{FF2B5EF4-FFF2-40B4-BE49-F238E27FC236}">
                    <a16:creationId xmlns:a16="http://schemas.microsoft.com/office/drawing/2014/main" id="{975C28A7-9639-4778-A6E6-76E242A3BECE}"/>
                  </a:ext>
                </a:extLst>
              </p:cNvPr>
              <p:cNvSpPr/>
              <p:nvPr/>
            </p:nvSpPr>
            <p:spPr>
              <a:xfrm>
                <a:off x="4010546" y="4875001"/>
                <a:ext cx="42922" cy="42921"/>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96" name="Freeform: Shape 195">
                <a:extLst>
                  <a:ext uri="{FF2B5EF4-FFF2-40B4-BE49-F238E27FC236}">
                    <a16:creationId xmlns:a16="http://schemas.microsoft.com/office/drawing/2014/main" id="{83249686-6A35-4ECF-BEE8-1ADE0BD36374}"/>
                  </a:ext>
                </a:extLst>
              </p:cNvPr>
              <p:cNvSpPr/>
              <p:nvPr/>
            </p:nvSpPr>
            <p:spPr>
              <a:xfrm>
                <a:off x="4062056" y="4875421"/>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97" name="Freeform: Shape 196">
                <a:extLst>
                  <a:ext uri="{FF2B5EF4-FFF2-40B4-BE49-F238E27FC236}">
                    <a16:creationId xmlns:a16="http://schemas.microsoft.com/office/drawing/2014/main" id="{A694E4F6-2693-4EBE-9FC8-092CC2FFFD61}"/>
                  </a:ext>
                </a:extLst>
              </p:cNvPr>
              <p:cNvSpPr/>
              <p:nvPr/>
            </p:nvSpPr>
            <p:spPr>
              <a:xfrm>
                <a:off x="4115136" y="4877714"/>
                <a:ext cx="42922" cy="42921"/>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98" name="Freeform: Shape 197">
                <a:extLst>
                  <a:ext uri="{FF2B5EF4-FFF2-40B4-BE49-F238E27FC236}">
                    <a16:creationId xmlns:a16="http://schemas.microsoft.com/office/drawing/2014/main" id="{90D1139B-6741-4E40-9B6A-93CB9CDEEB7C}"/>
                  </a:ext>
                </a:extLst>
              </p:cNvPr>
              <p:cNvSpPr/>
              <p:nvPr/>
            </p:nvSpPr>
            <p:spPr>
              <a:xfrm>
                <a:off x="4166931" y="4876718"/>
                <a:ext cx="42922" cy="42921"/>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99" name="Freeform: Shape 198">
                <a:extLst>
                  <a:ext uri="{FF2B5EF4-FFF2-40B4-BE49-F238E27FC236}">
                    <a16:creationId xmlns:a16="http://schemas.microsoft.com/office/drawing/2014/main" id="{DA4CC9DF-F2B1-4A91-978E-C7F860686982}"/>
                  </a:ext>
                </a:extLst>
              </p:cNvPr>
              <p:cNvSpPr/>
              <p:nvPr/>
            </p:nvSpPr>
            <p:spPr>
              <a:xfrm>
                <a:off x="4219010" y="4877282"/>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1"/>
                      <a:pt x="22296" y="28401"/>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00" name="Freeform: Shape 199">
                <a:extLst>
                  <a:ext uri="{FF2B5EF4-FFF2-40B4-BE49-F238E27FC236}">
                    <a16:creationId xmlns:a16="http://schemas.microsoft.com/office/drawing/2014/main" id="{D80AAC82-53D5-4C01-958F-8C7F90B56E7E}"/>
                  </a:ext>
                </a:extLst>
              </p:cNvPr>
              <p:cNvSpPr/>
              <p:nvPr/>
            </p:nvSpPr>
            <p:spPr>
              <a:xfrm>
                <a:off x="4271374" y="4878141"/>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01" name="Freeform: Shape 200">
                <a:extLst>
                  <a:ext uri="{FF2B5EF4-FFF2-40B4-BE49-F238E27FC236}">
                    <a16:creationId xmlns:a16="http://schemas.microsoft.com/office/drawing/2014/main" id="{238D6991-EA29-4316-9BE8-34313749F0F3}"/>
                  </a:ext>
                </a:extLst>
              </p:cNvPr>
              <p:cNvSpPr/>
              <p:nvPr/>
            </p:nvSpPr>
            <p:spPr>
              <a:xfrm>
                <a:off x="4323455" y="4878585"/>
                <a:ext cx="28615" cy="28615"/>
              </a:xfrm>
              <a:custGeom>
                <a:avLst/>
                <a:gdLst>
                  <a:gd name="connsiteX0" fmla="*/ 25823 w 28614"/>
                  <a:gd name="connsiteY0" fmla="*/ 21101 h 28614"/>
                  <a:gd name="connsiteX1" fmla="*/ 21101 w 28614"/>
                  <a:gd name="connsiteY1" fmla="*/ 16098 h 28614"/>
                  <a:gd name="connsiteX2" fmla="*/ 16098 w 28614"/>
                  <a:gd name="connsiteY2" fmla="*/ 20819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19"/>
                    </a:cubicBezTo>
                    <a:cubicBezTo>
                      <a:pt x="16019" y="23505"/>
                      <a:pt x="18134" y="25746"/>
                      <a:pt x="20820" y="25823"/>
                    </a:cubicBezTo>
                    <a:cubicBezTo>
                      <a:pt x="20914" y="25826"/>
                      <a:pt x="21007" y="25826"/>
                      <a:pt x="21101" y="25823"/>
                    </a:cubicBezTo>
                    <a:cubicBezTo>
                      <a:pt x="23677" y="25748"/>
                      <a:pt x="25748" y="23677"/>
                      <a:pt x="25823" y="21101"/>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02" name="Freeform: Shape 201">
                <a:extLst>
                  <a:ext uri="{FF2B5EF4-FFF2-40B4-BE49-F238E27FC236}">
                    <a16:creationId xmlns:a16="http://schemas.microsoft.com/office/drawing/2014/main" id="{3D989461-C69D-4E22-9291-0903759E72EA}"/>
                  </a:ext>
                </a:extLst>
              </p:cNvPr>
              <p:cNvSpPr/>
              <p:nvPr/>
            </p:nvSpPr>
            <p:spPr>
              <a:xfrm>
                <a:off x="4375818" y="4879446"/>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03" name="Freeform: Shape 202">
                <a:extLst>
                  <a:ext uri="{FF2B5EF4-FFF2-40B4-BE49-F238E27FC236}">
                    <a16:creationId xmlns:a16="http://schemas.microsoft.com/office/drawing/2014/main" id="{212B6820-BB02-4D54-8751-37741AB3950F}"/>
                  </a:ext>
                </a:extLst>
              </p:cNvPr>
              <p:cNvSpPr/>
              <p:nvPr/>
            </p:nvSpPr>
            <p:spPr>
              <a:xfrm>
                <a:off x="4427898" y="4879796"/>
                <a:ext cx="28615" cy="28615"/>
              </a:xfrm>
              <a:custGeom>
                <a:avLst/>
                <a:gdLst>
                  <a:gd name="connsiteX0" fmla="*/ 23965 w 28614"/>
                  <a:gd name="connsiteY0" fmla="*/ 19889 h 28614"/>
                  <a:gd name="connsiteX1" fmla="*/ 20611 w 28614"/>
                  <a:gd name="connsiteY1" fmla="*/ 16102 h 28614"/>
                  <a:gd name="connsiteX2" fmla="*/ 19673 w 28614"/>
                  <a:gd name="connsiteY2" fmla="*/ 16169 h 28614"/>
                  <a:gd name="connsiteX3" fmla="*/ 16096 w 28614"/>
                  <a:gd name="connsiteY3" fmla="*/ 19746 h 28614"/>
                  <a:gd name="connsiteX4" fmla="*/ 19673 w 28614"/>
                  <a:gd name="connsiteY4" fmla="*/ 23323 h 28614"/>
                  <a:gd name="connsiteX5" fmla="*/ 23250 w 28614"/>
                  <a:gd name="connsiteY5" fmla="*/ 1974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965" y="19889"/>
                    </a:moveTo>
                    <a:cubicBezTo>
                      <a:pt x="24085" y="17918"/>
                      <a:pt x="22583" y="16222"/>
                      <a:pt x="20611" y="16102"/>
                    </a:cubicBezTo>
                    <a:cubicBezTo>
                      <a:pt x="20297" y="16084"/>
                      <a:pt x="19982" y="16106"/>
                      <a:pt x="19673" y="16169"/>
                    </a:cubicBezTo>
                    <a:cubicBezTo>
                      <a:pt x="17697" y="16169"/>
                      <a:pt x="16096" y="17770"/>
                      <a:pt x="16096" y="19746"/>
                    </a:cubicBezTo>
                    <a:cubicBezTo>
                      <a:pt x="16169" y="21691"/>
                      <a:pt x="17728" y="23250"/>
                      <a:pt x="19673" y="23323"/>
                    </a:cubicBezTo>
                    <a:cubicBezTo>
                      <a:pt x="21649" y="23323"/>
                      <a:pt x="23250" y="21722"/>
                      <a:pt x="23250" y="19746"/>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04" name="Freeform: Shape 203">
                <a:extLst>
                  <a:ext uri="{FF2B5EF4-FFF2-40B4-BE49-F238E27FC236}">
                    <a16:creationId xmlns:a16="http://schemas.microsoft.com/office/drawing/2014/main" id="{429FFB72-C3C0-4DFA-8E42-82E3F198A3F1}"/>
                  </a:ext>
                </a:extLst>
              </p:cNvPr>
              <p:cNvSpPr/>
              <p:nvPr/>
            </p:nvSpPr>
            <p:spPr>
              <a:xfrm>
                <a:off x="4480120" y="4880597"/>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0"/>
                      <a:pt x="21962" y="1910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05" name="Freeform: Shape 204">
                <a:extLst>
                  <a:ext uri="{FF2B5EF4-FFF2-40B4-BE49-F238E27FC236}">
                    <a16:creationId xmlns:a16="http://schemas.microsoft.com/office/drawing/2014/main" id="{CDE99342-4CBE-4630-9947-0ADA5B8337E5}"/>
                  </a:ext>
                </a:extLst>
              </p:cNvPr>
              <p:cNvSpPr/>
              <p:nvPr/>
            </p:nvSpPr>
            <p:spPr>
              <a:xfrm>
                <a:off x="4010404" y="4907366"/>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06" name="Freeform: Shape 205">
                <a:extLst>
                  <a:ext uri="{FF2B5EF4-FFF2-40B4-BE49-F238E27FC236}">
                    <a16:creationId xmlns:a16="http://schemas.microsoft.com/office/drawing/2014/main" id="{0AF514EA-9352-4D21-B3F7-D8A8E24DAC8B}"/>
                  </a:ext>
                </a:extLst>
              </p:cNvPr>
              <p:cNvSpPr/>
              <p:nvPr/>
            </p:nvSpPr>
            <p:spPr>
              <a:xfrm>
                <a:off x="4062054" y="4907955"/>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8"/>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07" name="Freeform: Shape 206">
                <a:extLst>
                  <a:ext uri="{FF2B5EF4-FFF2-40B4-BE49-F238E27FC236}">
                    <a16:creationId xmlns:a16="http://schemas.microsoft.com/office/drawing/2014/main" id="{2D9FB96E-C606-4E1B-8DF7-F2A0C07A4CEE}"/>
                  </a:ext>
                </a:extLst>
              </p:cNvPr>
              <p:cNvSpPr/>
              <p:nvPr/>
            </p:nvSpPr>
            <p:spPr>
              <a:xfrm>
                <a:off x="4114850" y="4908669"/>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08" name="Freeform: Shape 207">
                <a:extLst>
                  <a:ext uri="{FF2B5EF4-FFF2-40B4-BE49-F238E27FC236}">
                    <a16:creationId xmlns:a16="http://schemas.microsoft.com/office/drawing/2014/main" id="{7C51E2BD-AAC7-4E70-A75D-2554CF24F8BE}"/>
                  </a:ext>
                </a:extLst>
              </p:cNvPr>
              <p:cNvSpPr/>
              <p:nvPr/>
            </p:nvSpPr>
            <p:spPr>
              <a:xfrm>
                <a:off x="4166929" y="4909232"/>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09" name="Freeform: Shape 208">
                <a:extLst>
                  <a:ext uri="{FF2B5EF4-FFF2-40B4-BE49-F238E27FC236}">
                    <a16:creationId xmlns:a16="http://schemas.microsoft.com/office/drawing/2014/main" id="{178669EF-4581-49BA-8133-D66687D53C5C}"/>
                  </a:ext>
                </a:extLst>
              </p:cNvPr>
              <p:cNvSpPr/>
              <p:nvPr/>
            </p:nvSpPr>
            <p:spPr>
              <a:xfrm>
                <a:off x="4219079" y="4910737"/>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10" name="Freeform: Shape 209">
                <a:extLst>
                  <a:ext uri="{FF2B5EF4-FFF2-40B4-BE49-F238E27FC236}">
                    <a16:creationId xmlns:a16="http://schemas.microsoft.com/office/drawing/2014/main" id="{B7B8EEBA-9FAB-4070-912D-A4ECF7710123}"/>
                  </a:ext>
                </a:extLst>
              </p:cNvPr>
              <p:cNvSpPr/>
              <p:nvPr/>
            </p:nvSpPr>
            <p:spPr>
              <a:xfrm>
                <a:off x="4271373" y="4910507"/>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11" name="Freeform: Shape 210">
                <a:extLst>
                  <a:ext uri="{FF2B5EF4-FFF2-40B4-BE49-F238E27FC236}">
                    <a16:creationId xmlns:a16="http://schemas.microsoft.com/office/drawing/2014/main" id="{270C5AEB-C2DE-4167-9759-28D27062A23C}"/>
                  </a:ext>
                </a:extLst>
              </p:cNvPr>
              <p:cNvSpPr/>
              <p:nvPr/>
            </p:nvSpPr>
            <p:spPr>
              <a:xfrm>
                <a:off x="4323524" y="4911910"/>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12" name="Freeform: Shape 211">
                <a:extLst>
                  <a:ext uri="{FF2B5EF4-FFF2-40B4-BE49-F238E27FC236}">
                    <a16:creationId xmlns:a16="http://schemas.microsoft.com/office/drawing/2014/main" id="{D058D5D0-25C9-4635-82DB-037B2CAAB2E2}"/>
                  </a:ext>
                </a:extLst>
              </p:cNvPr>
              <p:cNvSpPr/>
              <p:nvPr/>
            </p:nvSpPr>
            <p:spPr>
              <a:xfrm>
                <a:off x="4375818" y="4911796"/>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13" name="Freeform: Shape 212">
                <a:extLst>
                  <a:ext uri="{FF2B5EF4-FFF2-40B4-BE49-F238E27FC236}">
                    <a16:creationId xmlns:a16="http://schemas.microsoft.com/office/drawing/2014/main" id="{DD251BF1-59A4-4D13-8344-6D2499B98863}"/>
                  </a:ext>
                </a:extLst>
              </p:cNvPr>
              <p:cNvSpPr/>
              <p:nvPr/>
            </p:nvSpPr>
            <p:spPr>
              <a:xfrm>
                <a:off x="4428613" y="4912384"/>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14" name="Freeform: Shape 213">
                <a:extLst>
                  <a:ext uri="{FF2B5EF4-FFF2-40B4-BE49-F238E27FC236}">
                    <a16:creationId xmlns:a16="http://schemas.microsoft.com/office/drawing/2014/main" id="{3280D414-FC1A-42C5-BAE5-71641E268EA5}"/>
                  </a:ext>
                </a:extLst>
              </p:cNvPr>
              <p:cNvSpPr/>
              <p:nvPr/>
            </p:nvSpPr>
            <p:spPr>
              <a:xfrm>
                <a:off x="4480120" y="4913109"/>
                <a:ext cx="28615" cy="28615"/>
              </a:xfrm>
              <a:custGeom>
                <a:avLst/>
                <a:gdLst>
                  <a:gd name="connsiteX0" fmla="*/ 21962 w 28614"/>
                  <a:gd name="connsiteY0" fmla="*/ 18961 h 28614"/>
                  <a:gd name="connsiteX1" fmla="*/ 19100 w 28614"/>
                  <a:gd name="connsiteY1" fmla="*/ 16100 h 28614"/>
                  <a:gd name="connsiteX2" fmla="*/ 16100 w 28614"/>
                  <a:gd name="connsiteY2" fmla="*/ 18815 h 28614"/>
                  <a:gd name="connsiteX3" fmla="*/ 16096 w 28614"/>
                  <a:gd name="connsiteY3" fmla="*/ 18961 h 28614"/>
                  <a:gd name="connsiteX4" fmla="*/ 19100 w 28614"/>
                  <a:gd name="connsiteY4" fmla="*/ 21966 h 28614"/>
                  <a:gd name="connsiteX5" fmla="*/ 21966 w 28614"/>
                  <a:gd name="connsiteY5" fmla="*/ 19108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5"/>
                    </a:cubicBezTo>
                    <a:cubicBezTo>
                      <a:pt x="16097" y="18864"/>
                      <a:pt x="16096" y="18912"/>
                      <a:pt x="16096" y="18961"/>
                    </a:cubicBezTo>
                    <a:cubicBezTo>
                      <a:pt x="16096" y="20621"/>
                      <a:pt x="17441" y="21966"/>
                      <a:pt x="19100" y="21966"/>
                    </a:cubicBezTo>
                    <a:cubicBezTo>
                      <a:pt x="20682" y="21967"/>
                      <a:pt x="21963" y="20688"/>
                      <a:pt x="21966" y="19108"/>
                    </a:cubicBezTo>
                    <a:cubicBezTo>
                      <a:pt x="21966" y="19058"/>
                      <a:pt x="21965" y="19010"/>
                      <a:pt x="21962" y="18961"/>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15" name="Freeform: Shape 214">
                <a:extLst>
                  <a:ext uri="{FF2B5EF4-FFF2-40B4-BE49-F238E27FC236}">
                    <a16:creationId xmlns:a16="http://schemas.microsoft.com/office/drawing/2014/main" id="{11EFAB10-6790-4D6B-8E29-35D4A2FBFD14}"/>
                  </a:ext>
                </a:extLst>
              </p:cNvPr>
              <p:cNvSpPr/>
              <p:nvPr/>
            </p:nvSpPr>
            <p:spPr>
              <a:xfrm>
                <a:off x="4010404" y="4939899"/>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16" name="Freeform: Shape 215">
                <a:extLst>
                  <a:ext uri="{FF2B5EF4-FFF2-40B4-BE49-F238E27FC236}">
                    <a16:creationId xmlns:a16="http://schemas.microsoft.com/office/drawing/2014/main" id="{1435D370-C390-48B4-B07A-7DBAF4BA3DAE}"/>
                  </a:ext>
                </a:extLst>
              </p:cNvPr>
              <p:cNvSpPr/>
              <p:nvPr/>
            </p:nvSpPr>
            <p:spPr>
              <a:xfrm>
                <a:off x="4062055" y="4940333"/>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17" name="Freeform: Shape 216">
                <a:extLst>
                  <a:ext uri="{FF2B5EF4-FFF2-40B4-BE49-F238E27FC236}">
                    <a16:creationId xmlns:a16="http://schemas.microsoft.com/office/drawing/2014/main" id="{903BA85D-6276-4B76-9699-8466BD98FC9F}"/>
                  </a:ext>
                </a:extLst>
              </p:cNvPr>
              <p:cNvSpPr/>
              <p:nvPr/>
            </p:nvSpPr>
            <p:spPr>
              <a:xfrm>
                <a:off x="4114851" y="4941204"/>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18" name="Freeform: Shape 217">
                <a:extLst>
                  <a:ext uri="{FF2B5EF4-FFF2-40B4-BE49-F238E27FC236}">
                    <a16:creationId xmlns:a16="http://schemas.microsoft.com/office/drawing/2014/main" id="{0AB0CBD5-95B1-4E49-82E2-CEEC328FF50A}"/>
                  </a:ext>
                </a:extLst>
              </p:cNvPr>
              <p:cNvSpPr/>
              <p:nvPr/>
            </p:nvSpPr>
            <p:spPr>
              <a:xfrm>
                <a:off x="4166928" y="4941762"/>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19" name="Freeform: Shape 218">
                <a:extLst>
                  <a:ext uri="{FF2B5EF4-FFF2-40B4-BE49-F238E27FC236}">
                    <a16:creationId xmlns:a16="http://schemas.microsoft.com/office/drawing/2014/main" id="{4B7EF3FD-8B6F-4277-8C76-F242DEA39C30}"/>
                  </a:ext>
                </a:extLst>
              </p:cNvPr>
              <p:cNvSpPr/>
              <p:nvPr/>
            </p:nvSpPr>
            <p:spPr>
              <a:xfrm>
                <a:off x="4219009" y="4942194"/>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20" name="Freeform: Shape 219">
                <a:extLst>
                  <a:ext uri="{FF2B5EF4-FFF2-40B4-BE49-F238E27FC236}">
                    <a16:creationId xmlns:a16="http://schemas.microsoft.com/office/drawing/2014/main" id="{DA0D0A11-E5CA-43CF-87BD-C0A5568B01BA}"/>
                  </a:ext>
                </a:extLst>
              </p:cNvPr>
              <p:cNvSpPr/>
              <p:nvPr/>
            </p:nvSpPr>
            <p:spPr>
              <a:xfrm>
                <a:off x="4271373" y="4943028"/>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21" name="Freeform: Shape 220">
                <a:extLst>
                  <a:ext uri="{FF2B5EF4-FFF2-40B4-BE49-F238E27FC236}">
                    <a16:creationId xmlns:a16="http://schemas.microsoft.com/office/drawing/2014/main" id="{77E760F2-318C-483E-9DB3-23C37477EF4C}"/>
                  </a:ext>
                </a:extLst>
              </p:cNvPr>
              <p:cNvSpPr/>
              <p:nvPr/>
            </p:nvSpPr>
            <p:spPr>
              <a:xfrm>
                <a:off x="4323521" y="4942771"/>
                <a:ext cx="28615" cy="42922"/>
              </a:xfrm>
              <a:custGeom>
                <a:avLst/>
                <a:gdLst>
                  <a:gd name="connsiteX0" fmla="*/ 25754 w 28614"/>
                  <a:gd name="connsiteY0" fmla="*/ 21793 h 42922"/>
                  <a:gd name="connsiteX1" fmla="*/ 21793 w 28614"/>
                  <a:gd name="connsiteY1" fmla="*/ 16168 h 42922"/>
                  <a:gd name="connsiteX2" fmla="*/ 16168 w 28614"/>
                  <a:gd name="connsiteY2" fmla="*/ 20130 h 42922"/>
                  <a:gd name="connsiteX3" fmla="*/ 16168 w 28614"/>
                  <a:gd name="connsiteY3" fmla="*/ 21793 h 42922"/>
                  <a:gd name="connsiteX4" fmla="*/ 20130 w 28614"/>
                  <a:gd name="connsiteY4" fmla="*/ 27417 h 42922"/>
                  <a:gd name="connsiteX5" fmla="*/ 25754 w 28614"/>
                  <a:gd name="connsiteY5" fmla="*/ 23455 h 42922"/>
                  <a:gd name="connsiteX6" fmla="*/ 25754 w 28614"/>
                  <a:gd name="connsiteY6" fmla="*/ 2179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42922">
                    <a:moveTo>
                      <a:pt x="25754" y="21793"/>
                    </a:moveTo>
                    <a:cubicBezTo>
                      <a:pt x="26214" y="19146"/>
                      <a:pt x="24439" y="16628"/>
                      <a:pt x="21793" y="16168"/>
                    </a:cubicBezTo>
                    <a:cubicBezTo>
                      <a:pt x="19146" y="15709"/>
                      <a:pt x="16628" y="17483"/>
                      <a:pt x="16168" y="20130"/>
                    </a:cubicBezTo>
                    <a:cubicBezTo>
                      <a:pt x="16072" y="20681"/>
                      <a:pt x="16072" y="21243"/>
                      <a:pt x="16168" y="21793"/>
                    </a:cubicBezTo>
                    <a:cubicBezTo>
                      <a:pt x="15709" y="24439"/>
                      <a:pt x="17483" y="26958"/>
                      <a:pt x="20130" y="27417"/>
                    </a:cubicBezTo>
                    <a:cubicBezTo>
                      <a:pt x="22777" y="27876"/>
                      <a:pt x="25295" y="26102"/>
                      <a:pt x="25754" y="23455"/>
                    </a:cubicBezTo>
                    <a:cubicBezTo>
                      <a:pt x="25850" y="22904"/>
                      <a:pt x="25850" y="22342"/>
                      <a:pt x="25754" y="217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22" name="Freeform: Shape 221">
                <a:extLst>
                  <a:ext uri="{FF2B5EF4-FFF2-40B4-BE49-F238E27FC236}">
                    <a16:creationId xmlns:a16="http://schemas.microsoft.com/office/drawing/2014/main" id="{D3090C74-A4ED-4A9D-B314-4E845AF97DBC}"/>
                  </a:ext>
                </a:extLst>
              </p:cNvPr>
              <p:cNvSpPr/>
              <p:nvPr/>
            </p:nvSpPr>
            <p:spPr>
              <a:xfrm>
                <a:off x="4375813" y="4944297"/>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23" name="Freeform: Shape 222">
                <a:extLst>
                  <a:ext uri="{FF2B5EF4-FFF2-40B4-BE49-F238E27FC236}">
                    <a16:creationId xmlns:a16="http://schemas.microsoft.com/office/drawing/2014/main" id="{C12E4182-40EB-4B27-B4AB-6CFC1E53733D}"/>
                  </a:ext>
                </a:extLst>
              </p:cNvPr>
              <p:cNvSpPr/>
              <p:nvPr/>
            </p:nvSpPr>
            <p:spPr>
              <a:xfrm>
                <a:off x="4428596" y="4944840"/>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24" name="Freeform: Shape 223">
                <a:extLst>
                  <a:ext uri="{FF2B5EF4-FFF2-40B4-BE49-F238E27FC236}">
                    <a16:creationId xmlns:a16="http://schemas.microsoft.com/office/drawing/2014/main" id="{44A49B1E-512F-4B7D-A750-9D4064A48790}"/>
                  </a:ext>
                </a:extLst>
              </p:cNvPr>
              <p:cNvSpPr/>
              <p:nvPr/>
            </p:nvSpPr>
            <p:spPr>
              <a:xfrm>
                <a:off x="4480045" y="4945430"/>
                <a:ext cx="28615" cy="28615"/>
              </a:xfrm>
              <a:custGeom>
                <a:avLst/>
                <a:gdLst>
                  <a:gd name="connsiteX0" fmla="*/ 22034 w 28614"/>
                  <a:gd name="connsiteY0" fmla="*/ 19100 h 28614"/>
                  <a:gd name="connsiteX1" fmla="*/ 19320 w 28614"/>
                  <a:gd name="connsiteY1" fmla="*/ 16099 h 28614"/>
                  <a:gd name="connsiteX2" fmla="*/ 19173 w 28614"/>
                  <a:gd name="connsiteY2" fmla="*/ 16096 h 28614"/>
                  <a:gd name="connsiteX3" fmla="*/ 16168 w 28614"/>
                  <a:gd name="connsiteY3" fmla="*/ 19100 h 28614"/>
                  <a:gd name="connsiteX4" fmla="*/ 18449 w 28614"/>
                  <a:gd name="connsiteY4" fmla="*/ 22686 h 28614"/>
                  <a:gd name="connsiteX5" fmla="*/ 22034 w 28614"/>
                  <a:gd name="connsiteY5" fmla="*/ 20404 h 28614"/>
                  <a:gd name="connsiteX6" fmla="*/ 22034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2034" y="19100"/>
                    </a:moveTo>
                    <a:cubicBezTo>
                      <a:pt x="22113" y="17522"/>
                      <a:pt x="20898" y="16179"/>
                      <a:pt x="19320" y="16099"/>
                    </a:cubicBezTo>
                    <a:cubicBezTo>
                      <a:pt x="19270" y="16097"/>
                      <a:pt x="19222" y="16096"/>
                      <a:pt x="19173" y="16096"/>
                    </a:cubicBezTo>
                    <a:cubicBezTo>
                      <a:pt x="17513" y="16096"/>
                      <a:pt x="16168" y="17441"/>
                      <a:pt x="16168" y="19100"/>
                    </a:cubicBezTo>
                    <a:cubicBezTo>
                      <a:pt x="15808" y="20720"/>
                      <a:pt x="16829" y="22325"/>
                      <a:pt x="18449" y="22686"/>
                    </a:cubicBezTo>
                    <a:cubicBezTo>
                      <a:pt x="20070" y="23045"/>
                      <a:pt x="21674" y="22023"/>
                      <a:pt x="22034" y="20404"/>
                    </a:cubicBezTo>
                    <a:cubicBezTo>
                      <a:pt x="22130" y="19975"/>
                      <a:pt x="22130" y="19530"/>
                      <a:pt x="22034" y="1910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nvGrpSpPr>
            <p:cNvPr id="71" name="Group 70">
              <a:extLst>
                <a:ext uri="{FF2B5EF4-FFF2-40B4-BE49-F238E27FC236}">
                  <a16:creationId xmlns:a16="http://schemas.microsoft.com/office/drawing/2014/main" id="{EEB28F5A-6ABD-4309-9C8B-B8EE4F1818B6}"/>
                </a:ext>
              </a:extLst>
            </p:cNvPr>
            <p:cNvGrpSpPr/>
            <p:nvPr/>
          </p:nvGrpSpPr>
          <p:grpSpPr>
            <a:xfrm rot="1348360">
              <a:off x="6419193" y="2147159"/>
              <a:ext cx="816983" cy="341277"/>
              <a:chOff x="4010404" y="4875001"/>
              <a:chExt cx="498331" cy="208165"/>
            </a:xfrm>
            <a:solidFill>
              <a:srgbClr val="74BF4B"/>
            </a:solidFill>
          </p:grpSpPr>
          <p:sp>
            <p:nvSpPr>
              <p:cNvPr id="105" name="Freeform: Shape 104">
                <a:extLst>
                  <a:ext uri="{FF2B5EF4-FFF2-40B4-BE49-F238E27FC236}">
                    <a16:creationId xmlns:a16="http://schemas.microsoft.com/office/drawing/2014/main" id="{4BA8B807-5A70-41CE-B904-3F58EE207E89}"/>
                  </a:ext>
                </a:extLst>
              </p:cNvPr>
              <p:cNvSpPr/>
              <p:nvPr/>
            </p:nvSpPr>
            <p:spPr>
              <a:xfrm>
                <a:off x="4010546" y="4972281"/>
                <a:ext cx="42922" cy="42921"/>
              </a:xfrm>
              <a:custGeom>
                <a:avLst/>
                <a:gdLst>
                  <a:gd name="connsiteX0" fmla="*/ 33123 w 42922"/>
                  <a:gd name="connsiteY0" fmla="*/ 24539 h 42922"/>
                  <a:gd name="connsiteX1" fmla="*/ 24683 w 42922"/>
                  <a:gd name="connsiteY1" fmla="*/ 16096 h 42922"/>
                  <a:gd name="connsiteX2" fmla="*/ 24539 w 42922"/>
                  <a:gd name="connsiteY2" fmla="*/ 16097 h 42922"/>
                  <a:gd name="connsiteX3" fmla="*/ 16097 w 42922"/>
                  <a:gd name="connsiteY3" fmla="*/ 24250 h 42922"/>
                  <a:gd name="connsiteX4" fmla="*/ 16097 w 42922"/>
                  <a:gd name="connsiteY4" fmla="*/ 24539 h 42922"/>
                  <a:gd name="connsiteX5" fmla="*/ 24394 w 42922"/>
                  <a:gd name="connsiteY5" fmla="*/ 33122 h 42922"/>
                  <a:gd name="connsiteX6" fmla="*/ 24539 w 42922"/>
                  <a:gd name="connsiteY6" fmla="*/ 33123 h 42922"/>
                  <a:gd name="connsiteX7" fmla="*/ 33123 w 42922"/>
                  <a:gd name="connsiteY7" fmla="*/ 245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539"/>
                    </a:moveTo>
                    <a:cubicBezTo>
                      <a:pt x="33123" y="19877"/>
                      <a:pt x="29344" y="16097"/>
                      <a:pt x="24683" y="16096"/>
                    </a:cubicBezTo>
                    <a:cubicBezTo>
                      <a:pt x="24634" y="16096"/>
                      <a:pt x="24587" y="16096"/>
                      <a:pt x="24539" y="16097"/>
                    </a:cubicBezTo>
                    <a:cubicBezTo>
                      <a:pt x="19956" y="16017"/>
                      <a:pt x="16177" y="19667"/>
                      <a:pt x="16097" y="24250"/>
                    </a:cubicBezTo>
                    <a:cubicBezTo>
                      <a:pt x="16096" y="24346"/>
                      <a:pt x="16096" y="24443"/>
                      <a:pt x="16097" y="24539"/>
                    </a:cubicBezTo>
                    <a:cubicBezTo>
                      <a:pt x="16018" y="29200"/>
                      <a:pt x="19733" y="33043"/>
                      <a:pt x="24394" y="33122"/>
                    </a:cubicBezTo>
                    <a:cubicBezTo>
                      <a:pt x="24443" y="33123"/>
                      <a:pt x="24490" y="33123"/>
                      <a:pt x="24539" y="33123"/>
                    </a:cubicBezTo>
                    <a:cubicBezTo>
                      <a:pt x="29280" y="33123"/>
                      <a:pt x="33123" y="29280"/>
                      <a:pt x="33123" y="2453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06" name="Freeform: Shape 105">
                <a:extLst>
                  <a:ext uri="{FF2B5EF4-FFF2-40B4-BE49-F238E27FC236}">
                    <a16:creationId xmlns:a16="http://schemas.microsoft.com/office/drawing/2014/main" id="{FE1204CB-A629-4765-BE3E-F7A0887E428F}"/>
                  </a:ext>
                </a:extLst>
              </p:cNvPr>
              <p:cNvSpPr/>
              <p:nvPr/>
            </p:nvSpPr>
            <p:spPr>
              <a:xfrm>
                <a:off x="4062055" y="4972713"/>
                <a:ext cx="42922" cy="42921"/>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6"/>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07" name="Freeform: Shape 106">
                <a:extLst>
                  <a:ext uri="{FF2B5EF4-FFF2-40B4-BE49-F238E27FC236}">
                    <a16:creationId xmlns:a16="http://schemas.microsoft.com/office/drawing/2014/main" id="{AA9C3F0C-615E-4435-B571-BDBC0C433C59}"/>
                  </a:ext>
                </a:extLst>
              </p:cNvPr>
              <p:cNvSpPr/>
              <p:nvPr/>
            </p:nvSpPr>
            <p:spPr>
              <a:xfrm>
                <a:off x="4115135" y="4974864"/>
                <a:ext cx="42922" cy="42921"/>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08" name="Freeform: Shape 107">
                <a:extLst>
                  <a:ext uri="{FF2B5EF4-FFF2-40B4-BE49-F238E27FC236}">
                    <a16:creationId xmlns:a16="http://schemas.microsoft.com/office/drawing/2014/main" id="{676A54E7-2A16-45DC-83CE-CE254F274006}"/>
                  </a:ext>
                </a:extLst>
              </p:cNvPr>
              <p:cNvSpPr/>
              <p:nvPr/>
            </p:nvSpPr>
            <p:spPr>
              <a:xfrm>
                <a:off x="4166928" y="4974001"/>
                <a:ext cx="42922" cy="42921"/>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09" name="Freeform: Shape 108">
                <a:extLst>
                  <a:ext uri="{FF2B5EF4-FFF2-40B4-BE49-F238E27FC236}">
                    <a16:creationId xmlns:a16="http://schemas.microsoft.com/office/drawing/2014/main" id="{0ED95AC9-BE55-4675-9DAC-30014DF972A4}"/>
                  </a:ext>
                </a:extLst>
              </p:cNvPr>
              <p:cNvSpPr/>
              <p:nvPr/>
            </p:nvSpPr>
            <p:spPr>
              <a:xfrm>
                <a:off x="4219079" y="4975507"/>
                <a:ext cx="42922" cy="42921"/>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10" name="Freeform: Shape 109">
                <a:extLst>
                  <a:ext uri="{FF2B5EF4-FFF2-40B4-BE49-F238E27FC236}">
                    <a16:creationId xmlns:a16="http://schemas.microsoft.com/office/drawing/2014/main" id="{5B916784-893E-4BD8-9C2C-E9FB95BF4A43}"/>
                  </a:ext>
                </a:extLst>
              </p:cNvPr>
              <p:cNvSpPr/>
              <p:nvPr/>
            </p:nvSpPr>
            <p:spPr>
              <a:xfrm>
                <a:off x="4271373" y="4975287"/>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11" name="Freeform: Shape 110">
                <a:extLst>
                  <a:ext uri="{FF2B5EF4-FFF2-40B4-BE49-F238E27FC236}">
                    <a16:creationId xmlns:a16="http://schemas.microsoft.com/office/drawing/2014/main" id="{61EF37B5-F787-4EF8-B15B-753E3DC38405}"/>
                  </a:ext>
                </a:extLst>
              </p:cNvPr>
              <p:cNvSpPr/>
              <p:nvPr/>
            </p:nvSpPr>
            <p:spPr>
              <a:xfrm>
                <a:off x="4323524" y="4976690"/>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12" name="Freeform: Shape 111">
                <a:extLst>
                  <a:ext uri="{FF2B5EF4-FFF2-40B4-BE49-F238E27FC236}">
                    <a16:creationId xmlns:a16="http://schemas.microsoft.com/office/drawing/2014/main" id="{3B2035BE-EF64-48CB-A86C-F44C5C91798A}"/>
                  </a:ext>
                </a:extLst>
              </p:cNvPr>
              <p:cNvSpPr/>
              <p:nvPr/>
            </p:nvSpPr>
            <p:spPr>
              <a:xfrm>
                <a:off x="4375820" y="4976717"/>
                <a:ext cx="28615" cy="28615"/>
              </a:xfrm>
              <a:custGeom>
                <a:avLst/>
                <a:gdLst>
                  <a:gd name="connsiteX0" fmla="*/ 24392 w 28614"/>
                  <a:gd name="connsiteY0" fmla="*/ 20102 h 28614"/>
                  <a:gd name="connsiteX1" fmla="*/ 20103 w 28614"/>
                  <a:gd name="connsiteY1" fmla="*/ 16098 h 28614"/>
                  <a:gd name="connsiteX2" fmla="*/ 16098 w 28614"/>
                  <a:gd name="connsiteY2" fmla="*/ 20388 h 28614"/>
                  <a:gd name="connsiteX3" fmla="*/ 20243 w 28614"/>
                  <a:gd name="connsiteY3" fmla="*/ 24394 h 28614"/>
                  <a:gd name="connsiteX4" fmla="*/ 24395 w 28614"/>
                  <a:gd name="connsiteY4" fmla="*/ 20248 h 28614"/>
                  <a:gd name="connsiteX5" fmla="*/ 24392 w 28614"/>
                  <a:gd name="connsiteY5" fmla="*/ 201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4392" y="20102"/>
                    </a:moveTo>
                    <a:cubicBezTo>
                      <a:pt x="24314" y="17811"/>
                      <a:pt x="22392" y="16018"/>
                      <a:pt x="20103" y="16098"/>
                    </a:cubicBezTo>
                    <a:cubicBezTo>
                      <a:pt x="17812" y="16177"/>
                      <a:pt x="16020" y="18097"/>
                      <a:pt x="16098" y="20388"/>
                    </a:cubicBezTo>
                    <a:cubicBezTo>
                      <a:pt x="16176" y="22621"/>
                      <a:pt x="18008" y="24393"/>
                      <a:pt x="20243" y="24394"/>
                    </a:cubicBezTo>
                    <a:cubicBezTo>
                      <a:pt x="22535" y="24395"/>
                      <a:pt x="24394" y="22538"/>
                      <a:pt x="24395" y="20248"/>
                    </a:cubicBezTo>
                    <a:cubicBezTo>
                      <a:pt x="24395" y="20199"/>
                      <a:pt x="24394" y="20150"/>
                      <a:pt x="24392" y="20102"/>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13" name="Freeform: Shape 112">
                <a:extLst>
                  <a:ext uri="{FF2B5EF4-FFF2-40B4-BE49-F238E27FC236}">
                    <a16:creationId xmlns:a16="http://schemas.microsoft.com/office/drawing/2014/main" id="{15695611-0620-4079-83CE-CBD00CEFA891}"/>
                  </a:ext>
                </a:extLst>
              </p:cNvPr>
              <p:cNvSpPr/>
              <p:nvPr/>
            </p:nvSpPr>
            <p:spPr>
              <a:xfrm>
                <a:off x="4428613" y="4977147"/>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728" y="16169"/>
                      <a:pt x="16169" y="17728"/>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14" name="Freeform: Shape 113">
                <a:extLst>
                  <a:ext uri="{FF2B5EF4-FFF2-40B4-BE49-F238E27FC236}">
                    <a16:creationId xmlns:a16="http://schemas.microsoft.com/office/drawing/2014/main" id="{83EF304E-BF08-4560-BD3F-1C07B3142144}"/>
                  </a:ext>
                </a:extLst>
              </p:cNvPr>
              <p:cNvSpPr/>
              <p:nvPr/>
            </p:nvSpPr>
            <p:spPr>
              <a:xfrm>
                <a:off x="4480119" y="4977859"/>
                <a:ext cx="28615" cy="28615"/>
              </a:xfrm>
              <a:custGeom>
                <a:avLst/>
                <a:gdLst>
                  <a:gd name="connsiteX0" fmla="*/ 21962 w 28614"/>
                  <a:gd name="connsiteY0" fmla="*/ 18961 h 28614"/>
                  <a:gd name="connsiteX1" fmla="*/ 19100 w 28614"/>
                  <a:gd name="connsiteY1" fmla="*/ 16100 h 28614"/>
                  <a:gd name="connsiteX2" fmla="*/ 16100 w 28614"/>
                  <a:gd name="connsiteY2" fmla="*/ 18814 h 28614"/>
                  <a:gd name="connsiteX3" fmla="*/ 16096 w 28614"/>
                  <a:gd name="connsiteY3" fmla="*/ 18961 h 28614"/>
                  <a:gd name="connsiteX4" fmla="*/ 19100 w 28614"/>
                  <a:gd name="connsiteY4" fmla="*/ 21966 h 28614"/>
                  <a:gd name="connsiteX5" fmla="*/ 21966 w 28614"/>
                  <a:gd name="connsiteY5" fmla="*/ 19107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4"/>
                    </a:cubicBezTo>
                    <a:cubicBezTo>
                      <a:pt x="16097" y="18864"/>
                      <a:pt x="16096" y="18912"/>
                      <a:pt x="16096" y="18961"/>
                    </a:cubicBezTo>
                    <a:cubicBezTo>
                      <a:pt x="16096" y="20621"/>
                      <a:pt x="17441" y="21966"/>
                      <a:pt x="19100" y="21966"/>
                    </a:cubicBezTo>
                    <a:cubicBezTo>
                      <a:pt x="20682" y="21967"/>
                      <a:pt x="21963" y="20688"/>
                      <a:pt x="21966" y="19107"/>
                    </a:cubicBezTo>
                    <a:cubicBezTo>
                      <a:pt x="21966" y="19058"/>
                      <a:pt x="21965" y="19010"/>
                      <a:pt x="21962" y="18961"/>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15" name="Freeform: Shape 114">
                <a:extLst>
                  <a:ext uri="{FF2B5EF4-FFF2-40B4-BE49-F238E27FC236}">
                    <a16:creationId xmlns:a16="http://schemas.microsoft.com/office/drawing/2014/main" id="{EC85F070-7DF8-413D-823C-929ED142D188}"/>
                  </a:ext>
                </a:extLst>
              </p:cNvPr>
              <p:cNvSpPr/>
              <p:nvPr/>
            </p:nvSpPr>
            <p:spPr>
              <a:xfrm>
                <a:off x="4010404" y="5004617"/>
                <a:ext cx="42922" cy="42921"/>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16" name="Freeform: Shape 115">
                <a:extLst>
                  <a:ext uri="{FF2B5EF4-FFF2-40B4-BE49-F238E27FC236}">
                    <a16:creationId xmlns:a16="http://schemas.microsoft.com/office/drawing/2014/main" id="{1F7F60E2-BA78-4CC6-B411-EB73D7753694}"/>
                  </a:ext>
                </a:extLst>
              </p:cNvPr>
              <p:cNvSpPr/>
              <p:nvPr/>
            </p:nvSpPr>
            <p:spPr>
              <a:xfrm>
                <a:off x="4062057" y="5005047"/>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96" y="32119"/>
                      <a:pt x="32119" y="28596"/>
                      <a:pt x="32119" y="2425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17" name="Freeform: Shape 116">
                <a:extLst>
                  <a:ext uri="{FF2B5EF4-FFF2-40B4-BE49-F238E27FC236}">
                    <a16:creationId xmlns:a16="http://schemas.microsoft.com/office/drawing/2014/main" id="{B1C4F265-C2E9-4958-8B14-67996280700D}"/>
                  </a:ext>
                </a:extLst>
              </p:cNvPr>
              <p:cNvSpPr/>
              <p:nvPr/>
            </p:nvSpPr>
            <p:spPr>
              <a:xfrm>
                <a:off x="4114849" y="5005905"/>
                <a:ext cx="42922" cy="42921"/>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18" name="Freeform: Shape 117">
                <a:extLst>
                  <a:ext uri="{FF2B5EF4-FFF2-40B4-BE49-F238E27FC236}">
                    <a16:creationId xmlns:a16="http://schemas.microsoft.com/office/drawing/2014/main" id="{B18E807E-0AF5-42EF-A92E-93C4DAF70D53}"/>
                  </a:ext>
                </a:extLst>
              </p:cNvPr>
              <p:cNvSpPr/>
              <p:nvPr/>
            </p:nvSpPr>
            <p:spPr>
              <a:xfrm>
                <a:off x="4166929" y="5006479"/>
                <a:ext cx="42922" cy="42921"/>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19" name="Freeform: Shape 118">
                <a:extLst>
                  <a:ext uri="{FF2B5EF4-FFF2-40B4-BE49-F238E27FC236}">
                    <a16:creationId xmlns:a16="http://schemas.microsoft.com/office/drawing/2014/main" id="{4011C4DC-452D-4FE1-8531-566F97AE13A0}"/>
                  </a:ext>
                </a:extLst>
              </p:cNvPr>
              <p:cNvSpPr/>
              <p:nvPr/>
            </p:nvSpPr>
            <p:spPr>
              <a:xfrm>
                <a:off x="4219009" y="5006907"/>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20" name="Freeform: Shape 119">
                <a:extLst>
                  <a:ext uri="{FF2B5EF4-FFF2-40B4-BE49-F238E27FC236}">
                    <a16:creationId xmlns:a16="http://schemas.microsoft.com/office/drawing/2014/main" id="{5EBF1826-EFAB-42B6-B5DA-34411CA92491}"/>
                  </a:ext>
                </a:extLst>
              </p:cNvPr>
              <p:cNvSpPr/>
              <p:nvPr/>
            </p:nvSpPr>
            <p:spPr>
              <a:xfrm>
                <a:off x="4271373" y="5007764"/>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21" name="Freeform: Shape 120">
                <a:extLst>
                  <a:ext uri="{FF2B5EF4-FFF2-40B4-BE49-F238E27FC236}">
                    <a16:creationId xmlns:a16="http://schemas.microsoft.com/office/drawing/2014/main" id="{86F7F06A-657C-4564-8AB7-0805C2426379}"/>
                  </a:ext>
                </a:extLst>
              </p:cNvPr>
              <p:cNvSpPr/>
              <p:nvPr/>
            </p:nvSpPr>
            <p:spPr>
              <a:xfrm>
                <a:off x="4323452" y="5008338"/>
                <a:ext cx="28615" cy="28615"/>
              </a:xfrm>
              <a:custGeom>
                <a:avLst/>
                <a:gdLst>
                  <a:gd name="connsiteX0" fmla="*/ 25825 w 28614"/>
                  <a:gd name="connsiteY0" fmla="*/ 20959 h 28614"/>
                  <a:gd name="connsiteX1" fmla="*/ 20959 w 28614"/>
                  <a:gd name="connsiteY1" fmla="*/ 16096 h 28614"/>
                  <a:gd name="connsiteX2" fmla="*/ 16096 w 28614"/>
                  <a:gd name="connsiteY2" fmla="*/ 20963 h 28614"/>
                  <a:gd name="connsiteX3" fmla="*/ 20963 w 28614"/>
                  <a:gd name="connsiteY3" fmla="*/ 25825 h 28614"/>
                  <a:gd name="connsiteX4" fmla="*/ 21104 w 28614"/>
                  <a:gd name="connsiteY4" fmla="*/ 25824 h 28614"/>
                  <a:gd name="connsiteX5" fmla="*/ 25825 w 28614"/>
                  <a:gd name="connsiteY5" fmla="*/ 2095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5" y="20959"/>
                    </a:moveTo>
                    <a:cubicBezTo>
                      <a:pt x="25824" y="18272"/>
                      <a:pt x="23644" y="16096"/>
                      <a:pt x="20959" y="16096"/>
                    </a:cubicBezTo>
                    <a:cubicBezTo>
                      <a:pt x="18272" y="16097"/>
                      <a:pt x="16094" y="18276"/>
                      <a:pt x="16096" y="20963"/>
                    </a:cubicBezTo>
                    <a:cubicBezTo>
                      <a:pt x="16097" y="23650"/>
                      <a:pt x="18276" y="25826"/>
                      <a:pt x="20963" y="25825"/>
                    </a:cubicBezTo>
                    <a:cubicBezTo>
                      <a:pt x="21009" y="25825"/>
                      <a:pt x="21056" y="25825"/>
                      <a:pt x="21104" y="25824"/>
                    </a:cubicBezTo>
                    <a:cubicBezTo>
                      <a:pt x="23735" y="25746"/>
                      <a:pt x="25826" y="23590"/>
                      <a:pt x="25825" y="2095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22" name="Freeform: Shape 121">
                <a:extLst>
                  <a:ext uri="{FF2B5EF4-FFF2-40B4-BE49-F238E27FC236}">
                    <a16:creationId xmlns:a16="http://schemas.microsoft.com/office/drawing/2014/main" id="{31511CBA-D789-41AE-AE5A-0C2DE6F6D536}"/>
                  </a:ext>
                </a:extLst>
              </p:cNvPr>
              <p:cNvSpPr/>
              <p:nvPr/>
            </p:nvSpPr>
            <p:spPr>
              <a:xfrm>
                <a:off x="4375817" y="5009052"/>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23" name="Freeform: Shape 122">
                <a:extLst>
                  <a:ext uri="{FF2B5EF4-FFF2-40B4-BE49-F238E27FC236}">
                    <a16:creationId xmlns:a16="http://schemas.microsoft.com/office/drawing/2014/main" id="{57CD528D-4C75-42B5-9601-2C09A48CA08E}"/>
                  </a:ext>
                </a:extLst>
              </p:cNvPr>
              <p:cNvSpPr/>
              <p:nvPr/>
            </p:nvSpPr>
            <p:spPr>
              <a:xfrm>
                <a:off x="4428613" y="5009625"/>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24" name="Freeform: Shape 123">
                <a:extLst>
                  <a:ext uri="{FF2B5EF4-FFF2-40B4-BE49-F238E27FC236}">
                    <a16:creationId xmlns:a16="http://schemas.microsoft.com/office/drawing/2014/main" id="{1E1D3640-CE81-410A-8EDA-6C8C8821E687}"/>
                  </a:ext>
                </a:extLst>
              </p:cNvPr>
              <p:cNvSpPr/>
              <p:nvPr/>
            </p:nvSpPr>
            <p:spPr>
              <a:xfrm>
                <a:off x="4479977" y="5010199"/>
                <a:ext cx="28615" cy="28615"/>
              </a:xfrm>
              <a:custGeom>
                <a:avLst/>
                <a:gdLst>
                  <a:gd name="connsiteX0" fmla="*/ 22105 w 28614"/>
                  <a:gd name="connsiteY0" fmla="*/ 19098 h 28614"/>
                  <a:gd name="connsiteX1" fmla="*/ 19098 w 28614"/>
                  <a:gd name="connsiteY1" fmla="*/ 16096 h 28614"/>
                  <a:gd name="connsiteX2" fmla="*/ 16096 w 28614"/>
                  <a:gd name="connsiteY2" fmla="*/ 19105 h 28614"/>
                  <a:gd name="connsiteX3" fmla="*/ 19103 w 28614"/>
                  <a:gd name="connsiteY3" fmla="*/ 22105 h 28614"/>
                  <a:gd name="connsiteX4" fmla="*/ 19244 w 28614"/>
                  <a:gd name="connsiteY4" fmla="*/ 22102 h 28614"/>
                  <a:gd name="connsiteX5" fmla="*/ 22105 w 28614"/>
                  <a:gd name="connsiteY5" fmla="*/ 1909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2105" y="19098"/>
                    </a:moveTo>
                    <a:cubicBezTo>
                      <a:pt x="22104" y="17438"/>
                      <a:pt x="20756" y="16094"/>
                      <a:pt x="19098" y="16096"/>
                    </a:cubicBezTo>
                    <a:cubicBezTo>
                      <a:pt x="17438" y="16099"/>
                      <a:pt x="16094" y="17445"/>
                      <a:pt x="16096" y="19105"/>
                    </a:cubicBezTo>
                    <a:cubicBezTo>
                      <a:pt x="16097" y="20764"/>
                      <a:pt x="17445" y="22108"/>
                      <a:pt x="19103" y="22105"/>
                    </a:cubicBezTo>
                    <a:cubicBezTo>
                      <a:pt x="19151" y="22105"/>
                      <a:pt x="19196" y="22105"/>
                      <a:pt x="19244" y="22102"/>
                    </a:cubicBezTo>
                    <a:cubicBezTo>
                      <a:pt x="20847" y="22026"/>
                      <a:pt x="22107" y="20703"/>
                      <a:pt x="22105" y="19098"/>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25" name="Freeform: Shape 124">
                <a:extLst>
                  <a:ext uri="{FF2B5EF4-FFF2-40B4-BE49-F238E27FC236}">
                    <a16:creationId xmlns:a16="http://schemas.microsoft.com/office/drawing/2014/main" id="{D64928E1-2E50-4409-BDD2-56F0F02EED18}"/>
                  </a:ext>
                </a:extLst>
              </p:cNvPr>
              <p:cNvSpPr/>
              <p:nvPr/>
            </p:nvSpPr>
            <p:spPr>
              <a:xfrm>
                <a:off x="4010547" y="5037094"/>
                <a:ext cx="42922" cy="42921"/>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26" name="Freeform: Shape 125">
                <a:extLst>
                  <a:ext uri="{FF2B5EF4-FFF2-40B4-BE49-F238E27FC236}">
                    <a16:creationId xmlns:a16="http://schemas.microsoft.com/office/drawing/2014/main" id="{E515998D-E96D-430D-851E-4F0889CC8DD6}"/>
                  </a:ext>
                </a:extLst>
              </p:cNvPr>
              <p:cNvSpPr/>
              <p:nvPr/>
            </p:nvSpPr>
            <p:spPr>
              <a:xfrm>
                <a:off x="4062057" y="5037525"/>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27" name="Freeform: Shape 126">
                <a:extLst>
                  <a:ext uri="{FF2B5EF4-FFF2-40B4-BE49-F238E27FC236}">
                    <a16:creationId xmlns:a16="http://schemas.microsoft.com/office/drawing/2014/main" id="{FA35F16A-A9E4-4D78-BD7C-29EDDFF49910}"/>
                  </a:ext>
                </a:extLst>
              </p:cNvPr>
              <p:cNvSpPr/>
              <p:nvPr/>
            </p:nvSpPr>
            <p:spPr>
              <a:xfrm>
                <a:off x="4114850" y="5038382"/>
                <a:ext cx="42922" cy="42921"/>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89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89"/>
                      <a:pt x="23393" y="30689"/>
                    </a:cubicBezTo>
                    <a:cubicBezTo>
                      <a:pt x="27423" y="30689"/>
                      <a:pt x="30689" y="27423"/>
                      <a:pt x="30689" y="233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28" name="Freeform: Shape 127">
                <a:extLst>
                  <a:ext uri="{FF2B5EF4-FFF2-40B4-BE49-F238E27FC236}">
                    <a16:creationId xmlns:a16="http://schemas.microsoft.com/office/drawing/2014/main" id="{5C97ABA6-2321-4B84-B69A-7BB0B4ECD8AD}"/>
                  </a:ext>
                </a:extLst>
              </p:cNvPr>
              <p:cNvSpPr/>
              <p:nvPr/>
            </p:nvSpPr>
            <p:spPr>
              <a:xfrm>
                <a:off x="4166931" y="5038813"/>
                <a:ext cx="42922" cy="42921"/>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29" name="Freeform: Shape 128">
                <a:extLst>
                  <a:ext uri="{FF2B5EF4-FFF2-40B4-BE49-F238E27FC236}">
                    <a16:creationId xmlns:a16="http://schemas.microsoft.com/office/drawing/2014/main" id="{4ADC6C0B-CF45-4579-AEC0-2F0E26229998}"/>
                  </a:ext>
                </a:extLst>
              </p:cNvPr>
              <p:cNvSpPr/>
              <p:nvPr/>
            </p:nvSpPr>
            <p:spPr>
              <a:xfrm>
                <a:off x="4219010" y="5039385"/>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30" name="Freeform: Shape 129">
                <a:extLst>
                  <a:ext uri="{FF2B5EF4-FFF2-40B4-BE49-F238E27FC236}">
                    <a16:creationId xmlns:a16="http://schemas.microsoft.com/office/drawing/2014/main" id="{CAC4208E-B903-4858-97AC-AC39BD16FCEF}"/>
                  </a:ext>
                </a:extLst>
              </p:cNvPr>
              <p:cNvSpPr/>
              <p:nvPr/>
            </p:nvSpPr>
            <p:spPr>
              <a:xfrm>
                <a:off x="4271373" y="5040245"/>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31" name="Freeform: Shape 130">
                <a:extLst>
                  <a:ext uri="{FF2B5EF4-FFF2-40B4-BE49-F238E27FC236}">
                    <a16:creationId xmlns:a16="http://schemas.microsoft.com/office/drawing/2014/main" id="{D85A12A5-75BC-4506-BAAB-2D8AE8DAA858}"/>
                  </a:ext>
                </a:extLst>
              </p:cNvPr>
              <p:cNvSpPr/>
              <p:nvPr/>
            </p:nvSpPr>
            <p:spPr>
              <a:xfrm>
                <a:off x="4323455" y="5040675"/>
                <a:ext cx="28615" cy="28615"/>
              </a:xfrm>
              <a:custGeom>
                <a:avLst/>
                <a:gdLst>
                  <a:gd name="connsiteX0" fmla="*/ 25823 w 28614"/>
                  <a:gd name="connsiteY0" fmla="*/ 21101 h 28614"/>
                  <a:gd name="connsiteX1" fmla="*/ 21101 w 28614"/>
                  <a:gd name="connsiteY1" fmla="*/ 16098 h 28614"/>
                  <a:gd name="connsiteX2" fmla="*/ 16098 w 28614"/>
                  <a:gd name="connsiteY2" fmla="*/ 20820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20"/>
                    </a:cubicBezTo>
                    <a:cubicBezTo>
                      <a:pt x="16019" y="23505"/>
                      <a:pt x="18134" y="25746"/>
                      <a:pt x="20820" y="25823"/>
                    </a:cubicBezTo>
                    <a:cubicBezTo>
                      <a:pt x="20914" y="25826"/>
                      <a:pt x="21007" y="25826"/>
                      <a:pt x="21101" y="25823"/>
                    </a:cubicBezTo>
                    <a:cubicBezTo>
                      <a:pt x="23677" y="25748"/>
                      <a:pt x="25748" y="23678"/>
                      <a:pt x="25823" y="21101"/>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32" name="Freeform: Shape 131">
                <a:extLst>
                  <a:ext uri="{FF2B5EF4-FFF2-40B4-BE49-F238E27FC236}">
                    <a16:creationId xmlns:a16="http://schemas.microsoft.com/office/drawing/2014/main" id="{5DA9D51A-4BF5-47A9-ABB5-16D14EE2545B}"/>
                  </a:ext>
                </a:extLst>
              </p:cNvPr>
              <p:cNvSpPr/>
              <p:nvPr/>
            </p:nvSpPr>
            <p:spPr>
              <a:xfrm>
                <a:off x="4375818" y="5041533"/>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33" name="Freeform: Shape 132">
                <a:extLst>
                  <a:ext uri="{FF2B5EF4-FFF2-40B4-BE49-F238E27FC236}">
                    <a16:creationId xmlns:a16="http://schemas.microsoft.com/office/drawing/2014/main" id="{CF322787-28EA-4424-80B6-87F4730D417E}"/>
                  </a:ext>
                </a:extLst>
              </p:cNvPr>
              <p:cNvSpPr/>
              <p:nvPr/>
            </p:nvSpPr>
            <p:spPr>
              <a:xfrm>
                <a:off x="4429194" y="5041961"/>
                <a:ext cx="28615" cy="28615"/>
              </a:xfrm>
              <a:custGeom>
                <a:avLst/>
                <a:gdLst>
                  <a:gd name="connsiteX0" fmla="*/ 22668 w 28614"/>
                  <a:gd name="connsiteY0" fmla="*/ 19816 h 28614"/>
                  <a:gd name="connsiteX1" fmla="*/ 19091 w 28614"/>
                  <a:gd name="connsiteY1" fmla="*/ 16096 h 28614"/>
                  <a:gd name="connsiteX2" fmla="*/ 16168 w 28614"/>
                  <a:gd name="connsiteY2" fmla="*/ 20470 h 28614"/>
                  <a:gd name="connsiteX3" fmla="*/ 19091 w 28614"/>
                  <a:gd name="connsiteY3" fmla="*/ 23393 h 28614"/>
                  <a:gd name="connsiteX4" fmla="*/ 22668 w 28614"/>
                  <a:gd name="connsiteY4" fmla="*/ 19816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2668" y="19816"/>
                    </a:moveTo>
                    <a:cubicBezTo>
                      <a:pt x="22669" y="17816"/>
                      <a:pt x="21090" y="16173"/>
                      <a:pt x="19091" y="16096"/>
                    </a:cubicBezTo>
                    <a:cubicBezTo>
                      <a:pt x="17077" y="16497"/>
                      <a:pt x="15767" y="18455"/>
                      <a:pt x="16168" y="20470"/>
                    </a:cubicBezTo>
                    <a:cubicBezTo>
                      <a:pt x="16463" y="21946"/>
                      <a:pt x="17616" y="23099"/>
                      <a:pt x="19091" y="23393"/>
                    </a:cubicBezTo>
                    <a:cubicBezTo>
                      <a:pt x="21067" y="23393"/>
                      <a:pt x="22668" y="21792"/>
                      <a:pt x="22668" y="19816"/>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34" name="Freeform: Shape 133">
                <a:extLst>
                  <a:ext uri="{FF2B5EF4-FFF2-40B4-BE49-F238E27FC236}">
                    <a16:creationId xmlns:a16="http://schemas.microsoft.com/office/drawing/2014/main" id="{43F33994-EDDF-4B70-887C-FFE3FB65ECB5}"/>
                  </a:ext>
                </a:extLst>
              </p:cNvPr>
              <p:cNvSpPr/>
              <p:nvPr/>
            </p:nvSpPr>
            <p:spPr>
              <a:xfrm>
                <a:off x="4480120" y="5042671"/>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1"/>
                      <a:pt x="21962" y="1910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35" name="Freeform: Shape 134">
                <a:extLst>
                  <a:ext uri="{FF2B5EF4-FFF2-40B4-BE49-F238E27FC236}">
                    <a16:creationId xmlns:a16="http://schemas.microsoft.com/office/drawing/2014/main" id="{33C0C55A-1392-411D-83F3-118ECA4A134B}"/>
                  </a:ext>
                </a:extLst>
              </p:cNvPr>
              <p:cNvSpPr/>
              <p:nvPr/>
            </p:nvSpPr>
            <p:spPr>
              <a:xfrm>
                <a:off x="4010546" y="4875001"/>
                <a:ext cx="42922" cy="42921"/>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36" name="Freeform: Shape 135">
                <a:extLst>
                  <a:ext uri="{FF2B5EF4-FFF2-40B4-BE49-F238E27FC236}">
                    <a16:creationId xmlns:a16="http://schemas.microsoft.com/office/drawing/2014/main" id="{72E90C71-CA2E-4C43-A986-7C79F1B08934}"/>
                  </a:ext>
                </a:extLst>
              </p:cNvPr>
              <p:cNvSpPr/>
              <p:nvPr/>
            </p:nvSpPr>
            <p:spPr>
              <a:xfrm>
                <a:off x="4062056" y="4875421"/>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37" name="Freeform: Shape 136">
                <a:extLst>
                  <a:ext uri="{FF2B5EF4-FFF2-40B4-BE49-F238E27FC236}">
                    <a16:creationId xmlns:a16="http://schemas.microsoft.com/office/drawing/2014/main" id="{5769FEB0-F61B-4E5D-9195-8350F8DB5949}"/>
                  </a:ext>
                </a:extLst>
              </p:cNvPr>
              <p:cNvSpPr/>
              <p:nvPr/>
            </p:nvSpPr>
            <p:spPr>
              <a:xfrm>
                <a:off x="4115136" y="4877714"/>
                <a:ext cx="42922" cy="42921"/>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38" name="Freeform: Shape 137">
                <a:extLst>
                  <a:ext uri="{FF2B5EF4-FFF2-40B4-BE49-F238E27FC236}">
                    <a16:creationId xmlns:a16="http://schemas.microsoft.com/office/drawing/2014/main" id="{D30CE980-5223-4C7E-A314-FA6C5862F1E1}"/>
                  </a:ext>
                </a:extLst>
              </p:cNvPr>
              <p:cNvSpPr/>
              <p:nvPr/>
            </p:nvSpPr>
            <p:spPr>
              <a:xfrm>
                <a:off x="4166931" y="4876718"/>
                <a:ext cx="42922" cy="42921"/>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39" name="Freeform: Shape 138">
                <a:extLst>
                  <a:ext uri="{FF2B5EF4-FFF2-40B4-BE49-F238E27FC236}">
                    <a16:creationId xmlns:a16="http://schemas.microsoft.com/office/drawing/2014/main" id="{3D64644F-DF33-4B58-96CF-A7F69A74FF90}"/>
                  </a:ext>
                </a:extLst>
              </p:cNvPr>
              <p:cNvSpPr/>
              <p:nvPr/>
            </p:nvSpPr>
            <p:spPr>
              <a:xfrm>
                <a:off x="4219010" y="4877282"/>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1"/>
                      <a:pt x="22296" y="28401"/>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40" name="Freeform: Shape 139">
                <a:extLst>
                  <a:ext uri="{FF2B5EF4-FFF2-40B4-BE49-F238E27FC236}">
                    <a16:creationId xmlns:a16="http://schemas.microsoft.com/office/drawing/2014/main" id="{22B56626-7E1D-45F4-A708-8189FCD8FB12}"/>
                  </a:ext>
                </a:extLst>
              </p:cNvPr>
              <p:cNvSpPr/>
              <p:nvPr/>
            </p:nvSpPr>
            <p:spPr>
              <a:xfrm>
                <a:off x="4271374" y="4878141"/>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41" name="Freeform: Shape 140">
                <a:extLst>
                  <a:ext uri="{FF2B5EF4-FFF2-40B4-BE49-F238E27FC236}">
                    <a16:creationId xmlns:a16="http://schemas.microsoft.com/office/drawing/2014/main" id="{745ECC08-4E9B-46AC-B51C-8EB996FB27DD}"/>
                  </a:ext>
                </a:extLst>
              </p:cNvPr>
              <p:cNvSpPr/>
              <p:nvPr/>
            </p:nvSpPr>
            <p:spPr>
              <a:xfrm>
                <a:off x="4323455" y="4878585"/>
                <a:ext cx="28615" cy="28615"/>
              </a:xfrm>
              <a:custGeom>
                <a:avLst/>
                <a:gdLst>
                  <a:gd name="connsiteX0" fmla="*/ 25823 w 28614"/>
                  <a:gd name="connsiteY0" fmla="*/ 21101 h 28614"/>
                  <a:gd name="connsiteX1" fmla="*/ 21101 w 28614"/>
                  <a:gd name="connsiteY1" fmla="*/ 16098 h 28614"/>
                  <a:gd name="connsiteX2" fmla="*/ 16098 w 28614"/>
                  <a:gd name="connsiteY2" fmla="*/ 20819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19"/>
                    </a:cubicBezTo>
                    <a:cubicBezTo>
                      <a:pt x="16019" y="23505"/>
                      <a:pt x="18134" y="25746"/>
                      <a:pt x="20820" y="25823"/>
                    </a:cubicBezTo>
                    <a:cubicBezTo>
                      <a:pt x="20914" y="25826"/>
                      <a:pt x="21007" y="25826"/>
                      <a:pt x="21101" y="25823"/>
                    </a:cubicBezTo>
                    <a:cubicBezTo>
                      <a:pt x="23677" y="25748"/>
                      <a:pt x="25748" y="23677"/>
                      <a:pt x="25823" y="21101"/>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42" name="Freeform: Shape 141">
                <a:extLst>
                  <a:ext uri="{FF2B5EF4-FFF2-40B4-BE49-F238E27FC236}">
                    <a16:creationId xmlns:a16="http://schemas.microsoft.com/office/drawing/2014/main" id="{B10B3B31-6093-4E1E-9E13-8BDC0C684006}"/>
                  </a:ext>
                </a:extLst>
              </p:cNvPr>
              <p:cNvSpPr/>
              <p:nvPr/>
            </p:nvSpPr>
            <p:spPr>
              <a:xfrm>
                <a:off x="4375818" y="4879446"/>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43" name="Freeform: Shape 142">
                <a:extLst>
                  <a:ext uri="{FF2B5EF4-FFF2-40B4-BE49-F238E27FC236}">
                    <a16:creationId xmlns:a16="http://schemas.microsoft.com/office/drawing/2014/main" id="{62F22530-F99F-46D0-86E8-04E7020ED9AA}"/>
                  </a:ext>
                </a:extLst>
              </p:cNvPr>
              <p:cNvSpPr/>
              <p:nvPr/>
            </p:nvSpPr>
            <p:spPr>
              <a:xfrm>
                <a:off x="4427898" y="4879796"/>
                <a:ext cx="28615" cy="28615"/>
              </a:xfrm>
              <a:custGeom>
                <a:avLst/>
                <a:gdLst>
                  <a:gd name="connsiteX0" fmla="*/ 23965 w 28614"/>
                  <a:gd name="connsiteY0" fmla="*/ 19889 h 28614"/>
                  <a:gd name="connsiteX1" fmla="*/ 20611 w 28614"/>
                  <a:gd name="connsiteY1" fmla="*/ 16102 h 28614"/>
                  <a:gd name="connsiteX2" fmla="*/ 19673 w 28614"/>
                  <a:gd name="connsiteY2" fmla="*/ 16169 h 28614"/>
                  <a:gd name="connsiteX3" fmla="*/ 16096 w 28614"/>
                  <a:gd name="connsiteY3" fmla="*/ 19746 h 28614"/>
                  <a:gd name="connsiteX4" fmla="*/ 19673 w 28614"/>
                  <a:gd name="connsiteY4" fmla="*/ 23323 h 28614"/>
                  <a:gd name="connsiteX5" fmla="*/ 23250 w 28614"/>
                  <a:gd name="connsiteY5" fmla="*/ 1974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965" y="19889"/>
                    </a:moveTo>
                    <a:cubicBezTo>
                      <a:pt x="24085" y="17918"/>
                      <a:pt x="22583" y="16222"/>
                      <a:pt x="20611" y="16102"/>
                    </a:cubicBezTo>
                    <a:cubicBezTo>
                      <a:pt x="20297" y="16084"/>
                      <a:pt x="19982" y="16106"/>
                      <a:pt x="19673" y="16169"/>
                    </a:cubicBezTo>
                    <a:cubicBezTo>
                      <a:pt x="17697" y="16169"/>
                      <a:pt x="16096" y="17770"/>
                      <a:pt x="16096" y="19746"/>
                    </a:cubicBezTo>
                    <a:cubicBezTo>
                      <a:pt x="16169" y="21691"/>
                      <a:pt x="17728" y="23250"/>
                      <a:pt x="19673" y="23323"/>
                    </a:cubicBezTo>
                    <a:cubicBezTo>
                      <a:pt x="21649" y="23323"/>
                      <a:pt x="23250" y="21722"/>
                      <a:pt x="23250" y="19746"/>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44" name="Freeform: Shape 143">
                <a:extLst>
                  <a:ext uri="{FF2B5EF4-FFF2-40B4-BE49-F238E27FC236}">
                    <a16:creationId xmlns:a16="http://schemas.microsoft.com/office/drawing/2014/main" id="{BE4411C0-F289-42D0-AB54-5AC12199DE45}"/>
                  </a:ext>
                </a:extLst>
              </p:cNvPr>
              <p:cNvSpPr/>
              <p:nvPr/>
            </p:nvSpPr>
            <p:spPr>
              <a:xfrm>
                <a:off x="4480120" y="4880597"/>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0"/>
                      <a:pt x="21962" y="1910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45" name="Freeform: Shape 144">
                <a:extLst>
                  <a:ext uri="{FF2B5EF4-FFF2-40B4-BE49-F238E27FC236}">
                    <a16:creationId xmlns:a16="http://schemas.microsoft.com/office/drawing/2014/main" id="{06F78E15-BE49-4AD5-8675-300A6E5C2FDF}"/>
                  </a:ext>
                </a:extLst>
              </p:cNvPr>
              <p:cNvSpPr/>
              <p:nvPr/>
            </p:nvSpPr>
            <p:spPr>
              <a:xfrm>
                <a:off x="4010404" y="4907366"/>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46" name="Freeform: Shape 145">
                <a:extLst>
                  <a:ext uri="{FF2B5EF4-FFF2-40B4-BE49-F238E27FC236}">
                    <a16:creationId xmlns:a16="http://schemas.microsoft.com/office/drawing/2014/main" id="{CAEB702F-BFF7-438B-9FB3-ABA295CF14AA}"/>
                  </a:ext>
                </a:extLst>
              </p:cNvPr>
              <p:cNvSpPr/>
              <p:nvPr/>
            </p:nvSpPr>
            <p:spPr>
              <a:xfrm>
                <a:off x="4062054" y="4907955"/>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8"/>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47" name="Freeform: Shape 146">
                <a:extLst>
                  <a:ext uri="{FF2B5EF4-FFF2-40B4-BE49-F238E27FC236}">
                    <a16:creationId xmlns:a16="http://schemas.microsoft.com/office/drawing/2014/main" id="{047DB61C-F19C-4207-A5A9-EB6BBF2A1481}"/>
                  </a:ext>
                </a:extLst>
              </p:cNvPr>
              <p:cNvSpPr/>
              <p:nvPr/>
            </p:nvSpPr>
            <p:spPr>
              <a:xfrm>
                <a:off x="4114850" y="4908669"/>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48" name="Freeform: Shape 147">
                <a:extLst>
                  <a:ext uri="{FF2B5EF4-FFF2-40B4-BE49-F238E27FC236}">
                    <a16:creationId xmlns:a16="http://schemas.microsoft.com/office/drawing/2014/main" id="{42C348EC-4F8E-403A-AD72-A759FA879B35}"/>
                  </a:ext>
                </a:extLst>
              </p:cNvPr>
              <p:cNvSpPr/>
              <p:nvPr/>
            </p:nvSpPr>
            <p:spPr>
              <a:xfrm>
                <a:off x="4166929" y="4909232"/>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49" name="Freeform: Shape 148">
                <a:extLst>
                  <a:ext uri="{FF2B5EF4-FFF2-40B4-BE49-F238E27FC236}">
                    <a16:creationId xmlns:a16="http://schemas.microsoft.com/office/drawing/2014/main" id="{E68F3875-5113-4F0E-916C-D4FAF2B880CA}"/>
                  </a:ext>
                </a:extLst>
              </p:cNvPr>
              <p:cNvSpPr/>
              <p:nvPr/>
            </p:nvSpPr>
            <p:spPr>
              <a:xfrm>
                <a:off x="4219079" y="4910737"/>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0" name="Freeform: Shape 149">
                <a:extLst>
                  <a:ext uri="{FF2B5EF4-FFF2-40B4-BE49-F238E27FC236}">
                    <a16:creationId xmlns:a16="http://schemas.microsoft.com/office/drawing/2014/main" id="{2556CFD4-6EA0-44BC-8444-CFDCFEE97D31}"/>
                  </a:ext>
                </a:extLst>
              </p:cNvPr>
              <p:cNvSpPr/>
              <p:nvPr/>
            </p:nvSpPr>
            <p:spPr>
              <a:xfrm>
                <a:off x="4271373" y="4910507"/>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1" name="Freeform: Shape 150">
                <a:extLst>
                  <a:ext uri="{FF2B5EF4-FFF2-40B4-BE49-F238E27FC236}">
                    <a16:creationId xmlns:a16="http://schemas.microsoft.com/office/drawing/2014/main" id="{75407184-3E62-449C-B4D4-CB45A22B0D4C}"/>
                  </a:ext>
                </a:extLst>
              </p:cNvPr>
              <p:cNvSpPr/>
              <p:nvPr/>
            </p:nvSpPr>
            <p:spPr>
              <a:xfrm>
                <a:off x="4323524" y="4911910"/>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2" name="Freeform: Shape 151">
                <a:extLst>
                  <a:ext uri="{FF2B5EF4-FFF2-40B4-BE49-F238E27FC236}">
                    <a16:creationId xmlns:a16="http://schemas.microsoft.com/office/drawing/2014/main" id="{D063117A-7294-4796-A529-53DFF9A4BC77}"/>
                  </a:ext>
                </a:extLst>
              </p:cNvPr>
              <p:cNvSpPr/>
              <p:nvPr/>
            </p:nvSpPr>
            <p:spPr>
              <a:xfrm>
                <a:off x="4375818" y="4911796"/>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3" name="Freeform: Shape 152">
                <a:extLst>
                  <a:ext uri="{FF2B5EF4-FFF2-40B4-BE49-F238E27FC236}">
                    <a16:creationId xmlns:a16="http://schemas.microsoft.com/office/drawing/2014/main" id="{7E688EB9-A65E-4F17-9FC1-063AD9977848}"/>
                  </a:ext>
                </a:extLst>
              </p:cNvPr>
              <p:cNvSpPr/>
              <p:nvPr/>
            </p:nvSpPr>
            <p:spPr>
              <a:xfrm>
                <a:off x="4428613" y="4912384"/>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4" name="Freeform: Shape 153">
                <a:extLst>
                  <a:ext uri="{FF2B5EF4-FFF2-40B4-BE49-F238E27FC236}">
                    <a16:creationId xmlns:a16="http://schemas.microsoft.com/office/drawing/2014/main" id="{D0B7A774-F145-4074-921D-2345E7ED725B}"/>
                  </a:ext>
                </a:extLst>
              </p:cNvPr>
              <p:cNvSpPr/>
              <p:nvPr/>
            </p:nvSpPr>
            <p:spPr>
              <a:xfrm>
                <a:off x="4480120" y="4913109"/>
                <a:ext cx="28615" cy="28615"/>
              </a:xfrm>
              <a:custGeom>
                <a:avLst/>
                <a:gdLst>
                  <a:gd name="connsiteX0" fmla="*/ 21962 w 28614"/>
                  <a:gd name="connsiteY0" fmla="*/ 18961 h 28614"/>
                  <a:gd name="connsiteX1" fmla="*/ 19100 w 28614"/>
                  <a:gd name="connsiteY1" fmla="*/ 16100 h 28614"/>
                  <a:gd name="connsiteX2" fmla="*/ 16100 w 28614"/>
                  <a:gd name="connsiteY2" fmla="*/ 18815 h 28614"/>
                  <a:gd name="connsiteX3" fmla="*/ 16096 w 28614"/>
                  <a:gd name="connsiteY3" fmla="*/ 18961 h 28614"/>
                  <a:gd name="connsiteX4" fmla="*/ 19100 w 28614"/>
                  <a:gd name="connsiteY4" fmla="*/ 21966 h 28614"/>
                  <a:gd name="connsiteX5" fmla="*/ 21966 w 28614"/>
                  <a:gd name="connsiteY5" fmla="*/ 19108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5"/>
                    </a:cubicBezTo>
                    <a:cubicBezTo>
                      <a:pt x="16097" y="18864"/>
                      <a:pt x="16096" y="18912"/>
                      <a:pt x="16096" y="18961"/>
                    </a:cubicBezTo>
                    <a:cubicBezTo>
                      <a:pt x="16096" y="20621"/>
                      <a:pt x="17441" y="21966"/>
                      <a:pt x="19100" y="21966"/>
                    </a:cubicBezTo>
                    <a:cubicBezTo>
                      <a:pt x="20682" y="21967"/>
                      <a:pt x="21963" y="20688"/>
                      <a:pt x="21966" y="19108"/>
                    </a:cubicBezTo>
                    <a:cubicBezTo>
                      <a:pt x="21966" y="19058"/>
                      <a:pt x="21965" y="19010"/>
                      <a:pt x="21962" y="18961"/>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5" name="Freeform: Shape 154">
                <a:extLst>
                  <a:ext uri="{FF2B5EF4-FFF2-40B4-BE49-F238E27FC236}">
                    <a16:creationId xmlns:a16="http://schemas.microsoft.com/office/drawing/2014/main" id="{046B9DB9-C0A8-46FB-8A4D-C89DD4D841F6}"/>
                  </a:ext>
                </a:extLst>
              </p:cNvPr>
              <p:cNvSpPr/>
              <p:nvPr/>
            </p:nvSpPr>
            <p:spPr>
              <a:xfrm>
                <a:off x="4010404" y="4939899"/>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6" name="Freeform: Shape 155">
                <a:extLst>
                  <a:ext uri="{FF2B5EF4-FFF2-40B4-BE49-F238E27FC236}">
                    <a16:creationId xmlns:a16="http://schemas.microsoft.com/office/drawing/2014/main" id="{EC162050-45F3-4099-9DE8-99D707199F3A}"/>
                  </a:ext>
                </a:extLst>
              </p:cNvPr>
              <p:cNvSpPr/>
              <p:nvPr/>
            </p:nvSpPr>
            <p:spPr>
              <a:xfrm>
                <a:off x="4062055" y="4940333"/>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7" name="Freeform: Shape 156">
                <a:extLst>
                  <a:ext uri="{FF2B5EF4-FFF2-40B4-BE49-F238E27FC236}">
                    <a16:creationId xmlns:a16="http://schemas.microsoft.com/office/drawing/2014/main" id="{0B8160DE-7ACD-4A5A-BD1B-C99CAC98BA75}"/>
                  </a:ext>
                </a:extLst>
              </p:cNvPr>
              <p:cNvSpPr/>
              <p:nvPr/>
            </p:nvSpPr>
            <p:spPr>
              <a:xfrm>
                <a:off x="4114851" y="4941204"/>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8" name="Freeform: Shape 157">
                <a:extLst>
                  <a:ext uri="{FF2B5EF4-FFF2-40B4-BE49-F238E27FC236}">
                    <a16:creationId xmlns:a16="http://schemas.microsoft.com/office/drawing/2014/main" id="{FE040543-3E57-40B0-A83D-879E7B2EC057}"/>
                  </a:ext>
                </a:extLst>
              </p:cNvPr>
              <p:cNvSpPr/>
              <p:nvPr/>
            </p:nvSpPr>
            <p:spPr>
              <a:xfrm>
                <a:off x="4166928" y="4941762"/>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9" name="Freeform: Shape 158">
                <a:extLst>
                  <a:ext uri="{FF2B5EF4-FFF2-40B4-BE49-F238E27FC236}">
                    <a16:creationId xmlns:a16="http://schemas.microsoft.com/office/drawing/2014/main" id="{686D03A0-57CD-4702-A1D4-24EFA98D3BD7}"/>
                  </a:ext>
                </a:extLst>
              </p:cNvPr>
              <p:cNvSpPr/>
              <p:nvPr/>
            </p:nvSpPr>
            <p:spPr>
              <a:xfrm>
                <a:off x="4219009" y="4942194"/>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60" name="Freeform: Shape 159">
                <a:extLst>
                  <a:ext uri="{FF2B5EF4-FFF2-40B4-BE49-F238E27FC236}">
                    <a16:creationId xmlns:a16="http://schemas.microsoft.com/office/drawing/2014/main" id="{BD142E3D-B42C-400F-8405-99F60978FD83}"/>
                  </a:ext>
                </a:extLst>
              </p:cNvPr>
              <p:cNvSpPr/>
              <p:nvPr/>
            </p:nvSpPr>
            <p:spPr>
              <a:xfrm>
                <a:off x="4271373" y="4943028"/>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61" name="Freeform: Shape 160">
                <a:extLst>
                  <a:ext uri="{FF2B5EF4-FFF2-40B4-BE49-F238E27FC236}">
                    <a16:creationId xmlns:a16="http://schemas.microsoft.com/office/drawing/2014/main" id="{AE68E673-525E-421D-BFF0-319937259CC3}"/>
                  </a:ext>
                </a:extLst>
              </p:cNvPr>
              <p:cNvSpPr/>
              <p:nvPr/>
            </p:nvSpPr>
            <p:spPr>
              <a:xfrm>
                <a:off x="4323521" y="4942771"/>
                <a:ext cx="28615" cy="42922"/>
              </a:xfrm>
              <a:custGeom>
                <a:avLst/>
                <a:gdLst>
                  <a:gd name="connsiteX0" fmla="*/ 25754 w 28614"/>
                  <a:gd name="connsiteY0" fmla="*/ 21793 h 42922"/>
                  <a:gd name="connsiteX1" fmla="*/ 21793 w 28614"/>
                  <a:gd name="connsiteY1" fmla="*/ 16168 h 42922"/>
                  <a:gd name="connsiteX2" fmla="*/ 16168 w 28614"/>
                  <a:gd name="connsiteY2" fmla="*/ 20130 h 42922"/>
                  <a:gd name="connsiteX3" fmla="*/ 16168 w 28614"/>
                  <a:gd name="connsiteY3" fmla="*/ 21793 h 42922"/>
                  <a:gd name="connsiteX4" fmla="*/ 20130 w 28614"/>
                  <a:gd name="connsiteY4" fmla="*/ 27417 h 42922"/>
                  <a:gd name="connsiteX5" fmla="*/ 25754 w 28614"/>
                  <a:gd name="connsiteY5" fmla="*/ 23455 h 42922"/>
                  <a:gd name="connsiteX6" fmla="*/ 25754 w 28614"/>
                  <a:gd name="connsiteY6" fmla="*/ 2179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42922">
                    <a:moveTo>
                      <a:pt x="25754" y="21793"/>
                    </a:moveTo>
                    <a:cubicBezTo>
                      <a:pt x="26214" y="19146"/>
                      <a:pt x="24439" y="16628"/>
                      <a:pt x="21793" y="16168"/>
                    </a:cubicBezTo>
                    <a:cubicBezTo>
                      <a:pt x="19146" y="15709"/>
                      <a:pt x="16628" y="17483"/>
                      <a:pt x="16168" y="20130"/>
                    </a:cubicBezTo>
                    <a:cubicBezTo>
                      <a:pt x="16072" y="20681"/>
                      <a:pt x="16072" y="21243"/>
                      <a:pt x="16168" y="21793"/>
                    </a:cubicBezTo>
                    <a:cubicBezTo>
                      <a:pt x="15709" y="24439"/>
                      <a:pt x="17483" y="26958"/>
                      <a:pt x="20130" y="27417"/>
                    </a:cubicBezTo>
                    <a:cubicBezTo>
                      <a:pt x="22777" y="27876"/>
                      <a:pt x="25295" y="26102"/>
                      <a:pt x="25754" y="23455"/>
                    </a:cubicBezTo>
                    <a:cubicBezTo>
                      <a:pt x="25850" y="22904"/>
                      <a:pt x="25850" y="22342"/>
                      <a:pt x="25754" y="2179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62" name="Freeform: Shape 161">
                <a:extLst>
                  <a:ext uri="{FF2B5EF4-FFF2-40B4-BE49-F238E27FC236}">
                    <a16:creationId xmlns:a16="http://schemas.microsoft.com/office/drawing/2014/main" id="{76B22229-B5FA-4D60-B2C0-AED2235E1341}"/>
                  </a:ext>
                </a:extLst>
              </p:cNvPr>
              <p:cNvSpPr/>
              <p:nvPr/>
            </p:nvSpPr>
            <p:spPr>
              <a:xfrm>
                <a:off x="4375813" y="4944297"/>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63" name="Freeform: Shape 162">
                <a:extLst>
                  <a:ext uri="{FF2B5EF4-FFF2-40B4-BE49-F238E27FC236}">
                    <a16:creationId xmlns:a16="http://schemas.microsoft.com/office/drawing/2014/main" id="{EF64FC1A-BB6D-4599-B9E3-110D990663F1}"/>
                  </a:ext>
                </a:extLst>
              </p:cNvPr>
              <p:cNvSpPr/>
              <p:nvPr/>
            </p:nvSpPr>
            <p:spPr>
              <a:xfrm>
                <a:off x="4428596" y="4944840"/>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64" name="Freeform: Shape 163">
                <a:extLst>
                  <a:ext uri="{FF2B5EF4-FFF2-40B4-BE49-F238E27FC236}">
                    <a16:creationId xmlns:a16="http://schemas.microsoft.com/office/drawing/2014/main" id="{93AE1D39-65C6-4300-8B00-3EF63BC3BF11}"/>
                  </a:ext>
                </a:extLst>
              </p:cNvPr>
              <p:cNvSpPr/>
              <p:nvPr/>
            </p:nvSpPr>
            <p:spPr>
              <a:xfrm>
                <a:off x="4480045" y="4945430"/>
                <a:ext cx="28615" cy="28615"/>
              </a:xfrm>
              <a:custGeom>
                <a:avLst/>
                <a:gdLst>
                  <a:gd name="connsiteX0" fmla="*/ 22034 w 28614"/>
                  <a:gd name="connsiteY0" fmla="*/ 19100 h 28614"/>
                  <a:gd name="connsiteX1" fmla="*/ 19320 w 28614"/>
                  <a:gd name="connsiteY1" fmla="*/ 16099 h 28614"/>
                  <a:gd name="connsiteX2" fmla="*/ 19173 w 28614"/>
                  <a:gd name="connsiteY2" fmla="*/ 16096 h 28614"/>
                  <a:gd name="connsiteX3" fmla="*/ 16168 w 28614"/>
                  <a:gd name="connsiteY3" fmla="*/ 19100 h 28614"/>
                  <a:gd name="connsiteX4" fmla="*/ 18449 w 28614"/>
                  <a:gd name="connsiteY4" fmla="*/ 22686 h 28614"/>
                  <a:gd name="connsiteX5" fmla="*/ 22034 w 28614"/>
                  <a:gd name="connsiteY5" fmla="*/ 20404 h 28614"/>
                  <a:gd name="connsiteX6" fmla="*/ 22034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2034" y="19100"/>
                    </a:moveTo>
                    <a:cubicBezTo>
                      <a:pt x="22113" y="17522"/>
                      <a:pt x="20898" y="16179"/>
                      <a:pt x="19320" y="16099"/>
                    </a:cubicBezTo>
                    <a:cubicBezTo>
                      <a:pt x="19270" y="16097"/>
                      <a:pt x="19222" y="16096"/>
                      <a:pt x="19173" y="16096"/>
                    </a:cubicBezTo>
                    <a:cubicBezTo>
                      <a:pt x="17513" y="16096"/>
                      <a:pt x="16168" y="17441"/>
                      <a:pt x="16168" y="19100"/>
                    </a:cubicBezTo>
                    <a:cubicBezTo>
                      <a:pt x="15808" y="20720"/>
                      <a:pt x="16829" y="22325"/>
                      <a:pt x="18449" y="22686"/>
                    </a:cubicBezTo>
                    <a:cubicBezTo>
                      <a:pt x="20070" y="23045"/>
                      <a:pt x="21674" y="22023"/>
                      <a:pt x="22034" y="20404"/>
                    </a:cubicBezTo>
                    <a:cubicBezTo>
                      <a:pt x="22130" y="19975"/>
                      <a:pt x="22130" y="19530"/>
                      <a:pt x="22034" y="19100"/>
                    </a:cubicBezTo>
                  </a:path>
                </a:pathLst>
              </a:custGeom>
              <a:grp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nvGrpSpPr>
            <p:cNvPr id="72" name="Group 71">
              <a:extLst>
                <a:ext uri="{FF2B5EF4-FFF2-40B4-BE49-F238E27FC236}">
                  <a16:creationId xmlns:a16="http://schemas.microsoft.com/office/drawing/2014/main" id="{F2FA9018-3AE0-46C2-92B8-55D3CEF0AA58}"/>
                </a:ext>
              </a:extLst>
            </p:cNvPr>
            <p:cNvGrpSpPr/>
            <p:nvPr/>
          </p:nvGrpSpPr>
          <p:grpSpPr>
            <a:xfrm>
              <a:off x="5590895" y="2512967"/>
              <a:ext cx="1316346" cy="1347039"/>
              <a:chOff x="509609" y="2501392"/>
              <a:chExt cx="1316346" cy="1347039"/>
            </a:xfrm>
          </p:grpSpPr>
          <p:sp>
            <p:nvSpPr>
              <p:cNvPr id="90" name="Freeform: Shape 89">
                <a:extLst>
                  <a:ext uri="{FF2B5EF4-FFF2-40B4-BE49-F238E27FC236}">
                    <a16:creationId xmlns:a16="http://schemas.microsoft.com/office/drawing/2014/main" id="{17497451-4170-46B7-9A75-FF5A71C941B6}"/>
                  </a:ext>
                </a:extLst>
              </p:cNvPr>
              <p:cNvSpPr/>
              <p:nvPr/>
            </p:nvSpPr>
            <p:spPr>
              <a:xfrm>
                <a:off x="1090948" y="2501392"/>
                <a:ext cx="142285" cy="142285"/>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solidFill>
                <a:srgbClr val="74BF4B"/>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91" name="Freeform: Shape 90">
                <a:extLst>
                  <a:ext uri="{FF2B5EF4-FFF2-40B4-BE49-F238E27FC236}">
                    <a16:creationId xmlns:a16="http://schemas.microsoft.com/office/drawing/2014/main" id="{A9E353CB-F253-4616-8869-0B5003FFC136}"/>
                  </a:ext>
                </a:extLst>
              </p:cNvPr>
              <p:cNvSpPr/>
              <p:nvPr/>
            </p:nvSpPr>
            <p:spPr>
              <a:xfrm>
                <a:off x="885040" y="2537979"/>
                <a:ext cx="142285" cy="142285"/>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solidFill>
                <a:srgbClr val="74BF4B"/>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92" name="Freeform: Shape 91">
                <a:extLst>
                  <a:ext uri="{FF2B5EF4-FFF2-40B4-BE49-F238E27FC236}">
                    <a16:creationId xmlns:a16="http://schemas.microsoft.com/office/drawing/2014/main" id="{90CA2CB7-0E0B-4ABD-A7FD-3F98461DAF17}"/>
                  </a:ext>
                </a:extLst>
              </p:cNvPr>
              <p:cNvSpPr/>
              <p:nvPr/>
            </p:nvSpPr>
            <p:spPr>
              <a:xfrm>
                <a:off x="704133" y="2642660"/>
                <a:ext cx="142285" cy="142285"/>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solidFill>
                <a:srgbClr val="74BF4B"/>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93" name="Freeform: Shape 92">
                <a:extLst>
                  <a:ext uri="{FF2B5EF4-FFF2-40B4-BE49-F238E27FC236}">
                    <a16:creationId xmlns:a16="http://schemas.microsoft.com/office/drawing/2014/main" id="{FF0602A9-9F8C-453F-A18D-89CC6844BF44}"/>
                  </a:ext>
                </a:extLst>
              </p:cNvPr>
              <p:cNvSpPr/>
              <p:nvPr/>
            </p:nvSpPr>
            <p:spPr>
              <a:xfrm>
                <a:off x="569979" y="2803038"/>
                <a:ext cx="142285" cy="142285"/>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solidFill>
                <a:srgbClr val="74BF4B"/>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94" name="Freeform: Shape 93">
                <a:extLst>
                  <a:ext uri="{FF2B5EF4-FFF2-40B4-BE49-F238E27FC236}">
                    <a16:creationId xmlns:a16="http://schemas.microsoft.com/office/drawing/2014/main" id="{78C22BDD-41FD-4291-A6B3-95E7863E338C}"/>
                  </a:ext>
                </a:extLst>
              </p:cNvPr>
              <p:cNvSpPr/>
              <p:nvPr/>
            </p:nvSpPr>
            <p:spPr>
              <a:xfrm>
                <a:off x="509609" y="3010775"/>
                <a:ext cx="121959" cy="121959"/>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solidFill>
                <a:srgbClr val="74BF4B"/>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95" name="Freeform: Shape 94">
                <a:extLst>
                  <a:ext uri="{FF2B5EF4-FFF2-40B4-BE49-F238E27FC236}">
                    <a16:creationId xmlns:a16="http://schemas.microsoft.com/office/drawing/2014/main" id="{0283664E-C17F-4569-A4E2-73A2E41F7C2F}"/>
                  </a:ext>
                </a:extLst>
              </p:cNvPr>
              <p:cNvSpPr/>
              <p:nvPr/>
            </p:nvSpPr>
            <p:spPr>
              <a:xfrm>
                <a:off x="919391" y="3703097"/>
                <a:ext cx="81306" cy="81306"/>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solidFill>
                <a:srgbClr val="74BF4B"/>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96" name="Freeform: Shape 95">
                <a:extLst>
                  <a:ext uri="{FF2B5EF4-FFF2-40B4-BE49-F238E27FC236}">
                    <a16:creationId xmlns:a16="http://schemas.microsoft.com/office/drawing/2014/main" id="{FCA12EDA-FF41-4825-9566-F00710EC2B65}"/>
                  </a:ext>
                </a:extLst>
              </p:cNvPr>
              <p:cNvSpPr/>
              <p:nvPr/>
            </p:nvSpPr>
            <p:spPr>
              <a:xfrm>
                <a:off x="1092167" y="3706146"/>
                <a:ext cx="142285" cy="142285"/>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solidFill>
                <a:srgbClr val="74BF4B"/>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97" name="Freeform: Shape 96">
                <a:extLst>
                  <a:ext uri="{FF2B5EF4-FFF2-40B4-BE49-F238E27FC236}">
                    <a16:creationId xmlns:a16="http://schemas.microsoft.com/office/drawing/2014/main" id="{6B096983-B860-4111-8667-F6F183A4FDF5}"/>
                  </a:ext>
                </a:extLst>
              </p:cNvPr>
              <p:cNvSpPr/>
              <p:nvPr/>
            </p:nvSpPr>
            <p:spPr>
              <a:xfrm>
                <a:off x="1298075" y="3668948"/>
                <a:ext cx="142285" cy="142285"/>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solidFill>
                <a:srgbClr val="74BF4B"/>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98" name="Freeform: Shape 97">
                <a:extLst>
                  <a:ext uri="{FF2B5EF4-FFF2-40B4-BE49-F238E27FC236}">
                    <a16:creationId xmlns:a16="http://schemas.microsoft.com/office/drawing/2014/main" id="{F48B9771-8D61-4062-B73E-EF1448FB33E5}"/>
                  </a:ext>
                </a:extLst>
              </p:cNvPr>
              <p:cNvSpPr/>
              <p:nvPr/>
            </p:nvSpPr>
            <p:spPr>
              <a:xfrm>
                <a:off x="1478981" y="3564876"/>
                <a:ext cx="142285" cy="142285"/>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99" name="Freeform: Shape 98">
                <a:extLst>
                  <a:ext uri="{FF2B5EF4-FFF2-40B4-BE49-F238E27FC236}">
                    <a16:creationId xmlns:a16="http://schemas.microsoft.com/office/drawing/2014/main" id="{1BE2DE91-718C-450A-AB40-246BB2FEDAC3}"/>
                  </a:ext>
                </a:extLst>
              </p:cNvPr>
              <p:cNvSpPr/>
              <p:nvPr/>
            </p:nvSpPr>
            <p:spPr>
              <a:xfrm>
                <a:off x="1613340" y="3404500"/>
                <a:ext cx="142285" cy="142285"/>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solidFill>
                <a:srgbClr val="74BF4B"/>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00" name="Freeform: Shape 99">
                <a:extLst>
                  <a:ext uri="{FF2B5EF4-FFF2-40B4-BE49-F238E27FC236}">
                    <a16:creationId xmlns:a16="http://schemas.microsoft.com/office/drawing/2014/main" id="{39706035-0780-4A09-BD7C-C1F81265431A}"/>
                  </a:ext>
                </a:extLst>
              </p:cNvPr>
              <p:cNvSpPr/>
              <p:nvPr/>
            </p:nvSpPr>
            <p:spPr>
              <a:xfrm>
                <a:off x="1696072" y="3218309"/>
                <a:ext cx="121959" cy="121959"/>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solidFill>
                <a:srgbClr val="74BF4B"/>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01" name="Freeform: Shape 100">
                <a:extLst>
                  <a:ext uri="{FF2B5EF4-FFF2-40B4-BE49-F238E27FC236}">
                    <a16:creationId xmlns:a16="http://schemas.microsoft.com/office/drawing/2014/main" id="{662A6984-81AA-479C-A20A-10DC55F2C832}"/>
                  </a:ext>
                </a:extLst>
              </p:cNvPr>
              <p:cNvSpPr/>
              <p:nvPr/>
            </p:nvSpPr>
            <p:spPr>
              <a:xfrm>
                <a:off x="1703996" y="3017280"/>
                <a:ext cx="121959" cy="121959"/>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solidFill>
                <a:srgbClr val="74BF4B"/>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02" name="Freeform: Shape 101">
                <a:extLst>
                  <a:ext uri="{FF2B5EF4-FFF2-40B4-BE49-F238E27FC236}">
                    <a16:creationId xmlns:a16="http://schemas.microsoft.com/office/drawing/2014/main" id="{12D58911-E317-4663-9548-BE329A99E805}"/>
                  </a:ext>
                </a:extLst>
              </p:cNvPr>
              <p:cNvSpPr/>
              <p:nvPr/>
            </p:nvSpPr>
            <p:spPr>
              <a:xfrm>
                <a:off x="1636714" y="2826413"/>
                <a:ext cx="101632" cy="101632"/>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solidFill>
                <a:srgbClr val="74BF4B"/>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03" name="Freeform: Shape 102">
                <a:extLst>
                  <a:ext uri="{FF2B5EF4-FFF2-40B4-BE49-F238E27FC236}">
                    <a16:creationId xmlns:a16="http://schemas.microsoft.com/office/drawing/2014/main" id="{A2297615-7449-41B6-8C19-262309766137}"/>
                  </a:ext>
                </a:extLst>
              </p:cNvPr>
              <p:cNvSpPr/>
              <p:nvPr/>
            </p:nvSpPr>
            <p:spPr>
              <a:xfrm>
                <a:off x="1509878" y="2673964"/>
                <a:ext cx="81306" cy="81306"/>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solidFill>
                <a:srgbClr val="74BF4B"/>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04" name="Freeform: Shape 103">
                <a:extLst>
                  <a:ext uri="{FF2B5EF4-FFF2-40B4-BE49-F238E27FC236}">
                    <a16:creationId xmlns:a16="http://schemas.microsoft.com/office/drawing/2014/main" id="{FA1506F8-4C27-4616-956A-F3D764C26035}"/>
                  </a:ext>
                </a:extLst>
              </p:cNvPr>
              <p:cNvSpPr/>
              <p:nvPr/>
            </p:nvSpPr>
            <p:spPr>
              <a:xfrm>
                <a:off x="1330191" y="2570907"/>
                <a:ext cx="81306" cy="81306"/>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solidFill>
                <a:srgbClr val="74BF4B"/>
              </a:solidFill>
              <a:ln w="142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nvGrpSpPr>
            <p:cNvPr id="73" name="Group 72">
              <a:extLst>
                <a:ext uri="{FF2B5EF4-FFF2-40B4-BE49-F238E27FC236}">
                  <a16:creationId xmlns:a16="http://schemas.microsoft.com/office/drawing/2014/main" id="{B8D59938-854B-4167-A155-0CF520B6AC09}"/>
                </a:ext>
              </a:extLst>
            </p:cNvPr>
            <p:cNvGrpSpPr/>
            <p:nvPr/>
          </p:nvGrpSpPr>
          <p:grpSpPr>
            <a:xfrm rot="1159747">
              <a:off x="6833407" y="2190732"/>
              <a:ext cx="533927" cy="454806"/>
              <a:chOff x="2147888" y="2814638"/>
              <a:chExt cx="1447800" cy="1231900"/>
            </a:xfrm>
          </p:grpSpPr>
          <p:sp>
            <p:nvSpPr>
              <p:cNvPr id="82" name="Freeform 46">
                <a:extLst>
                  <a:ext uri="{FF2B5EF4-FFF2-40B4-BE49-F238E27FC236}">
                    <a16:creationId xmlns:a16="http://schemas.microsoft.com/office/drawing/2014/main" id="{E6B6E521-6C2C-40D6-BAE5-31E9DD3042B9}"/>
                  </a:ext>
                </a:extLst>
              </p:cNvPr>
              <p:cNvSpPr>
                <a:spLocks/>
              </p:cNvSpPr>
              <p:nvPr/>
            </p:nvSpPr>
            <p:spPr bwMode="auto">
              <a:xfrm>
                <a:off x="2147888" y="281463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3" name="Freeform 47">
                <a:extLst>
                  <a:ext uri="{FF2B5EF4-FFF2-40B4-BE49-F238E27FC236}">
                    <a16:creationId xmlns:a16="http://schemas.microsoft.com/office/drawing/2014/main" id="{2D2323E1-1200-4DA7-9637-8EB2FA255F77}"/>
                  </a:ext>
                </a:extLst>
              </p:cNvPr>
              <p:cNvSpPr>
                <a:spLocks/>
              </p:cNvSpPr>
              <p:nvPr/>
            </p:nvSpPr>
            <p:spPr bwMode="auto">
              <a:xfrm>
                <a:off x="2147888" y="296545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6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6"/>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4" name="Freeform 48">
                <a:extLst>
                  <a:ext uri="{FF2B5EF4-FFF2-40B4-BE49-F238E27FC236}">
                    <a16:creationId xmlns:a16="http://schemas.microsoft.com/office/drawing/2014/main" id="{FAC4F753-1463-4EF2-A1F3-6DF96352E551}"/>
                  </a:ext>
                </a:extLst>
              </p:cNvPr>
              <p:cNvSpPr>
                <a:spLocks/>
              </p:cNvSpPr>
              <p:nvPr/>
            </p:nvSpPr>
            <p:spPr bwMode="auto">
              <a:xfrm>
                <a:off x="2147888" y="3116263"/>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5" name="Freeform 49">
                <a:extLst>
                  <a:ext uri="{FF2B5EF4-FFF2-40B4-BE49-F238E27FC236}">
                    <a16:creationId xmlns:a16="http://schemas.microsoft.com/office/drawing/2014/main" id="{D157F25C-59FA-4F4D-8228-FE32EA2C76B4}"/>
                  </a:ext>
                </a:extLst>
              </p:cNvPr>
              <p:cNvSpPr>
                <a:spLocks/>
              </p:cNvSpPr>
              <p:nvPr/>
            </p:nvSpPr>
            <p:spPr bwMode="auto">
              <a:xfrm>
                <a:off x="2147888" y="3267075"/>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6" name="Freeform 50">
                <a:extLst>
                  <a:ext uri="{FF2B5EF4-FFF2-40B4-BE49-F238E27FC236}">
                    <a16:creationId xmlns:a16="http://schemas.microsoft.com/office/drawing/2014/main" id="{E929C0E9-8A7D-41DB-A146-DA3BDF4F9065}"/>
                  </a:ext>
                </a:extLst>
              </p:cNvPr>
              <p:cNvSpPr>
                <a:spLocks/>
              </p:cNvSpPr>
              <p:nvPr/>
            </p:nvSpPr>
            <p:spPr bwMode="auto">
              <a:xfrm>
                <a:off x="2147888" y="3419475"/>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7" name="Freeform 51">
                <a:extLst>
                  <a:ext uri="{FF2B5EF4-FFF2-40B4-BE49-F238E27FC236}">
                    <a16:creationId xmlns:a16="http://schemas.microsoft.com/office/drawing/2014/main" id="{141E1E5D-B67E-44DE-BC1C-F50463382C62}"/>
                  </a:ext>
                </a:extLst>
              </p:cNvPr>
              <p:cNvSpPr>
                <a:spLocks/>
              </p:cNvSpPr>
              <p:nvPr/>
            </p:nvSpPr>
            <p:spPr bwMode="auto">
              <a:xfrm>
                <a:off x="2147888" y="357028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8" name="Freeform 52">
                <a:extLst>
                  <a:ext uri="{FF2B5EF4-FFF2-40B4-BE49-F238E27FC236}">
                    <a16:creationId xmlns:a16="http://schemas.microsoft.com/office/drawing/2014/main" id="{D23B2C08-7F88-4319-9182-2D184E23E671}"/>
                  </a:ext>
                </a:extLst>
              </p:cNvPr>
              <p:cNvSpPr>
                <a:spLocks/>
              </p:cNvSpPr>
              <p:nvPr/>
            </p:nvSpPr>
            <p:spPr bwMode="auto">
              <a:xfrm>
                <a:off x="2147888" y="372110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9" name="Freeform 53">
                <a:extLst>
                  <a:ext uri="{FF2B5EF4-FFF2-40B4-BE49-F238E27FC236}">
                    <a16:creationId xmlns:a16="http://schemas.microsoft.com/office/drawing/2014/main" id="{EE2AB08C-ED32-4FDE-943D-B90271B77AB6}"/>
                  </a:ext>
                </a:extLst>
              </p:cNvPr>
              <p:cNvSpPr>
                <a:spLocks/>
              </p:cNvSpPr>
              <p:nvPr/>
            </p:nvSpPr>
            <p:spPr bwMode="auto">
              <a:xfrm>
                <a:off x="2147888" y="3871913"/>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74" name="Freeform: Shape 73">
              <a:extLst>
                <a:ext uri="{FF2B5EF4-FFF2-40B4-BE49-F238E27FC236}">
                  <a16:creationId xmlns:a16="http://schemas.microsoft.com/office/drawing/2014/main" id="{E98949FA-DD0E-416E-90AF-C472E060848C}"/>
                </a:ext>
              </a:extLst>
            </p:cNvPr>
            <p:cNvSpPr>
              <a:spLocks/>
            </p:cNvSpPr>
            <p:nvPr/>
          </p:nvSpPr>
          <p:spPr bwMode="auto">
            <a:xfrm>
              <a:off x="5614686" y="1338725"/>
              <a:ext cx="1198878" cy="1216338"/>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7" name="Arc 76">
              <a:extLst>
                <a:ext uri="{FF2B5EF4-FFF2-40B4-BE49-F238E27FC236}">
                  <a16:creationId xmlns:a16="http://schemas.microsoft.com/office/drawing/2014/main" id="{26879217-6367-4188-B2B6-8E81CCBA169A}"/>
                </a:ext>
              </a:extLst>
            </p:cNvPr>
            <p:cNvSpPr/>
            <p:nvPr/>
          </p:nvSpPr>
          <p:spPr>
            <a:xfrm flipH="1">
              <a:off x="5812807" y="1146403"/>
              <a:ext cx="2904434" cy="2904434"/>
            </a:xfrm>
            <a:prstGeom prst="arc">
              <a:avLst>
                <a:gd name="adj1" fmla="val 3701099"/>
                <a:gd name="adj2" fmla="val 9182751"/>
              </a:avLst>
            </a:prstGeom>
            <a:noFill/>
            <a:ln w="15875"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80" name="Oval 79">
              <a:extLst>
                <a:ext uri="{FF2B5EF4-FFF2-40B4-BE49-F238E27FC236}">
                  <a16:creationId xmlns:a16="http://schemas.microsoft.com/office/drawing/2014/main" id="{46C883D3-C653-427A-9F98-6D647D3E9A5F}"/>
                </a:ext>
              </a:extLst>
            </p:cNvPr>
            <p:cNvSpPr/>
            <p:nvPr/>
          </p:nvSpPr>
          <p:spPr>
            <a:xfrm>
              <a:off x="6517021" y="3829196"/>
              <a:ext cx="73026" cy="73024"/>
            </a:xfrm>
            <a:prstGeom prst="ellipse">
              <a:avLst/>
            </a:prstGeom>
            <a:solidFill>
              <a:schemeClr val="tx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81" name="Oval 80">
              <a:extLst>
                <a:ext uri="{FF2B5EF4-FFF2-40B4-BE49-F238E27FC236}">
                  <a16:creationId xmlns:a16="http://schemas.microsoft.com/office/drawing/2014/main" id="{06138B98-5065-4BC2-A22E-7D0FCB863E49}"/>
                </a:ext>
              </a:extLst>
            </p:cNvPr>
            <p:cNvSpPr/>
            <p:nvPr/>
          </p:nvSpPr>
          <p:spPr>
            <a:xfrm>
              <a:off x="6536071" y="1293641"/>
              <a:ext cx="73026" cy="73024"/>
            </a:xfrm>
            <a:prstGeom prst="ellipse">
              <a:avLst/>
            </a:prstGeom>
            <a:solidFill>
              <a:schemeClr val="tx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301" name="Freeform: Shape 300">
              <a:extLst>
                <a:ext uri="{FF2B5EF4-FFF2-40B4-BE49-F238E27FC236}">
                  <a16:creationId xmlns:a16="http://schemas.microsoft.com/office/drawing/2014/main" id="{CD02ACF8-27E9-45F9-84DE-C2F6D5C94D3C}"/>
                </a:ext>
              </a:extLst>
            </p:cNvPr>
            <p:cNvSpPr>
              <a:spLocks/>
            </p:cNvSpPr>
            <p:nvPr/>
          </p:nvSpPr>
          <p:spPr bwMode="auto">
            <a:xfrm>
              <a:off x="6706418" y="1675797"/>
              <a:ext cx="2035990" cy="2065624"/>
            </a:xfrm>
            <a:custGeom>
              <a:avLst/>
              <a:gdLst>
                <a:gd name="connsiteX0" fmla="*/ 578303 w 652975"/>
                <a:gd name="connsiteY0" fmla="*/ 527099 h 662481"/>
                <a:gd name="connsiteX1" fmla="*/ 584703 w 652975"/>
                <a:gd name="connsiteY1" fmla="*/ 527099 h 662481"/>
                <a:gd name="connsiteX2" fmla="*/ 584703 w 652975"/>
                <a:gd name="connsiteY2" fmla="*/ 533647 h 662481"/>
                <a:gd name="connsiteX3" fmla="*/ 527106 w 652975"/>
                <a:gd name="connsiteY3" fmla="*/ 592583 h 662481"/>
                <a:gd name="connsiteX4" fmla="*/ 520706 w 652975"/>
                <a:gd name="connsiteY4" fmla="*/ 592583 h 662481"/>
                <a:gd name="connsiteX5" fmla="*/ 520706 w 652975"/>
                <a:gd name="connsiteY5" fmla="*/ 586035 h 662481"/>
                <a:gd name="connsiteX6" fmla="*/ 578303 w 652975"/>
                <a:gd name="connsiteY6" fmla="*/ 527099 h 662481"/>
                <a:gd name="connsiteX7" fmla="*/ 627495 w 652975"/>
                <a:gd name="connsiteY7" fmla="*/ 433440 h 662481"/>
                <a:gd name="connsiteX8" fmla="*/ 633910 w 652975"/>
                <a:gd name="connsiteY8" fmla="*/ 433440 h 662481"/>
                <a:gd name="connsiteX9" fmla="*/ 633910 w 652975"/>
                <a:gd name="connsiteY9" fmla="*/ 440001 h 662481"/>
                <a:gd name="connsiteX10" fmla="*/ 435051 w 652975"/>
                <a:gd name="connsiteY10" fmla="*/ 643379 h 662481"/>
                <a:gd name="connsiteX11" fmla="*/ 428637 w 652975"/>
                <a:gd name="connsiteY11" fmla="*/ 643379 h 662481"/>
                <a:gd name="connsiteX12" fmla="*/ 428637 w 652975"/>
                <a:gd name="connsiteY12" fmla="*/ 636819 h 662481"/>
                <a:gd name="connsiteX13" fmla="*/ 627495 w 652975"/>
                <a:gd name="connsiteY13" fmla="*/ 433440 h 662481"/>
                <a:gd name="connsiteX14" fmla="*/ 641708 w 652975"/>
                <a:gd name="connsiteY14" fmla="*/ 374697 h 662481"/>
                <a:gd name="connsiteX15" fmla="*/ 648179 w 652975"/>
                <a:gd name="connsiteY15" fmla="*/ 374697 h 662481"/>
                <a:gd name="connsiteX16" fmla="*/ 648179 w 652975"/>
                <a:gd name="connsiteY16" fmla="*/ 383423 h 662481"/>
                <a:gd name="connsiteX17" fmla="*/ 378547 w 652975"/>
                <a:gd name="connsiteY17" fmla="*/ 656085 h 662481"/>
                <a:gd name="connsiteX18" fmla="*/ 369918 w 652975"/>
                <a:gd name="connsiteY18" fmla="*/ 656085 h 662481"/>
                <a:gd name="connsiteX19" fmla="*/ 369918 w 652975"/>
                <a:gd name="connsiteY19" fmla="*/ 649541 h 662481"/>
                <a:gd name="connsiteX20" fmla="*/ 641708 w 652975"/>
                <a:gd name="connsiteY20" fmla="*/ 374697 h 662481"/>
                <a:gd name="connsiteX21" fmla="*/ 644935 w 652975"/>
                <a:gd name="connsiteY21" fmla="*/ 328664 h 662481"/>
                <a:gd name="connsiteX22" fmla="*/ 651367 w 652975"/>
                <a:gd name="connsiteY22" fmla="*/ 328664 h 662481"/>
                <a:gd name="connsiteX23" fmla="*/ 651367 w 652975"/>
                <a:gd name="connsiteY23" fmla="*/ 335220 h 662481"/>
                <a:gd name="connsiteX24" fmla="*/ 331888 w 652975"/>
                <a:gd name="connsiteY24" fmla="*/ 660843 h 662481"/>
                <a:gd name="connsiteX25" fmla="*/ 325455 w 652975"/>
                <a:gd name="connsiteY25" fmla="*/ 660843 h 662481"/>
                <a:gd name="connsiteX26" fmla="*/ 325455 w 652975"/>
                <a:gd name="connsiteY26" fmla="*/ 654287 h 662481"/>
                <a:gd name="connsiteX27" fmla="*/ 644935 w 652975"/>
                <a:gd name="connsiteY27" fmla="*/ 328664 h 662481"/>
                <a:gd name="connsiteX28" fmla="*/ 643322 w 652975"/>
                <a:gd name="connsiteY28" fmla="*/ 287381 h 662481"/>
                <a:gd name="connsiteX29" fmla="*/ 649774 w 652975"/>
                <a:gd name="connsiteY29" fmla="*/ 287381 h 662481"/>
                <a:gd name="connsiteX30" fmla="*/ 649774 w 652975"/>
                <a:gd name="connsiteY30" fmla="*/ 293916 h 662481"/>
                <a:gd name="connsiteX31" fmla="*/ 290638 w 652975"/>
                <a:gd name="connsiteY31" fmla="*/ 657675 h 662481"/>
                <a:gd name="connsiteX32" fmla="*/ 284187 w 652975"/>
                <a:gd name="connsiteY32" fmla="*/ 657675 h 662481"/>
                <a:gd name="connsiteX33" fmla="*/ 284187 w 652975"/>
                <a:gd name="connsiteY33" fmla="*/ 651140 h 662481"/>
                <a:gd name="connsiteX34" fmla="*/ 643322 w 652975"/>
                <a:gd name="connsiteY34" fmla="*/ 287381 h 662481"/>
                <a:gd name="connsiteX35" fmla="*/ 636970 w 652975"/>
                <a:gd name="connsiteY35" fmla="*/ 250868 h 662481"/>
                <a:gd name="connsiteX36" fmla="*/ 643422 w 652975"/>
                <a:gd name="connsiteY36" fmla="*/ 250868 h 662481"/>
                <a:gd name="connsiteX37" fmla="*/ 643422 w 652975"/>
                <a:gd name="connsiteY37" fmla="*/ 257397 h 662481"/>
                <a:gd name="connsiteX38" fmla="*/ 254126 w 652975"/>
                <a:gd name="connsiteY38" fmla="*/ 651328 h 662481"/>
                <a:gd name="connsiteX39" fmla="*/ 247674 w 652975"/>
                <a:gd name="connsiteY39" fmla="*/ 651328 h 662481"/>
                <a:gd name="connsiteX40" fmla="*/ 247674 w 652975"/>
                <a:gd name="connsiteY40" fmla="*/ 644798 h 662481"/>
                <a:gd name="connsiteX41" fmla="*/ 636970 w 652975"/>
                <a:gd name="connsiteY41" fmla="*/ 250868 h 662481"/>
                <a:gd name="connsiteX42" fmla="*/ 625843 w 652975"/>
                <a:gd name="connsiteY42" fmla="*/ 217532 h 662481"/>
                <a:gd name="connsiteX43" fmla="*/ 632307 w 652975"/>
                <a:gd name="connsiteY43" fmla="*/ 217532 h 662481"/>
                <a:gd name="connsiteX44" fmla="*/ 632307 w 652975"/>
                <a:gd name="connsiteY44" fmla="*/ 224068 h 662481"/>
                <a:gd name="connsiteX45" fmla="*/ 220804 w 652975"/>
                <a:gd name="connsiteY45" fmla="*/ 640212 h 662481"/>
                <a:gd name="connsiteX46" fmla="*/ 214341 w 652975"/>
                <a:gd name="connsiteY46" fmla="*/ 640212 h 662481"/>
                <a:gd name="connsiteX47" fmla="*/ 214341 w 652975"/>
                <a:gd name="connsiteY47" fmla="*/ 633676 h 662481"/>
                <a:gd name="connsiteX48" fmla="*/ 625843 w 652975"/>
                <a:gd name="connsiteY48" fmla="*/ 217532 h 662481"/>
                <a:gd name="connsiteX49" fmla="*/ 613139 w 652975"/>
                <a:gd name="connsiteY49" fmla="*/ 187370 h 662481"/>
                <a:gd name="connsiteX50" fmla="*/ 619606 w 652975"/>
                <a:gd name="connsiteY50" fmla="*/ 187370 h 662481"/>
                <a:gd name="connsiteX51" fmla="*/ 619606 w 652975"/>
                <a:gd name="connsiteY51" fmla="*/ 193907 h 662481"/>
                <a:gd name="connsiteX52" fmla="*/ 190646 w 652975"/>
                <a:gd name="connsiteY52" fmla="*/ 627512 h 662481"/>
                <a:gd name="connsiteX53" fmla="*/ 184179 w 652975"/>
                <a:gd name="connsiteY53" fmla="*/ 627512 h 662481"/>
                <a:gd name="connsiteX54" fmla="*/ 184179 w 652975"/>
                <a:gd name="connsiteY54" fmla="*/ 620975 h 662481"/>
                <a:gd name="connsiteX55" fmla="*/ 613139 w 652975"/>
                <a:gd name="connsiteY55" fmla="*/ 187370 h 662481"/>
                <a:gd name="connsiteX56" fmla="*/ 598856 w 652975"/>
                <a:gd name="connsiteY56" fmla="*/ 158793 h 662481"/>
                <a:gd name="connsiteX57" fmla="*/ 605320 w 652975"/>
                <a:gd name="connsiteY57" fmla="*/ 158793 h 662481"/>
                <a:gd name="connsiteX58" fmla="*/ 605320 w 652975"/>
                <a:gd name="connsiteY58" fmla="*/ 165325 h 662481"/>
                <a:gd name="connsiteX59" fmla="*/ 163654 w 652975"/>
                <a:gd name="connsiteY59" fmla="*/ 611639 h 662481"/>
                <a:gd name="connsiteX60" fmla="*/ 157191 w 652975"/>
                <a:gd name="connsiteY60" fmla="*/ 611639 h 662481"/>
                <a:gd name="connsiteX61" fmla="*/ 157191 w 652975"/>
                <a:gd name="connsiteY61" fmla="*/ 605108 h 662481"/>
                <a:gd name="connsiteX62" fmla="*/ 598856 w 652975"/>
                <a:gd name="connsiteY62" fmla="*/ 158793 h 662481"/>
                <a:gd name="connsiteX63" fmla="*/ 581376 w 652975"/>
                <a:gd name="connsiteY63" fmla="*/ 133390 h 662481"/>
                <a:gd name="connsiteX64" fmla="*/ 587853 w 652975"/>
                <a:gd name="connsiteY64" fmla="*/ 133390 h 662481"/>
                <a:gd name="connsiteX65" fmla="*/ 587853 w 652975"/>
                <a:gd name="connsiteY65" fmla="*/ 139910 h 662481"/>
                <a:gd name="connsiteX66" fmla="*/ 136683 w 652975"/>
                <a:gd name="connsiteY66" fmla="*/ 594181 h 662481"/>
                <a:gd name="connsiteX67" fmla="*/ 130207 w 652975"/>
                <a:gd name="connsiteY67" fmla="*/ 594181 h 662481"/>
                <a:gd name="connsiteX68" fmla="*/ 130207 w 652975"/>
                <a:gd name="connsiteY68" fmla="*/ 587660 h 662481"/>
                <a:gd name="connsiteX69" fmla="*/ 581376 w 652975"/>
                <a:gd name="connsiteY69" fmla="*/ 133390 h 662481"/>
                <a:gd name="connsiteX70" fmla="*/ 560789 w 652975"/>
                <a:gd name="connsiteY70" fmla="*/ 109579 h 662481"/>
                <a:gd name="connsiteX71" fmla="*/ 567227 w 652975"/>
                <a:gd name="connsiteY71" fmla="*/ 109579 h 662481"/>
                <a:gd name="connsiteX72" fmla="*/ 567227 w 652975"/>
                <a:gd name="connsiteY72" fmla="*/ 116105 h 662481"/>
                <a:gd name="connsiteX73" fmla="*/ 114408 w 652975"/>
                <a:gd name="connsiteY73" fmla="*/ 575128 h 662481"/>
                <a:gd name="connsiteX74" fmla="*/ 107969 w 652975"/>
                <a:gd name="connsiteY74" fmla="*/ 575128 h 662481"/>
                <a:gd name="connsiteX75" fmla="*/ 107969 w 652975"/>
                <a:gd name="connsiteY75" fmla="*/ 568601 h 662481"/>
                <a:gd name="connsiteX76" fmla="*/ 560789 w 652975"/>
                <a:gd name="connsiteY76" fmla="*/ 109579 h 662481"/>
                <a:gd name="connsiteX77" fmla="*/ 540123 w 652975"/>
                <a:gd name="connsiteY77" fmla="*/ 87354 h 662481"/>
                <a:gd name="connsiteX78" fmla="*/ 546583 w 652975"/>
                <a:gd name="connsiteY78" fmla="*/ 87354 h 662481"/>
                <a:gd name="connsiteX79" fmla="*/ 546583 w 652975"/>
                <a:gd name="connsiteY79" fmla="*/ 93880 h 662481"/>
                <a:gd name="connsiteX80" fmla="*/ 92212 w 652975"/>
                <a:gd name="connsiteY80" fmla="*/ 552903 h 662481"/>
                <a:gd name="connsiteX81" fmla="*/ 85752 w 652975"/>
                <a:gd name="connsiteY81" fmla="*/ 552903 h 662481"/>
                <a:gd name="connsiteX82" fmla="*/ 85752 w 652975"/>
                <a:gd name="connsiteY82" fmla="*/ 546376 h 662481"/>
                <a:gd name="connsiteX83" fmla="*/ 540123 w 652975"/>
                <a:gd name="connsiteY83" fmla="*/ 87354 h 662481"/>
                <a:gd name="connsiteX84" fmla="*/ 127255 w 652975"/>
                <a:gd name="connsiteY84" fmla="*/ 69899 h 662481"/>
                <a:gd name="connsiteX85" fmla="*/ 133803 w 652975"/>
                <a:gd name="connsiteY85" fmla="*/ 69899 h 662481"/>
                <a:gd name="connsiteX86" fmla="*/ 133803 w 652975"/>
                <a:gd name="connsiteY86" fmla="*/ 76447 h 662481"/>
                <a:gd name="connsiteX87" fmla="*/ 74867 w 652975"/>
                <a:gd name="connsiteY87" fmla="*/ 135383 h 662481"/>
                <a:gd name="connsiteX88" fmla="*/ 68319 w 652975"/>
                <a:gd name="connsiteY88" fmla="*/ 135383 h 662481"/>
                <a:gd name="connsiteX89" fmla="*/ 68319 w 652975"/>
                <a:gd name="connsiteY89" fmla="*/ 128835 h 662481"/>
                <a:gd name="connsiteX90" fmla="*/ 127255 w 652975"/>
                <a:gd name="connsiteY90" fmla="*/ 69899 h 662481"/>
                <a:gd name="connsiteX91" fmla="*/ 516318 w 652975"/>
                <a:gd name="connsiteY91" fmla="*/ 68302 h 662481"/>
                <a:gd name="connsiteX92" fmla="*/ 522772 w 652975"/>
                <a:gd name="connsiteY92" fmla="*/ 68302 h 662481"/>
                <a:gd name="connsiteX93" fmla="*/ 522772 w 652975"/>
                <a:gd name="connsiteY93" fmla="*/ 74822 h 662481"/>
                <a:gd name="connsiteX94" fmla="*/ 73153 w 652975"/>
                <a:gd name="connsiteY94" fmla="*/ 529093 h 662481"/>
                <a:gd name="connsiteX95" fmla="*/ 66700 w 652975"/>
                <a:gd name="connsiteY95" fmla="*/ 529093 h 662481"/>
                <a:gd name="connsiteX96" fmla="*/ 66700 w 652975"/>
                <a:gd name="connsiteY96" fmla="*/ 522572 h 662481"/>
                <a:gd name="connsiteX97" fmla="*/ 516318 w 652975"/>
                <a:gd name="connsiteY97" fmla="*/ 68302 h 662481"/>
                <a:gd name="connsiteX98" fmla="*/ 490906 w 652975"/>
                <a:gd name="connsiteY98" fmla="*/ 50843 h 662481"/>
                <a:gd name="connsiteX99" fmla="*/ 497370 w 652975"/>
                <a:gd name="connsiteY99" fmla="*/ 50843 h 662481"/>
                <a:gd name="connsiteX100" fmla="*/ 497370 w 652975"/>
                <a:gd name="connsiteY100" fmla="*/ 57375 h 662481"/>
                <a:gd name="connsiteX101" fmla="*/ 55704 w 652975"/>
                <a:gd name="connsiteY101" fmla="*/ 503689 h 662481"/>
                <a:gd name="connsiteX102" fmla="*/ 49241 w 652975"/>
                <a:gd name="connsiteY102" fmla="*/ 503689 h 662481"/>
                <a:gd name="connsiteX103" fmla="*/ 49241 w 652975"/>
                <a:gd name="connsiteY103" fmla="*/ 497158 h 662481"/>
                <a:gd name="connsiteX104" fmla="*/ 490906 w 652975"/>
                <a:gd name="connsiteY104" fmla="*/ 50843 h 662481"/>
                <a:gd name="connsiteX105" fmla="*/ 462327 w 652975"/>
                <a:gd name="connsiteY105" fmla="*/ 34970 h 662481"/>
                <a:gd name="connsiteX106" fmla="*/ 468794 w 652975"/>
                <a:gd name="connsiteY106" fmla="*/ 34970 h 662481"/>
                <a:gd name="connsiteX107" fmla="*/ 468794 w 652975"/>
                <a:gd name="connsiteY107" fmla="*/ 41507 h 662481"/>
                <a:gd name="connsiteX108" fmla="*/ 39834 w 652975"/>
                <a:gd name="connsiteY108" fmla="*/ 475112 h 662481"/>
                <a:gd name="connsiteX109" fmla="*/ 33367 w 652975"/>
                <a:gd name="connsiteY109" fmla="*/ 475112 h 662481"/>
                <a:gd name="connsiteX110" fmla="*/ 33367 w 652975"/>
                <a:gd name="connsiteY110" fmla="*/ 468575 h 662481"/>
                <a:gd name="connsiteX111" fmla="*/ 462327 w 652975"/>
                <a:gd name="connsiteY111" fmla="*/ 34970 h 662481"/>
                <a:gd name="connsiteX112" fmla="*/ 432168 w 652975"/>
                <a:gd name="connsiteY112" fmla="*/ 22270 h 662481"/>
                <a:gd name="connsiteX113" fmla="*/ 438632 w 652975"/>
                <a:gd name="connsiteY113" fmla="*/ 22270 h 662481"/>
                <a:gd name="connsiteX114" fmla="*/ 438632 w 652975"/>
                <a:gd name="connsiteY114" fmla="*/ 28806 h 662481"/>
                <a:gd name="connsiteX115" fmla="*/ 27129 w 652975"/>
                <a:gd name="connsiteY115" fmla="*/ 444950 h 662481"/>
                <a:gd name="connsiteX116" fmla="*/ 20665 w 652975"/>
                <a:gd name="connsiteY116" fmla="*/ 444950 h 662481"/>
                <a:gd name="connsiteX117" fmla="*/ 20665 w 652975"/>
                <a:gd name="connsiteY117" fmla="*/ 438414 h 662481"/>
                <a:gd name="connsiteX118" fmla="*/ 432168 w 652975"/>
                <a:gd name="connsiteY118" fmla="*/ 22270 h 662481"/>
                <a:gd name="connsiteX119" fmla="*/ 219443 w 652975"/>
                <a:gd name="connsiteY119" fmla="*/ 19103 h 662481"/>
                <a:gd name="connsiteX120" fmla="*/ 225907 w 652975"/>
                <a:gd name="connsiteY120" fmla="*/ 19103 h 662481"/>
                <a:gd name="connsiteX121" fmla="*/ 225907 w 652975"/>
                <a:gd name="connsiteY121" fmla="*/ 25663 h 662481"/>
                <a:gd name="connsiteX122" fmla="*/ 25541 w 652975"/>
                <a:gd name="connsiteY122" fmla="*/ 229042 h 662481"/>
                <a:gd name="connsiteX123" fmla="*/ 19077 w 652975"/>
                <a:gd name="connsiteY123" fmla="*/ 229042 h 662481"/>
                <a:gd name="connsiteX124" fmla="*/ 19077 w 652975"/>
                <a:gd name="connsiteY124" fmla="*/ 222482 h 662481"/>
                <a:gd name="connsiteX125" fmla="*/ 219443 w 652975"/>
                <a:gd name="connsiteY125" fmla="*/ 19103 h 662481"/>
                <a:gd name="connsiteX126" fmla="*/ 400433 w 652975"/>
                <a:gd name="connsiteY126" fmla="*/ 11154 h 662481"/>
                <a:gd name="connsiteX127" fmla="*/ 406885 w 652975"/>
                <a:gd name="connsiteY127" fmla="*/ 11154 h 662481"/>
                <a:gd name="connsiteX128" fmla="*/ 406885 w 652975"/>
                <a:gd name="connsiteY128" fmla="*/ 17684 h 662481"/>
                <a:gd name="connsiteX129" fmla="*/ 17589 w 652975"/>
                <a:gd name="connsiteY129" fmla="*/ 411615 h 662481"/>
                <a:gd name="connsiteX130" fmla="*/ 11137 w 652975"/>
                <a:gd name="connsiteY130" fmla="*/ 411615 h 662481"/>
                <a:gd name="connsiteX131" fmla="*/ 11137 w 652975"/>
                <a:gd name="connsiteY131" fmla="*/ 405085 h 662481"/>
                <a:gd name="connsiteX132" fmla="*/ 400433 w 652975"/>
                <a:gd name="connsiteY132" fmla="*/ 11154 h 662481"/>
                <a:gd name="connsiteX133" fmla="*/ 274487 w 652975"/>
                <a:gd name="connsiteY133" fmla="*/ 6397 h 662481"/>
                <a:gd name="connsiteX134" fmla="*/ 283066 w 652975"/>
                <a:gd name="connsiteY134" fmla="*/ 6397 h 662481"/>
                <a:gd name="connsiteX135" fmla="*/ 283066 w 652975"/>
                <a:gd name="connsiteY135" fmla="*/ 12941 h 662481"/>
                <a:gd name="connsiteX136" fmla="*/ 12803 w 652975"/>
                <a:gd name="connsiteY136" fmla="*/ 287785 h 662481"/>
                <a:gd name="connsiteX137" fmla="*/ 6368 w 652975"/>
                <a:gd name="connsiteY137" fmla="*/ 287785 h 662481"/>
                <a:gd name="connsiteX138" fmla="*/ 6368 w 652975"/>
                <a:gd name="connsiteY138" fmla="*/ 279060 h 662481"/>
                <a:gd name="connsiteX139" fmla="*/ 274487 w 652975"/>
                <a:gd name="connsiteY139" fmla="*/ 6397 h 662481"/>
                <a:gd name="connsiteX140" fmla="*/ 363884 w 652975"/>
                <a:gd name="connsiteY140" fmla="*/ 4806 h 662481"/>
                <a:gd name="connsiteX141" fmla="*/ 370363 w 652975"/>
                <a:gd name="connsiteY141" fmla="*/ 4806 h 662481"/>
                <a:gd name="connsiteX142" fmla="*/ 370363 w 652975"/>
                <a:gd name="connsiteY142" fmla="*/ 11341 h 662481"/>
                <a:gd name="connsiteX143" fmla="*/ 9687 w 652975"/>
                <a:gd name="connsiteY143" fmla="*/ 375100 h 662481"/>
                <a:gd name="connsiteX144" fmla="*/ 3207 w 652975"/>
                <a:gd name="connsiteY144" fmla="*/ 375100 h 662481"/>
                <a:gd name="connsiteX145" fmla="*/ 3207 w 652975"/>
                <a:gd name="connsiteY145" fmla="*/ 368565 h 662481"/>
                <a:gd name="connsiteX146" fmla="*/ 363884 w 652975"/>
                <a:gd name="connsiteY146" fmla="*/ 4806 h 662481"/>
                <a:gd name="connsiteX147" fmla="*/ 322631 w 652975"/>
                <a:gd name="connsiteY147" fmla="*/ 1638 h 662481"/>
                <a:gd name="connsiteX148" fmla="*/ 329095 w 652975"/>
                <a:gd name="connsiteY148" fmla="*/ 1638 h 662481"/>
                <a:gd name="connsiteX149" fmla="*/ 329095 w 652975"/>
                <a:gd name="connsiteY149" fmla="*/ 8194 h 662481"/>
                <a:gd name="connsiteX150" fmla="*/ 8079 w 652975"/>
                <a:gd name="connsiteY150" fmla="*/ 333818 h 662481"/>
                <a:gd name="connsiteX151" fmla="*/ 1615 w 652975"/>
                <a:gd name="connsiteY151" fmla="*/ 333818 h 662481"/>
                <a:gd name="connsiteX152" fmla="*/ 1615 w 652975"/>
                <a:gd name="connsiteY152" fmla="*/ 327262 h 662481"/>
                <a:gd name="connsiteX153" fmla="*/ 322631 w 652975"/>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5"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95" y="433440"/>
                  </a:moveTo>
                  <a:cubicBezTo>
                    <a:pt x="629633" y="431253"/>
                    <a:pt x="631772" y="431253"/>
                    <a:pt x="633910" y="433440"/>
                  </a:cubicBezTo>
                  <a:cubicBezTo>
                    <a:pt x="636048" y="435627"/>
                    <a:pt x="636048" y="437814"/>
                    <a:pt x="633910" y="440001"/>
                  </a:cubicBezTo>
                  <a:cubicBezTo>
                    <a:pt x="633910" y="440001"/>
                    <a:pt x="633910" y="440001"/>
                    <a:pt x="435051" y="643379"/>
                  </a:cubicBezTo>
                  <a:cubicBezTo>
                    <a:pt x="432913" y="645566"/>
                    <a:pt x="430775" y="645566"/>
                    <a:pt x="428637" y="643379"/>
                  </a:cubicBezTo>
                  <a:cubicBezTo>
                    <a:pt x="426498" y="641192"/>
                    <a:pt x="426498" y="639006"/>
                    <a:pt x="428637" y="636819"/>
                  </a:cubicBezTo>
                  <a:cubicBezTo>
                    <a:pt x="428637" y="636819"/>
                    <a:pt x="428637" y="636819"/>
                    <a:pt x="627495" y="433440"/>
                  </a:cubicBezTo>
                  <a:close/>
                  <a:moveTo>
                    <a:pt x="641708" y="374697"/>
                  </a:moveTo>
                  <a:cubicBezTo>
                    <a:pt x="643865" y="372516"/>
                    <a:pt x="648179" y="372516"/>
                    <a:pt x="648179" y="374697"/>
                  </a:cubicBezTo>
                  <a:cubicBezTo>
                    <a:pt x="650336" y="376879"/>
                    <a:pt x="650336" y="381241"/>
                    <a:pt x="648179" y="383423"/>
                  </a:cubicBezTo>
                  <a:cubicBezTo>
                    <a:pt x="648179" y="383423"/>
                    <a:pt x="648179" y="383423"/>
                    <a:pt x="378547" y="656085"/>
                  </a:cubicBezTo>
                  <a:cubicBezTo>
                    <a:pt x="376389" y="658266"/>
                    <a:pt x="372075" y="658266"/>
                    <a:pt x="369918" y="656085"/>
                  </a:cubicBezTo>
                  <a:cubicBezTo>
                    <a:pt x="367761" y="656085"/>
                    <a:pt x="367761" y="651722"/>
                    <a:pt x="369918" y="649541"/>
                  </a:cubicBezTo>
                  <a:cubicBezTo>
                    <a:pt x="369918" y="649541"/>
                    <a:pt x="369918" y="649541"/>
                    <a:pt x="641708" y="374697"/>
                  </a:cubicBezTo>
                  <a:close/>
                  <a:moveTo>
                    <a:pt x="644935" y="328664"/>
                  </a:moveTo>
                  <a:cubicBezTo>
                    <a:pt x="647079" y="326478"/>
                    <a:pt x="649223" y="326478"/>
                    <a:pt x="651367" y="328664"/>
                  </a:cubicBezTo>
                  <a:cubicBezTo>
                    <a:pt x="653511" y="330849"/>
                    <a:pt x="653511" y="333034"/>
                    <a:pt x="651367" y="335220"/>
                  </a:cubicBezTo>
                  <a:cubicBezTo>
                    <a:pt x="651367" y="335220"/>
                    <a:pt x="651367" y="335220"/>
                    <a:pt x="331888" y="660843"/>
                  </a:cubicBezTo>
                  <a:cubicBezTo>
                    <a:pt x="329744" y="663028"/>
                    <a:pt x="327600" y="663028"/>
                    <a:pt x="325455" y="660843"/>
                  </a:cubicBezTo>
                  <a:cubicBezTo>
                    <a:pt x="323311" y="658657"/>
                    <a:pt x="323311" y="656472"/>
                    <a:pt x="325455" y="654287"/>
                  </a:cubicBezTo>
                  <a:cubicBezTo>
                    <a:pt x="325455" y="654287"/>
                    <a:pt x="325455" y="654287"/>
                    <a:pt x="644935" y="328664"/>
                  </a:cubicBezTo>
                  <a:close/>
                  <a:moveTo>
                    <a:pt x="643322" y="287381"/>
                  </a:moveTo>
                  <a:cubicBezTo>
                    <a:pt x="645473" y="285203"/>
                    <a:pt x="647623" y="285203"/>
                    <a:pt x="649774" y="287381"/>
                  </a:cubicBezTo>
                  <a:cubicBezTo>
                    <a:pt x="651924" y="289560"/>
                    <a:pt x="651924" y="291738"/>
                    <a:pt x="649774" y="293916"/>
                  </a:cubicBezTo>
                  <a:cubicBezTo>
                    <a:pt x="649774" y="293916"/>
                    <a:pt x="649774" y="293916"/>
                    <a:pt x="290638" y="657675"/>
                  </a:cubicBezTo>
                  <a:cubicBezTo>
                    <a:pt x="288488" y="659853"/>
                    <a:pt x="286337" y="659853"/>
                    <a:pt x="284187" y="657675"/>
                  </a:cubicBezTo>
                  <a:cubicBezTo>
                    <a:pt x="282036" y="655497"/>
                    <a:pt x="282036" y="653319"/>
                    <a:pt x="284187" y="651140"/>
                  </a:cubicBezTo>
                  <a:cubicBezTo>
                    <a:pt x="284187" y="651140"/>
                    <a:pt x="284187" y="651140"/>
                    <a:pt x="643322" y="287381"/>
                  </a:cubicBezTo>
                  <a:close/>
                  <a:moveTo>
                    <a:pt x="636970" y="250868"/>
                  </a:moveTo>
                  <a:cubicBezTo>
                    <a:pt x="639121" y="248691"/>
                    <a:pt x="641272" y="248691"/>
                    <a:pt x="643422" y="250868"/>
                  </a:cubicBezTo>
                  <a:cubicBezTo>
                    <a:pt x="645573" y="253044"/>
                    <a:pt x="645573" y="255220"/>
                    <a:pt x="643422" y="257397"/>
                  </a:cubicBezTo>
                  <a:cubicBezTo>
                    <a:pt x="643422" y="257397"/>
                    <a:pt x="643422" y="257397"/>
                    <a:pt x="254126" y="651328"/>
                  </a:cubicBezTo>
                  <a:cubicBezTo>
                    <a:pt x="251976" y="653504"/>
                    <a:pt x="249825" y="653504"/>
                    <a:pt x="247674" y="651328"/>
                  </a:cubicBezTo>
                  <a:cubicBezTo>
                    <a:pt x="245523" y="649151"/>
                    <a:pt x="245523" y="646975"/>
                    <a:pt x="247674" y="644798"/>
                  </a:cubicBezTo>
                  <a:cubicBezTo>
                    <a:pt x="247674" y="644798"/>
                    <a:pt x="247674" y="644798"/>
                    <a:pt x="636970"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8856" y="158793"/>
                  </a:moveTo>
                  <a:cubicBezTo>
                    <a:pt x="601011" y="156616"/>
                    <a:pt x="603165" y="156616"/>
                    <a:pt x="605320" y="158793"/>
                  </a:cubicBezTo>
                  <a:cubicBezTo>
                    <a:pt x="607474" y="160970"/>
                    <a:pt x="607474" y="163148"/>
                    <a:pt x="605320" y="165325"/>
                  </a:cubicBezTo>
                  <a:cubicBezTo>
                    <a:pt x="605320" y="165325"/>
                    <a:pt x="605320" y="165325"/>
                    <a:pt x="163654" y="611639"/>
                  </a:cubicBezTo>
                  <a:cubicBezTo>
                    <a:pt x="161500" y="613816"/>
                    <a:pt x="159345" y="613816"/>
                    <a:pt x="157191" y="611639"/>
                  </a:cubicBezTo>
                  <a:cubicBezTo>
                    <a:pt x="155036" y="609462"/>
                    <a:pt x="155036" y="607285"/>
                    <a:pt x="157191" y="605108"/>
                  </a:cubicBezTo>
                  <a:cubicBezTo>
                    <a:pt x="157191" y="605108"/>
                    <a:pt x="157191" y="605108"/>
                    <a:pt x="598856" y="158793"/>
                  </a:cubicBezTo>
                  <a:close/>
                  <a:moveTo>
                    <a:pt x="581376" y="133390"/>
                  </a:moveTo>
                  <a:cubicBezTo>
                    <a:pt x="583535" y="131216"/>
                    <a:pt x="585694" y="131216"/>
                    <a:pt x="587853" y="133390"/>
                  </a:cubicBezTo>
                  <a:cubicBezTo>
                    <a:pt x="590011" y="135563"/>
                    <a:pt x="590011" y="137737"/>
                    <a:pt x="587853" y="139910"/>
                  </a:cubicBezTo>
                  <a:cubicBezTo>
                    <a:pt x="587853" y="139910"/>
                    <a:pt x="587853" y="139910"/>
                    <a:pt x="136683" y="594181"/>
                  </a:cubicBezTo>
                  <a:cubicBezTo>
                    <a:pt x="134524" y="596354"/>
                    <a:pt x="132366" y="596354"/>
                    <a:pt x="130207" y="594181"/>
                  </a:cubicBezTo>
                  <a:cubicBezTo>
                    <a:pt x="128048" y="592007"/>
                    <a:pt x="128048" y="589834"/>
                    <a:pt x="130207" y="587660"/>
                  </a:cubicBezTo>
                  <a:cubicBezTo>
                    <a:pt x="130207" y="587660"/>
                    <a:pt x="130207" y="587660"/>
                    <a:pt x="581376" y="133390"/>
                  </a:cubicBezTo>
                  <a:close/>
                  <a:moveTo>
                    <a:pt x="560789" y="109579"/>
                  </a:moveTo>
                  <a:cubicBezTo>
                    <a:pt x="562935" y="107403"/>
                    <a:pt x="565081" y="107403"/>
                    <a:pt x="567227" y="109579"/>
                  </a:cubicBezTo>
                  <a:cubicBezTo>
                    <a:pt x="569373" y="111754"/>
                    <a:pt x="569373" y="113930"/>
                    <a:pt x="567227" y="116105"/>
                  </a:cubicBezTo>
                  <a:cubicBezTo>
                    <a:pt x="567227" y="116105"/>
                    <a:pt x="567227" y="116105"/>
                    <a:pt x="114408" y="575128"/>
                  </a:cubicBezTo>
                  <a:cubicBezTo>
                    <a:pt x="112261" y="577303"/>
                    <a:pt x="110115" y="577303"/>
                    <a:pt x="107969" y="575128"/>
                  </a:cubicBezTo>
                  <a:cubicBezTo>
                    <a:pt x="105823" y="572952"/>
                    <a:pt x="105823" y="570777"/>
                    <a:pt x="107969" y="568601"/>
                  </a:cubicBezTo>
                  <a:cubicBezTo>
                    <a:pt x="107969" y="568601"/>
                    <a:pt x="107969" y="568601"/>
                    <a:pt x="560789"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7255" y="69899"/>
                  </a:moveTo>
                  <a:cubicBezTo>
                    <a:pt x="129438" y="67716"/>
                    <a:pt x="131621" y="67716"/>
                    <a:pt x="133803" y="69899"/>
                  </a:cubicBezTo>
                  <a:cubicBezTo>
                    <a:pt x="135986" y="72082"/>
                    <a:pt x="135986" y="76447"/>
                    <a:pt x="133803" y="76447"/>
                  </a:cubicBezTo>
                  <a:cubicBezTo>
                    <a:pt x="133803" y="76447"/>
                    <a:pt x="133803" y="76447"/>
                    <a:pt x="74867" y="135383"/>
                  </a:cubicBezTo>
                  <a:cubicBezTo>
                    <a:pt x="74867" y="137566"/>
                    <a:pt x="70502" y="137566"/>
                    <a:pt x="68319" y="135383"/>
                  </a:cubicBezTo>
                  <a:cubicBezTo>
                    <a:pt x="66136" y="133201"/>
                    <a:pt x="66136" y="131018"/>
                    <a:pt x="68319" y="128835"/>
                  </a:cubicBezTo>
                  <a:cubicBezTo>
                    <a:pt x="68319" y="128835"/>
                    <a:pt x="68319" y="128835"/>
                    <a:pt x="127255" y="69899"/>
                  </a:cubicBezTo>
                  <a:close/>
                  <a:moveTo>
                    <a:pt x="516318" y="68302"/>
                  </a:moveTo>
                  <a:cubicBezTo>
                    <a:pt x="518469" y="66128"/>
                    <a:pt x="520621" y="66128"/>
                    <a:pt x="522772" y="68302"/>
                  </a:cubicBezTo>
                  <a:cubicBezTo>
                    <a:pt x="524923" y="70475"/>
                    <a:pt x="524923" y="72649"/>
                    <a:pt x="522772" y="74822"/>
                  </a:cubicBezTo>
                  <a:cubicBezTo>
                    <a:pt x="522772" y="74822"/>
                    <a:pt x="522772" y="74822"/>
                    <a:pt x="73153" y="529093"/>
                  </a:cubicBezTo>
                  <a:cubicBezTo>
                    <a:pt x="71002" y="531266"/>
                    <a:pt x="68851" y="531266"/>
                    <a:pt x="66700" y="529093"/>
                  </a:cubicBezTo>
                  <a:cubicBezTo>
                    <a:pt x="64548" y="526919"/>
                    <a:pt x="64548" y="524746"/>
                    <a:pt x="66700" y="522572"/>
                  </a:cubicBezTo>
                  <a:cubicBezTo>
                    <a:pt x="66700" y="522572"/>
                    <a:pt x="66700" y="522572"/>
                    <a:pt x="516318" y="68302"/>
                  </a:cubicBezTo>
                  <a:close/>
                  <a:moveTo>
                    <a:pt x="490906" y="50843"/>
                  </a:moveTo>
                  <a:cubicBezTo>
                    <a:pt x="493061" y="48666"/>
                    <a:pt x="495215" y="48666"/>
                    <a:pt x="497370" y="50843"/>
                  </a:cubicBezTo>
                  <a:cubicBezTo>
                    <a:pt x="499524" y="53020"/>
                    <a:pt x="499524" y="55198"/>
                    <a:pt x="497370" y="57375"/>
                  </a:cubicBezTo>
                  <a:cubicBezTo>
                    <a:pt x="497370" y="57375"/>
                    <a:pt x="497370" y="57375"/>
                    <a:pt x="55704" y="503689"/>
                  </a:cubicBezTo>
                  <a:cubicBezTo>
                    <a:pt x="53550" y="505866"/>
                    <a:pt x="51395" y="505866"/>
                    <a:pt x="49241" y="503689"/>
                  </a:cubicBezTo>
                  <a:cubicBezTo>
                    <a:pt x="47086" y="501512"/>
                    <a:pt x="47086" y="499335"/>
                    <a:pt x="49241" y="497158"/>
                  </a:cubicBezTo>
                  <a:cubicBezTo>
                    <a:pt x="49241" y="497158"/>
                    <a:pt x="49241" y="497158"/>
                    <a:pt x="490906"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4"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400433" y="11154"/>
                  </a:moveTo>
                  <a:cubicBezTo>
                    <a:pt x="402584" y="8978"/>
                    <a:pt x="404735" y="8978"/>
                    <a:pt x="406885" y="11154"/>
                  </a:cubicBezTo>
                  <a:cubicBezTo>
                    <a:pt x="409036" y="13331"/>
                    <a:pt x="409036" y="15507"/>
                    <a:pt x="406885" y="17684"/>
                  </a:cubicBezTo>
                  <a:cubicBezTo>
                    <a:pt x="406885" y="17684"/>
                    <a:pt x="406885" y="17684"/>
                    <a:pt x="17589" y="411615"/>
                  </a:cubicBezTo>
                  <a:cubicBezTo>
                    <a:pt x="15438" y="413791"/>
                    <a:pt x="13287" y="413791"/>
                    <a:pt x="11137" y="411615"/>
                  </a:cubicBezTo>
                  <a:cubicBezTo>
                    <a:pt x="8986" y="409438"/>
                    <a:pt x="8986" y="407262"/>
                    <a:pt x="11137" y="405085"/>
                  </a:cubicBezTo>
                  <a:cubicBezTo>
                    <a:pt x="11137" y="405085"/>
                    <a:pt x="11137" y="405085"/>
                    <a:pt x="400433"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3884" y="4806"/>
                  </a:moveTo>
                  <a:cubicBezTo>
                    <a:pt x="366044" y="2628"/>
                    <a:pt x="368204" y="2628"/>
                    <a:pt x="370363" y="4806"/>
                  </a:cubicBezTo>
                  <a:cubicBezTo>
                    <a:pt x="372523" y="6984"/>
                    <a:pt x="372523" y="9162"/>
                    <a:pt x="370363" y="11341"/>
                  </a:cubicBezTo>
                  <a:cubicBezTo>
                    <a:pt x="370363" y="11341"/>
                    <a:pt x="370363" y="11341"/>
                    <a:pt x="9687" y="375100"/>
                  </a:cubicBezTo>
                  <a:cubicBezTo>
                    <a:pt x="7527" y="377278"/>
                    <a:pt x="5367" y="377278"/>
                    <a:pt x="3207" y="375100"/>
                  </a:cubicBezTo>
                  <a:cubicBezTo>
                    <a:pt x="1048" y="372922"/>
                    <a:pt x="1048" y="370744"/>
                    <a:pt x="3207" y="368565"/>
                  </a:cubicBezTo>
                  <a:cubicBezTo>
                    <a:pt x="3207" y="368565"/>
                    <a:pt x="3207" y="368565"/>
                    <a:pt x="36388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tx1">
                <a:alpha val="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7" name="Isosceles Triangle 49">
              <a:extLst>
                <a:ext uri="{FF2B5EF4-FFF2-40B4-BE49-F238E27FC236}">
                  <a16:creationId xmlns:a16="http://schemas.microsoft.com/office/drawing/2014/main" id="{7D23F95D-5E72-4A0C-9925-E7F179FA3229}"/>
                </a:ext>
              </a:extLst>
            </p:cNvPr>
            <p:cNvSpPr/>
            <p:nvPr/>
          </p:nvSpPr>
          <p:spPr>
            <a:xfrm rot="16849066">
              <a:off x="7982671" y="2680089"/>
              <a:ext cx="359763" cy="313778"/>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ln>
              <a:solidFill>
                <a:schemeClr val="accent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68" name="Isosceles Triangle 49">
              <a:extLst>
                <a:ext uri="{FF2B5EF4-FFF2-40B4-BE49-F238E27FC236}">
                  <a16:creationId xmlns:a16="http://schemas.microsoft.com/office/drawing/2014/main" id="{6EBC7280-7AA4-4AAF-B2DB-AF8743CF1D7B}"/>
                </a:ext>
              </a:extLst>
            </p:cNvPr>
            <p:cNvSpPr/>
            <p:nvPr/>
          </p:nvSpPr>
          <p:spPr>
            <a:xfrm rot="6590397">
              <a:off x="7822037" y="2418173"/>
              <a:ext cx="1050204" cy="91596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ln>
              <a:solidFill>
                <a:schemeClr val="accent1"/>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76" name="Isosceles Triangle 49">
              <a:extLst>
                <a:ext uri="{FF2B5EF4-FFF2-40B4-BE49-F238E27FC236}">
                  <a16:creationId xmlns:a16="http://schemas.microsoft.com/office/drawing/2014/main" id="{3700CA13-CC48-41E2-AE40-22EF161CCE4A}"/>
                </a:ext>
              </a:extLst>
            </p:cNvPr>
            <p:cNvSpPr/>
            <p:nvPr/>
          </p:nvSpPr>
          <p:spPr>
            <a:xfrm rot="6590397">
              <a:off x="8649162" y="2816074"/>
              <a:ext cx="202146" cy="176308"/>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ln>
              <a:solidFill>
                <a:schemeClr val="bg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78" name="Oval 77">
              <a:extLst>
                <a:ext uri="{FF2B5EF4-FFF2-40B4-BE49-F238E27FC236}">
                  <a16:creationId xmlns:a16="http://schemas.microsoft.com/office/drawing/2014/main" id="{1C5455CF-DA46-4935-A7FA-13BE35F88C1A}"/>
                </a:ext>
              </a:extLst>
            </p:cNvPr>
            <p:cNvSpPr/>
            <p:nvPr/>
          </p:nvSpPr>
          <p:spPr>
            <a:xfrm>
              <a:off x="8532511" y="3215786"/>
              <a:ext cx="73026" cy="73024"/>
            </a:xfrm>
            <a:prstGeom prst="ellipse">
              <a:avLst/>
            </a:prstGeom>
            <a:solidFill>
              <a:schemeClr val="tx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79" name="Oval 78">
              <a:extLst>
                <a:ext uri="{FF2B5EF4-FFF2-40B4-BE49-F238E27FC236}">
                  <a16:creationId xmlns:a16="http://schemas.microsoft.com/office/drawing/2014/main" id="{2B9BF5A8-B155-4486-A1F2-2EDF01C389A6}"/>
                </a:ext>
              </a:extLst>
            </p:cNvPr>
            <p:cNvSpPr/>
            <p:nvPr/>
          </p:nvSpPr>
          <p:spPr>
            <a:xfrm>
              <a:off x="8683006" y="2596661"/>
              <a:ext cx="73026" cy="73024"/>
            </a:xfrm>
            <a:prstGeom prst="ellipse">
              <a:avLst/>
            </a:prstGeom>
            <a:solidFill>
              <a:schemeClr val="tx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pic>
          <p:nvPicPr>
            <p:cNvPr id="75" name="Picture 74" descr="A picture containing person, holding, hand, dark&#10;&#10;Description automatically generated">
              <a:extLst>
                <a:ext uri="{FF2B5EF4-FFF2-40B4-BE49-F238E27FC236}">
                  <a16:creationId xmlns:a16="http://schemas.microsoft.com/office/drawing/2014/main" id="{5069ABAA-F951-42C4-85D7-8D8851E2CD5D}"/>
                </a:ext>
              </a:extLst>
            </p:cNvPr>
            <p:cNvPicPr>
              <a:picLocks noChangeAspect="1"/>
            </p:cNvPicPr>
            <p:nvPr/>
          </p:nvPicPr>
          <p:blipFill rotWithShape="1">
            <a:blip r:embed="rId3" cstate="screen">
              <a:grayscl/>
              <a:extLst>
                <a:ext uri="{28A0092B-C50C-407E-A947-70E740481C1C}">
                  <a14:useLocalDpi xmlns:a14="http://schemas.microsoft.com/office/drawing/2010/main"/>
                </a:ext>
              </a:extLst>
            </a:blip>
            <a:srcRect/>
            <a:stretch/>
          </p:blipFill>
          <p:spPr>
            <a:xfrm>
              <a:off x="5941352" y="1281575"/>
              <a:ext cx="2449885" cy="2222407"/>
            </a:xfrm>
            <a:custGeom>
              <a:avLst/>
              <a:gdLst>
                <a:gd name="connsiteX0" fmla="*/ 1323892 w 2449885"/>
                <a:gd name="connsiteY0" fmla="*/ 0 h 2222407"/>
                <a:gd name="connsiteX1" fmla="*/ 2421684 w 2449885"/>
                <a:gd name="connsiteY1" fmla="*/ 583692 h 2222407"/>
                <a:gd name="connsiteX2" fmla="*/ 2449885 w 2449885"/>
                <a:gd name="connsiteY2" fmla="*/ 630112 h 2222407"/>
                <a:gd name="connsiteX3" fmla="*/ 2449885 w 2449885"/>
                <a:gd name="connsiteY3" fmla="*/ 1850517 h 2222407"/>
                <a:gd name="connsiteX4" fmla="*/ 2077995 w 2449885"/>
                <a:gd name="connsiteY4" fmla="*/ 2222407 h 2222407"/>
                <a:gd name="connsiteX5" fmla="*/ 353570 w 2449885"/>
                <a:gd name="connsiteY5" fmla="*/ 2222407 h 2222407"/>
                <a:gd name="connsiteX6" fmla="*/ 302313 w 2449885"/>
                <a:gd name="connsiteY6" fmla="*/ 2166010 h 2222407"/>
                <a:gd name="connsiteX7" fmla="*/ 0 w 2449885"/>
                <a:gd name="connsiteY7" fmla="*/ 1323892 h 2222407"/>
                <a:gd name="connsiteX8" fmla="*/ 1323892 w 2449885"/>
                <a:gd name="connsiteY8" fmla="*/ 0 h 222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9885" h="2222407">
                  <a:moveTo>
                    <a:pt x="1323892" y="0"/>
                  </a:moveTo>
                  <a:cubicBezTo>
                    <a:pt x="1780870" y="0"/>
                    <a:pt x="2183771" y="231534"/>
                    <a:pt x="2421684" y="583692"/>
                  </a:cubicBezTo>
                  <a:lnTo>
                    <a:pt x="2449885" y="630112"/>
                  </a:lnTo>
                  <a:lnTo>
                    <a:pt x="2449885" y="1850517"/>
                  </a:lnTo>
                  <a:cubicBezTo>
                    <a:pt x="2449885" y="2055906"/>
                    <a:pt x="2283384" y="2222407"/>
                    <a:pt x="2077995" y="2222407"/>
                  </a:cubicBezTo>
                  <a:lnTo>
                    <a:pt x="353570" y="2222407"/>
                  </a:lnTo>
                  <a:lnTo>
                    <a:pt x="302313" y="2166010"/>
                  </a:lnTo>
                  <a:cubicBezTo>
                    <a:pt x="113452" y="1937164"/>
                    <a:pt x="0" y="1643777"/>
                    <a:pt x="0" y="1323892"/>
                  </a:cubicBezTo>
                  <a:cubicBezTo>
                    <a:pt x="0" y="592727"/>
                    <a:pt x="592727" y="0"/>
                    <a:pt x="1323892" y="0"/>
                  </a:cubicBezTo>
                  <a:close/>
                </a:path>
              </a:pathLst>
            </a:custGeom>
          </p:spPr>
        </p:pic>
      </p:grpSp>
    </p:spTree>
    <p:extLst>
      <p:ext uri="{BB962C8B-B14F-4D97-AF65-F5344CB8AC3E}">
        <p14:creationId xmlns:p14="http://schemas.microsoft.com/office/powerpoint/2010/main" val="19689316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0CB007-04CB-4806-8DFA-76CC5E2FF9C8}"/>
              </a:ext>
            </a:extLst>
          </p:cNvPr>
          <p:cNvSpPr>
            <a:spLocks noGrp="1"/>
          </p:cNvSpPr>
          <p:nvPr>
            <p:ph type="title"/>
          </p:nvPr>
        </p:nvSpPr>
        <p:spPr/>
        <p:txBody>
          <a:bodyPr/>
          <a:lstStyle/>
          <a:p>
            <a:r>
              <a:rPr lang="en-US"/>
              <a:t>You need a plan for tomorrow, not just today</a:t>
            </a:r>
          </a:p>
        </p:txBody>
      </p:sp>
      <p:sp>
        <p:nvSpPr>
          <p:cNvPr id="6" name="TextBox 5">
            <a:extLst>
              <a:ext uri="{FF2B5EF4-FFF2-40B4-BE49-F238E27FC236}">
                <a16:creationId xmlns:a16="http://schemas.microsoft.com/office/drawing/2014/main" id="{27D1EA0F-6482-4E24-A735-4D3C7FB1554A}"/>
              </a:ext>
            </a:extLst>
          </p:cNvPr>
          <p:cNvSpPr txBox="1"/>
          <p:nvPr/>
        </p:nvSpPr>
        <p:spPr>
          <a:xfrm>
            <a:off x="537201" y="3091633"/>
            <a:ext cx="1958661" cy="757130"/>
          </a:xfrm>
          <a:prstGeom prst="rect">
            <a:avLst/>
          </a:prstGeom>
          <a:noFill/>
          <a:ln>
            <a:noFill/>
          </a:ln>
        </p:spPr>
        <p:txBody>
          <a:bodyPr wrap="square" rtlCol="0">
            <a:noAutofit/>
          </a:bodyPr>
          <a:lstStyle/>
          <a:p>
            <a:pPr algn="ctr" defTabSz="684213">
              <a:lnSpc>
                <a:spcPct val="90000"/>
              </a:lnSpc>
              <a:defRPr/>
            </a:pPr>
            <a:r>
              <a:rPr lang="en-US" sz="1600">
                <a:solidFill>
                  <a:schemeClr val="bg2"/>
                </a:solidFill>
                <a:latin typeface="CiscoSansTT ExtraLight"/>
              </a:rPr>
              <a:t>Execute an effective approach to identity,</a:t>
            </a:r>
            <a:br>
              <a:rPr lang="en-US" sz="1600">
                <a:solidFill>
                  <a:schemeClr val="bg2"/>
                </a:solidFill>
                <a:latin typeface="CiscoSansTT ExtraLight"/>
              </a:rPr>
            </a:br>
            <a:r>
              <a:rPr lang="en-US" sz="1600">
                <a:solidFill>
                  <a:schemeClr val="bg2"/>
                </a:solidFill>
                <a:latin typeface="CiscoSansTT ExtraLight"/>
              </a:rPr>
              <a:t>threats, and policy</a:t>
            </a:r>
          </a:p>
        </p:txBody>
      </p:sp>
      <p:sp>
        <p:nvSpPr>
          <p:cNvPr id="7" name="TextBox 6">
            <a:extLst>
              <a:ext uri="{FF2B5EF4-FFF2-40B4-BE49-F238E27FC236}">
                <a16:creationId xmlns:a16="http://schemas.microsoft.com/office/drawing/2014/main" id="{F1B4688F-681E-494A-B779-87BFD932D54A}"/>
              </a:ext>
            </a:extLst>
          </p:cNvPr>
          <p:cNvSpPr txBox="1"/>
          <p:nvPr/>
        </p:nvSpPr>
        <p:spPr>
          <a:xfrm>
            <a:off x="2574180" y="3091633"/>
            <a:ext cx="1958661" cy="757130"/>
          </a:xfrm>
          <a:prstGeom prst="rect">
            <a:avLst/>
          </a:prstGeom>
          <a:noFill/>
          <a:ln>
            <a:noFill/>
          </a:ln>
        </p:spPr>
        <p:txBody>
          <a:bodyPr wrap="square" rtlCol="0">
            <a:noAutofit/>
          </a:bodyPr>
          <a:lstStyle/>
          <a:p>
            <a:pPr marL="0" marR="0" lvl="0" indent="0" algn="ctr" defTabSz="684213" eaLnBrk="1" latinLnBrk="0" hangingPunct="1">
              <a:lnSpc>
                <a:spcPct val="90000"/>
              </a:lnSpc>
              <a:buClrTx/>
              <a:buSzTx/>
              <a:buFontTx/>
              <a:buNone/>
              <a:tabLst/>
              <a:defRPr/>
            </a:pPr>
            <a:r>
              <a:rPr lang="en-US" sz="1600">
                <a:solidFill>
                  <a:schemeClr val="bg2"/>
                </a:solidFill>
                <a:latin typeface="CiscoSansTT ExtraLight"/>
              </a:rPr>
              <a:t>Prove </a:t>
            </a:r>
          </a:p>
          <a:p>
            <a:pPr marL="0" marR="0" lvl="0" indent="0" algn="ctr" defTabSz="684213" eaLnBrk="1" latinLnBrk="0" hangingPunct="1">
              <a:lnSpc>
                <a:spcPct val="90000"/>
              </a:lnSpc>
              <a:buClrTx/>
              <a:buSzTx/>
              <a:buFontTx/>
              <a:buNone/>
              <a:tabLst/>
              <a:defRPr/>
            </a:pPr>
            <a:r>
              <a:rPr lang="en-US" sz="1600">
                <a:solidFill>
                  <a:schemeClr val="bg2"/>
                </a:solidFill>
                <a:latin typeface="CiscoSansTT ExtraLight"/>
              </a:rPr>
              <a:t>compliance and mitigate risks efficiently</a:t>
            </a:r>
          </a:p>
        </p:txBody>
      </p:sp>
      <p:sp>
        <p:nvSpPr>
          <p:cNvPr id="8" name="TextBox 7">
            <a:extLst>
              <a:ext uri="{FF2B5EF4-FFF2-40B4-BE49-F238E27FC236}">
                <a16:creationId xmlns:a16="http://schemas.microsoft.com/office/drawing/2014/main" id="{36FDDF4B-735C-455E-A232-19D456273E65}"/>
              </a:ext>
            </a:extLst>
          </p:cNvPr>
          <p:cNvSpPr txBox="1"/>
          <p:nvPr/>
        </p:nvSpPr>
        <p:spPr>
          <a:xfrm>
            <a:off x="6648138" y="3091633"/>
            <a:ext cx="1958661" cy="757130"/>
          </a:xfrm>
          <a:prstGeom prst="rect">
            <a:avLst/>
          </a:prstGeom>
          <a:noFill/>
          <a:ln>
            <a:noFill/>
          </a:ln>
        </p:spPr>
        <p:txBody>
          <a:bodyPr wrap="square" rtlCol="0">
            <a:noAutofit/>
          </a:bodyPr>
          <a:lstStyle/>
          <a:p>
            <a:pPr algn="ctr" defTabSz="684213">
              <a:lnSpc>
                <a:spcPct val="90000"/>
              </a:lnSpc>
              <a:defRPr/>
            </a:pPr>
            <a:r>
              <a:rPr lang="en-US" sz="1600">
                <a:solidFill>
                  <a:schemeClr val="bg2"/>
                </a:solidFill>
                <a:latin typeface="CiscoSansTT ExtraLight"/>
              </a:rPr>
              <a:t>Stay ahead of evolving threats with the latest innovations </a:t>
            </a:r>
          </a:p>
        </p:txBody>
      </p:sp>
      <p:sp>
        <p:nvSpPr>
          <p:cNvPr id="9" name="TextBox 8">
            <a:extLst>
              <a:ext uri="{FF2B5EF4-FFF2-40B4-BE49-F238E27FC236}">
                <a16:creationId xmlns:a16="http://schemas.microsoft.com/office/drawing/2014/main" id="{00F7EC21-6A87-4F1A-88EC-1AF4DE1E135C}"/>
              </a:ext>
            </a:extLst>
          </p:cNvPr>
          <p:cNvSpPr txBox="1"/>
          <p:nvPr/>
        </p:nvSpPr>
        <p:spPr>
          <a:xfrm>
            <a:off x="4611159" y="3091633"/>
            <a:ext cx="1958661" cy="757130"/>
          </a:xfrm>
          <a:prstGeom prst="rect">
            <a:avLst/>
          </a:prstGeom>
          <a:noFill/>
          <a:ln>
            <a:noFill/>
          </a:ln>
        </p:spPr>
        <p:txBody>
          <a:bodyPr wrap="square" rtlCol="0">
            <a:noAutofit/>
          </a:bodyPr>
          <a:lstStyle/>
          <a:p>
            <a:pPr algn="ctr" defTabSz="684213">
              <a:lnSpc>
                <a:spcPct val="90000"/>
              </a:lnSpc>
              <a:defRPr/>
            </a:pPr>
            <a:r>
              <a:rPr lang="en-US" sz="1600">
                <a:solidFill>
                  <a:schemeClr val="bg2"/>
                </a:solidFill>
                <a:latin typeface="CiscoSansTT ExtraLight"/>
              </a:rPr>
              <a:t>Grow security without adding complexity</a:t>
            </a:r>
          </a:p>
        </p:txBody>
      </p:sp>
      <p:grpSp>
        <p:nvGrpSpPr>
          <p:cNvPr id="16" name="Group 15">
            <a:extLst>
              <a:ext uri="{FF2B5EF4-FFF2-40B4-BE49-F238E27FC236}">
                <a16:creationId xmlns:a16="http://schemas.microsoft.com/office/drawing/2014/main" id="{E297B47A-10A6-4E4D-9042-E6867489379A}"/>
              </a:ext>
            </a:extLst>
          </p:cNvPr>
          <p:cNvGrpSpPr/>
          <p:nvPr/>
        </p:nvGrpSpPr>
        <p:grpSpPr>
          <a:xfrm>
            <a:off x="900914" y="1850600"/>
            <a:ext cx="1111622" cy="1047362"/>
            <a:chOff x="900914" y="1835538"/>
            <a:chExt cx="1111622" cy="1047362"/>
          </a:xfrm>
        </p:grpSpPr>
        <p:sp>
          <p:nvSpPr>
            <p:cNvPr id="68" name="Oval 67">
              <a:extLst>
                <a:ext uri="{FF2B5EF4-FFF2-40B4-BE49-F238E27FC236}">
                  <a16:creationId xmlns:a16="http://schemas.microsoft.com/office/drawing/2014/main" id="{11701CBF-94B4-4AB0-A474-852376179464}"/>
                </a:ext>
              </a:extLst>
            </p:cNvPr>
            <p:cNvSpPr/>
            <p:nvPr/>
          </p:nvSpPr>
          <p:spPr>
            <a:xfrm>
              <a:off x="900914" y="1835538"/>
              <a:ext cx="946538" cy="946538"/>
            </a:xfrm>
            <a:prstGeom prst="ellipse">
              <a:avLst/>
            </a:prstGeom>
            <a:solidFill>
              <a:schemeClr val="bg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Picture 40" descr="A hand holding a camera&#10;&#10;Description automatically generated">
              <a:extLst>
                <a:ext uri="{FF2B5EF4-FFF2-40B4-BE49-F238E27FC236}">
                  <a16:creationId xmlns:a16="http://schemas.microsoft.com/office/drawing/2014/main" id="{C1AC1C4E-F861-4411-8B5B-1143834D7D0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20526" y="1885950"/>
              <a:ext cx="992010" cy="996950"/>
            </a:xfrm>
            <a:prstGeom prst="ellipse">
              <a:avLst/>
            </a:prstGeom>
          </p:spPr>
        </p:pic>
        <p:sp>
          <p:nvSpPr>
            <p:cNvPr id="2" name="Oval 1">
              <a:extLst>
                <a:ext uri="{FF2B5EF4-FFF2-40B4-BE49-F238E27FC236}">
                  <a16:creationId xmlns:a16="http://schemas.microsoft.com/office/drawing/2014/main" id="{7B135F92-5F24-4F61-90D6-EFEE41FE352A}"/>
                </a:ext>
              </a:extLst>
            </p:cNvPr>
            <p:cNvSpPr/>
            <p:nvPr/>
          </p:nvSpPr>
          <p:spPr>
            <a:xfrm>
              <a:off x="1346200" y="2224617"/>
              <a:ext cx="347133" cy="347133"/>
            </a:xfrm>
            <a:prstGeom prst="ellipse">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 name="Group 10">
            <a:extLst>
              <a:ext uri="{FF2B5EF4-FFF2-40B4-BE49-F238E27FC236}">
                <a16:creationId xmlns:a16="http://schemas.microsoft.com/office/drawing/2014/main" id="{C18EEFA7-2D31-420D-8ECA-CD4C0D20CB23}"/>
              </a:ext>
            </a:extLst>
          </p:cNvPr>
          <p:cNvGrpSpPr/>
          <p:nvPr/>
        </p:nvGrpSpPr>
        <p:grpSpPr>
          <a:xfrm>
            <a:off x="2707081" y="2183982"/>
            <a:ext cx="1692859" cy="684513"/>
            <a:chOff x="2727527" y="2163576"/>
            <a:chExt cx="1692859" cy="684513"/>
          </a:xfrm>
        </p:grpSpPr>
        <p:sp>
          <p:nvSpPr>
            <p:cNvPr id="76" name="Rectangle: Rounded Corners 75">
              <a:extLst>
                <a:ext uri="{FF2B5EF4-FFF2-40B4-BE49-F238E27FC236}">
                  <a16:creationId xmlns:a16="http://schemas.microsoft.com/office/drawing/2014/main" id="{C581D846-C167-4836-8F83-FB25B26C23F6}"/>
                </a:ext>
              </a:extLst>
            </p:cNvPr>
            <p:cNvSpPr/>
            <p:nvPr/>
          </p:nvSpPr>
          <p:spPr>
            <a:xfrm>
              <a:off x="2879283" y="2163576"/>
              <a:ext cx="457644" cy="670851"/>
            </a:xfrm>
            <a:prstGeom prst="roundRect">
              <a:avLst/>
            </a:prstGeom>
            <a:solidFill>
              <a:schemeClr val="accent1">
                <a:alpha val="6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74" name="Rectangle: Rounded Corners 73">
              <a:extLst>
                <a:ext uri="{FF2B5EF4-FFF2-40B4-BE49-F238E27FC236}">
                  <a16:creationId xmlns:a16="http://schemas.microsoft.com/office/drawing/2014/main" id="{DF59CBE0-E60B-4C9C-9277-496B3D6136C1}"/>
                </a:ext>
              </a:extLst>
            </p:cNvPr>
            <p:cNvSpPr/>
            <p:nvPr/>
          </p:nvSpPr>
          <p:spPr>
            <a:xfrm>
              <a:off x="3807900" y="2380585"/>
              <a:ext cx="428318" cy="452940"/>
            </a:xfrm>
            <a:prstGeom prst="roundRect">
              <a:avLst/>
            </a:prstGeom>
            <a:ln>
              <a:solidFill>
                <a:schemeClr val="bg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pic>
          <p:nvPicPr>
            <p:cNvPr id="43" name="Picture 42" descr="A close up of a mans face&#10;&#10;Description automatically generated">
              <a:extLst>
                <a:ext uri="{FF2B5EF4-FFF2-40B4-BE49-F238E27FC236}">
                  <a16:creationId xmlns:a16="http://schemas.microsoft.com/office/drawing/2014/main" id="{AAD31A75-8C34-413A-A85A-2F7543322F7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727527" y="2214853"/>
              <a:ext cx="1511518" cy="633236"/>
            </a:xfrm>
            <a:prstGeom prst="rect">
              <a:avLst/>
            </a:prstGeom>
          </p:spPr>
        </p:pic>
        <p:sp>
          <p:nvSpPr>
            <p:cNvPr id="69" name="Isosceles Triangle 49">
              <a:extLst>
                <a:ext uri="{FF2B5EF4-FFF2-40B4-BE49-F238E27FC236}">
                  <a16:creationId xmlns:a16="http://schemas.microsoft.com/office/drawing/2014/main" id="{0EC116D8-EEBA-4436-BAD8-59A8EB6AF360}"/>
                </a:ext>
              </a:extLst>
            </p:cNvPr>
            <p:cNvSpPr/>
            <p:nvPr/>
          </p:nvSpPr>
          <p:spPr>
            <a:xfrm rot="16200000">
              <a:off x="3366287" y="2196775"/>
              <a:ext cx="244792" cy="194330"/>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2">
                <a:alpha val="8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5" name="Oval 4">
              <a:extLst>
                <a:ext uri="{FF2B5EF4-FFF2-40B4-BE49-F238E27FC236}">
                  <a16:creationId xmlns:a16="http://schemas.microsoft.com/office/drawing/2014/main" id="{A82BBDD9-5942-45F2-BE70-A8A21A6049A4}"/>
                </a:ext>
              </a:extLst>
            </p:cNvPr>
            <p:cNvSpPr/>
            <p:nvPr/>
          </p:nvSpPr>
          <p:spPr>
            <a:xfrm>
              <a:off x="3627872" y="2237160"/>
              <a:ext cx="124884" cy="124884"/>
            </a:xfrm>
            <a:prstGeom prst="ellipse">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260E633E-B3B3-43C4-B34B-7E46006C6EE3}"/>
                </a:ext>
              </a:extLst>
            </p:cNvPr>
            <p:cNvSpPr/>
            <p:nvPr/>
          </p:nvSpPr>
          <p:spPr>
            <a:xfrm>
              <a:off x="3794780" y="2237160"/>
              <a:ext cx="124884" cy="124884"/>
            </a:xfrm>
            <a:prstGeom prst="ellipse">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5A662335-A658-40F3-90AB-F33AF3624061}"/>
                </a:ext>
              </a:extLst>
            </p:cNvPr>
            <p:cNvSpPr/>
            <p:nvPr/>
          </p:nvSpPr>
          <p:spPr>
            <a:xfrm>
              <a:off x="3961688" y="2237160"/>
              <a:ext cx="124884" cy="124884"/>
            </a:xfrm>
            <a:prstGeom prst="ellipse">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01E74EF3-1CF5-421F-9B0A-99F37344FBEA}"/>
                </a:ext>
              </a:extLst>
            </p:cNvPr>
            <p:cNvSpPr/>
            <p:nvPr/>
          </p:nvSpPr>
          <p:spPr>
            <a:xfrm>
              <a:off x="4128596" y="2237160"/>
              <a:ext cx="124884" cy="124884"/>
            </a:xfrm>
            <a:prstGeom prst="ellipse">
              <a:avLst/>
            </a:prstGeom>
            <a:solidFill>
              <a:schemeClr val="accent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AAE63E02-6A68-44F9-8928-34C795C5F47A}"/>
                </a:ext>
              </a:extLst>
            </p:cNvPr>
            <p:cNvSpPr/>
            <p:nvPr/>
          </p:nvSpPr>
          <p:spPr>
            <a:xfrm>
              <a:off x="4295502" y="2237160"/>
              <a:ext cx="124884" cy="124884"/>
            </a:xfrm>
            <a:prstGeom prst="ellipse">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5EBCD8AB-3ED1-43A7-9067-33FA4D215F7A}"/>
              </a:ext>
            </a:extLst>
          </p:cNvPr>
          <p:cNvGrpSpPr/>
          <p:nvPr/>
        </p:nvGrpSpPr>
        <p:grpSpPr>
          <a:xfrm>
            <a:off x="4945312" y="1814455"/>
            <a:ext cx="1204491" cy="1119652"/>
            <a:chOff x="4945312" y="1971981"/>
            <a:chExt cx="1204491" cy="1119652"/>
          </a:xfrm>
        </p:grpSpPr>
        <p:sp>
          <p:nvSpPr>
            <p:cNvPr id="79" name="Oval 78">
              <a:extLst>
                <a:ext uri="{FF2B5EF4-FFF2-40B4-BE49-F238E27FC236}">
                  <a16:creationId xmlns:a16="http://schemas.microsoft.com/office/drawing/2014/main" id="{8C2C717A-7387-4581-A891-6B3AEBB490AB}"/>
                </a:ext>
              </a:extLst>
            </p:cNvPr>
            <p:cNvSpPr/>
            <p:nvPr/>
          </p:nvSpPr>
          <p:spPr>
            <a:xfrm>
              <a:off x="5047765" y="1971981"/>
              <a:ext cx="1054040" cy="1054040"/>
            </a:xfrm>
            <a:prstGeom prst="ellipse">
              <a:avLst/>
            </a:prstGeom>
            <a:solidFill>
              <a:schemeClr val="accent4">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0FF2161F-425E-4001-81AF-96958BEC0B74}"/>
                </a:ext>
              </a:extLst>
            </p:cNvPr>
            <p:cNvSpPr/>
            <p:nvPr/>
          </p:nvSpPr>
          <p:spPr>
            <a:xfrm>
              <a:off x="4945312" y="1994011"/>
              <a:ext cx="699925" cy="699925"/>
            </a:xfrm>
            <a:prstGeom prst="ellipse">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39" descr="A picture containing black, white, computer&#10;&#10;Description automatically generated">
              <a:extLst>
                <a:ext uri="{FF2B5EF4-FFF2-40B4-BE49-F238E27FC236}">
                  <a16:creationId xmlns:a16="http://schemas.microsoft.com/office/drawing/2014/main" id="{1A3BADDA-ED29-4743-BB38-0715A269959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8546"/>
            <a:stretch/>
          </p:blipFill>
          <p:spPr>
            <a:xfrm>
              <a:off x="5031175" y="2017734"/>
              <a:ext cx="1118628" cy="1073899"/>
            </a:xfrm>
            <a:prstGeom prst="ellipse">
              <a:avLst/>
            </a:prstGeom>
          </p:spPr>
        </p:pic>
        <p:sp>
          <p:nvSpPr>
            <p:cNvPr id="12" name="Oval 11">
              <a:extLst>
                <a:ext uri="{FF2B5EF4-FFF2-40B4-BE49-F238E27FC236}">
                  <a16:creationId xmlns:a16="http://schemas.microsoft.com/office/drawing/2014/main" id="{6BDA875F-0FE0-4048-B4BE-3693FF6F64FB}"/>
                </a:ext>
              </a:extLst>
            </p:cNvPr>
            <p:cNvSpPr/>
            <p:nvPr/>
          </p:nvSpPr>
          <p:spPr>
            <a:xfrm>
              <a:off x="5226715" y="2299953"/>
              <a:ext cx="463708" cy="463708"/>
            </a:xfrm>
            <a:prstGeom prst="ellipse">
              <a:avLst/>
            </a:prstGeom>
            <a:solidFill>
              <a:schemeClr val="accent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E4F04731-02EB-4615-B740-39E064C5F993}"/>
              </a:ext>
            </a:extLst>
          </p:cNvPr>
          <p:cNvGrpSpPr/>
          <p:nvPr/>
        </p:nvGrpSpPr>
        <p:grpSpPr>
          <a:xfrm>
            <a:off x="7002450" y="1779040"/>
            <a:ext cx="1250035" cy="1190483"/>
            <a:chOff x="6950134" y="1901150"/>
            <a:chExt cx="1250035" cy="1190483"/>
          </a:xfrm>
        </p:grpSpPr>
        <p:sp>
          <p:nvSpPr>
            <p:cNvPr id="83" name="Oval 82">
              <a:extLst>
                <a:ext uri="{FF2B5EF4-FFF2-40B4-BE49-F238E27FC236}">
                  <a16:creationId xmlns:a16="http://schemas.microsoft.com/office/drawing/2014/main" id="{75D494E7-E55B-472A-8B67-BD507C78B4BE}"/>
                </a:ext>
              </a:extLst>
            </p:cNvPr>
            <p:cNvSpPr/>
            <p:nvPr/>
          </p:nvSpPr>
          <p:spPr>
            <a:xfrm>
              <a:off x="6950134" y="1920312"/>
              <a:ext cx="992010" cy="992011"/>
            </a:xfrm>
            <a:prstGeom prst="ellipse">
              <a:avLst/>
            </a:prstGeom>
            <a:noFill/>
            <a:ln w="127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9DE299FE-C458-4948-BAE1-F4BE7B41348D}"/>
                </a:ext>
              </a:extLst>
            </p:cNvPr>
            <p:cNvSpPr/>
            <p:nvPr/>
          </p:nvSpPr>
          <p:spPr>
            <a:xfrm>
              <a:off x="7064848" y="2028228"/>
              <a:ext cx="776180" cy="776181"/>
            </a:xfrm>
            <a:prstGeom prst="ellipse">
              <a:avLst/>
            </a:prstGeom>
            <a:solidFill>
              <a:schemeClr val="accent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Picture 41" descr="A picture containing holding, black, hand, dark&#10;&#10;Description automatically generated">
              <a:extLst>
                <a:ext uri="{FF2B5EF4-FFF2-40B4-BE49-F238E27FC236}">
                  <a16:creationId xmlns:a16="http://schemas.microsoft.com/office/drawing/2014/main" id="{A3F99F46-95D5-4FD2-87FC-593C837F1C5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16130"/>
            <a:stretch/>
          </p:blipFill>
          <p:spPr>
            <a:xfrm>
              <a:off x="7019662" y="1901150"/>
              <a:ext cx="1180507" cy="1190483"/>
            </a:xfrm>
            <a:prstGeom prst="ellipse">
              <a:avLst/>
            </a:prstGeom>
          </p:spPr>
        </p:pic>
        <p:sp>
          <p:nvSpPr>
            <p:cNvPr id="80" name="Oval 79">
              <a:extLst>
                <a:ext uri="{FF2B5EF4-FFF2-40B4-BE49-F238E27FC236}">
                  <a16:creationId xmlns:a16="http://schemas.microsoft.com/office/drawing/2014/main" id="{A591105D-48C6-41D5-8E49-F98CFD31DCB8}"/>
                </a:ext>
              </a:extLst>
            </p:cNvPr>
            <p:cNvSpPr/>
            <p:nvPr/>
          </p:nvSpPr>
          <p:spPr>
            <a:xfrm>
              <a:off x="7064848" y="2028228"/>
              <a:ext cx="776180" cy="776181"/>
            </a:xfrm>
            <a:prstGeom prst="ellipse">
              <a:avLst/>
            </a:prstGeom>
            <a:solidFill>
              <a:schemeClr val="accent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7627036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611BEF-30B6-4F07-A058-0445A806BBEB}"/>
              </a:ext>
            </a:extLst>
          </p:cNvPr>
          <p:cNvSpPr>
            <a:spLocks noGrp="1"/>
          </p:cNvSpPr>
          <p:nvPr>
            <p:ph type="title"/>
          </p:nvPr>
        </p:nvSpPr>
        <p:spPr/>
        <p:txBody>
          <a:bodyPr/>
          <a:lstStyle/>
          <a:p>
            <a:r>
              <a:rPr lang="en-US"/>
              <a:t>A secure future begins with a Zero Trust strategy</a:t>
            </a:r>
          </a:p>
        </p:txBody>
      </p:sp>
      <p:sp>
        <p:nvSpPr>
          <p:cNvPr id="11" name="TextBox 10">
            <a:extLst>
              <a:ext uri="{FF2B5EF4-FFF2-40B4-BE49-F238E27FC236}">
                <a16:creationId xmlns:a16="http://schemas.microsoft.com/office/drawing/2014/main" id="{C992895D-E472-4930-AAF0-42282B876B4A}"/>
              </a:ext>
            </a:extLst>
          </p:cNvPr>
          <p:cNvSpPr txBox="1"/>
          <p:nvPr/>
        </p:nvSpPr>
        <p:spPr>
          <a:xfrm>
            <a:off x="5918727" y="1167094"/>
            <a:ext cx="2693457" cy="246221"/>
          </a:xfrm>
          <a:prstGeom prst="rect">
            <a:avLst/>
          </a:prstGeom>
          <a:noFill/>
        </p:spPr>
        <p:txBody>
          <a:bodyPr wrap="square" lIns="0" tIns="0" rIns="0" bIns="0" rtlCol="0">
            <a:spAutoFit/>
          </a:bodyPr>
          <a:lstStyle/>
          <a:p>
            <a:pPr algn="ctr">
              <a:defRPr/>
            </a:pPr>
            <a:r>
              <a:rPr lang="en-US" sz="1600">
                <a:solidFill>
                  <a:schemeClr val="bg2"/>
                </a:solidFill>
                <a:latin typeface="CiscoSansTT" panose="020B0503020201020303" pitchFamily="34" charset="0"/>
                <a:ea typeface="ＭＳ Ｐゴシック"/>
              </a:rPr>
              <a:t>Protect your workplace</a:t>
            </a:r>
          </a:p>
        </p:txBody>
      </p:sp>
      <p:sp>
        <p:nvSpPr>
          <p:cNvPr id="12" name="TextBox 11">
            <a:extLst>
              <a:ext uri="{FF2B5EF4-FFF2-40B4-BE49-F238E27FC236}">
                <a16:creationId xmlns:a16="http://schemas.microsoft.com/office/drawing/2014/main" id="{17D4F444-29E7-4E76-A3DE-9CC3A3A46E3C}"/>
              </a:ext>
            </a:extLst>
          </p:cNvPr>
          <p:cNvSpPr txBox="1"/>
          <p:nvPr/>
        </p:nvSpPr>
        <p:spPr>
          <a:xfrm>
            <a:off x="3225269" y="1167094"/>
            <a:ext cx="2693457" cy="246221"/>
          </a:xfrm>
          <a:prstGeom prst="rect">
            <a:avLst/>
          </a:prstGeom>
          <a:noFill/>
        </p:spPr>
        <p:txBody>
          <a:bodyPr wrap="none" lIns="0" tIns="0" rIns="0" bIns="0" rtlCol="0">
            <a:spAutoFit/>
          </a:bodyPr>
          <a:lstStyle/>
          <a:p>
            <a:pPr algn="ctr">
              <a:defRPr/>
            </a:pPr>
            <a:r>
              <a:rPr lang="en-US" sz="1600">
                <a:solidFill>
                  <a:schemeClr val="bg2"/>
                </a:solidFill>
                <a:latin typeface="CiscoSansTT" panose="020B0503020201020303" pitchFamily="34" charset="0"/>
                <a:ea typeface="ＭＳ Ｐゴシック"/>
              </a:rPr>
              <a:t>Protect your workload</a:t>
            </a:r>
          </a:p>
        </p:txBody>
      </p:sp>
      <p:sp>
        <p:nvSpPr>
          <p:cNvPr id="25" name="Security that works...">
            <a:extLst>
              <a:ext uri="{FF2B5EF4-FFF2-40B4-BE49-F238E27FC236}">
                <a16:creationId xmlns:a16="http://schemas.microsoft.com/office/drawing/2014/main" id="{1ED663A3-2B7F-449B-81A0-9F232B780452}"/>
              </a:ext>
            </a:extLst>
          </p:cNvPr>
          <p:cNvSpPr txBox="1">
            <a:spLocks/>
          </p:cNvSpPr>
          <p:nvPr/>
        </p:nvSpPr>
        <p:spPr bwMode="auto">
          <a:xfrm>
            <a:off x="3225269" y="3950721"/>
            <a:ext cx="2693457" cy="58169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lnSpc>
                <a:spcPct val="90000"/>
              </a:lnSpc>
              <a:defRPr/>
            </a:pPr>
            <a:r>
              <a:rPr lang="en-US" sz="1400">
                <a:solidFill>
                  <a:schemeClr val="bg2"/>
                </a:solidFill>
                <a:ea typeface="ＭＳ Ｐゴシック" charset="0"/>
              </a:rPr>
              <a:t>Protect all connections </a:t>
            </a:r>
          </a:p>
          <a:p>
            <a:pPr algn="ctr">
              <a:lnSpc>
                <a:spcPct val="90000"/>
              </a:lnSpc>
              <a:defRPr/>
            </a:pPr>
            <a:r>
              <a:rPr lang="en-US" sz="1400">
                <a:solidFill>
                  <a:schemeClr val="bg2"/>
                </a:solidFill>
                <a:ea typeface="ＭＳ Ｐゴシック" charset="0"/>
              </a:rPr>
              <a:t>within your apps across</a:t>
            </a:r>
            <a:br>
              <a:rPr lang="en-US" sz="1400">
                <a:solidFill>
                  <a:schemeClr val="bg2"/>
                </a:solidFill>
                <a:ea typeface="ＭＳ Ｐゴシック" charset="0"/>
              </a:rPr>
            </a:br>
            <a:r>
              <a:rPr lang="en-US" sz="1400">
                <a:solidFill>
                  <a:schemeClr val="bg2"/>
                </a:solidFill>
                <a:ea typeface="ＭＳ Ｐゴシック" charset="0"/>
              </a:rPr>
              <a:t>every environment</a:t>
            </a:r>
          </a:p>
        </p:txBody>
      </p:sp>
      <p:sp>
        <p:nvSpPr>
          <p:cNvPr id="26" name="Better efficacy and...">
            <a:extLst>
              <a:ext uri="{FF2B5EF4-FFF2-40B4-BE49-F238E27FC236}">
                <a16:creationId xmlns:a16="http://schemas.microsoft.com/office/drawing/2014/main" id="{C3DA02E0-3DD6-41FE-8C65-3B9659E142AB}"/>
              </a:ext>
            </a:extLst>
          </p:cNvPr>
          <p:cNvSpPr txBox="1">
            <a:spLocks/>
          </p:cNvSpPr>
          <p:nvPr/>
        </p:nvSpPr>
        <p:spPr bwMode="auto">
          <a:xfrm>
            <a:off x="5918727" y="3950721"/>
            <a:ext cx="2693457" cy="38779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none" lIns="0" tIns="0" rIns="0" bIns="0" numCol="1" anchor="t"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lnSpc>
                <a:spcPct val="90000"/>
              </a:lnSpc>
              <a:defRPr/>
            </a:pPr>
            <a:r>
              <a:rPr lang="en-US" sz="1400">
                <a:solidFill>
                  <a:schemeClr val="bg2"/>
                </a:solidFill>
                <a:ea typeface="ＭＳ Ｐゴシック" charset="0"/>
              </a:rPr>
              <a:t>Connect securely</a:t>
            </a:r>
          </a:p>
          <a:p>
            <a:pPr algn="ctr">
              <a:lnSpc>
                <a:spcPct val="90000"/>
              </a:lnSpc>
              <a:defRPr/>
            </a:pPr>
            <a:r>
              <a:rPr lang="en-US" sz="1400">
                <a:solidFill>
                  <a:schemeClr val="bg2"/>
                </a:solidFill>
                <a:ea typeface="ＭＳ Ｐゴシック" charset="0"/>
              </a:rPr>
              <a:t>across your network</a:t>
            </a:r>
          </a:p>
        </p:txBody>
      </p:sp>
      <p:cxnSp>
        <p:nvCxnSpPr>
          <p:cNvPr id="29" name="Straight Connector 28">
            <a:extLst>
              <a:ext uri="{FF2B5EF4-FFF2-40B4-BE49-F238E27FC236}">
                <a16:creationId xmlns:a16="http://schemas.microsoft.com/office/drawing/2014/main" id="{2FA99700-98EF-40CF-9D9F-5827F9B55526}"/>
              </a:ext>
            </a:extLst>
          </p:cNvPr>
          <p:cNvCxnSpPr>
            <a:cxnSpLocks/>
          </p:cNvCxnSpPr>
          <p:nvPr/>
        </p:nvCxnSpPr>
        <p:spPr>
          <a:xfrm>
            <a:off x="5918726" y="3817139"/>
            <a:ext cx="0" cy="259556"/>
          </a:xfrm>
          <a:prstGeom prst="line">
            <a:avLst/>
          </a:prstGeom>
          <a:ln w="12700" cap="rnd">
            <a:gradFill flip="none" rotWithShape="1">
              <a:gsLst>
                <a:gs pos="0">
                  <a:schemeClr val="tx2">
                    <a:alpha val="0"/>
                  </a:schemeClr>
                </a:gs>
                <a:gs pos="100000">
                  <a:schemeClr val="tx2"/>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720FB38E-36A9-47F3-8933-675612B370F1}"/>
              </a:ext>
            </a:extLst>
          </p:cNvPr>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accent4"/>
                </a:solidFill>
                <a:latin typeface="+mn-lt"/>
                <a:ea typeface="+mn-ea"/>
                <a:cs typeface="CiscoSans Thin"/>
              </a:rPr>
              <a:t>© 2019  Cisco and/or its affiliates. All rights reserved. Cisco Confidential</a:t>
            </a:r>
          </a:p>
        </p:txBody>
      </p:sp>
      <p:cxnSp>
        <p:nvCxnSpPr>
          <p:cNvPr id="39" name="Straight Connector 38">
            <a:extLst>
              <a:ext uri="{FF2B5EF4-FFF2-40B4-BE49-F238E27FC236}">
                <a16:creationId xmlns:a16="http://schemas.microsoft.com/office/drawing/2014/main" id="{F9A661A1-98A6-4431-BF12-BC9A7C49CD13}"/>
              </a:ext>
            </a:extLst>
          </p:cNvPr>
          <p:cNvCxnSpPr>
            <a:cxnSpLocks/>
          </p:cNvCxnSpPr>
          <p:nvPr/>
        </p:nvCxnSpPr>
        <p:spPr>
          <a:xfrm flipV="1">
            <a:off x="5918726" y="1517846"/>
            <a:ext cx="0" cy="2328344"/>
          </a:xfrm>
          <a:prstGeom prst="line">
            <a:avLst/>
          </a:prstGeom>
          <a:ln w="6350" cap="rnd">
            <a:solidFill>
              <a:schemeClr val="tx1">
                <a:alpha val="54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F18CA94F-CEA9-4FC9-BC2D-A014B0E5AE53}"/>
              </a:ext>
            </a:extLst>
          </p:cNvPr>
          <p:cNvGrpSpPr/>
          <p:nvPr/>
        </p:nvGrpSpPr>
        <p:grpSpPr>
          <a:xfrm>
            <a:off x="6293409" y="2072623"/>
            <a:ext cx="1944092" cy="1455441"/>
            <a:chOff x="1191298" y="2396066"/>
            <a:chExt cx="1447396" cy="1083590"/>
          </a:xfrm>
        </p:grpSpPr>
        <p:sp>
          <p:nvSpPr>
            <p:cNvPr id="120" name="Oval 119">
              <a:extLst>
                <a:ext uri="{FF2B5EF4-FFF2-40B4-BE49-F238E27FC236}">
                  <a16:creationId xmlns:a16="http://schemas.microsoft.com/office/drawing/2014/main" id="{C80C9216-17D9-4EAB-94E8-130B5C2AF570}"/>
                </a:ext>
              </a:extLst>
            </p:cNvPr>
            <p:cNvSpPr/>
            <p:nvPr/>
          </p:nvSpPr>
          <p:spPr>
            <a:xfrm>
              <a:off x="1191298" y="2797917"/>
              <a:ext cx="681739" cy="681739"/>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Arc 6">
              <a:extLst>
                <a:ext uri="{FF2B5EF4-FFF2-40B4-BE49-F238E27FC236}">
                  <a16:creationId xmlns:a16="http://schemas.microsoft.com/office/drawing/2014/main" id="{2AD4131B-C225-40F8-BBCD-A7E838E5A540}"/>
                </a:ext>
              </a:extLst>
            </p:cNvPr>
            <p:cNvSpPr/>
            <p:nvPr/>
          </p:nvSpPr>
          <p:spPr>
            <a:xfrm>
              <a:off x="1549673" y="2548123"/>
              <a:ext cx="851536" cy="851536"/>
            </a:xfrm>
            <a:prstGeom prst="arc">
              <a:avLst>
                <a:gd name="adj1" fmla="val 16987263"/>
                <a:gd name="adj2" fmla="val 9615516"/>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9" name="Oval 118">
              <a:extLst>
                <a:ext uri="{FF2B5EF4-FFF2-40B4-BE49-F238E27FC236}">
                  <a16:creationId xmlns:a16="http://schemas.microsoft.com/office/drawing/2014/main" id="{660F1076-DEC2-407B-94C8-5E8444B8DAF5}"/>
                </a:ext>
              </a:extLst>
            </p:cNvPr>
            <p:cNvSpPr/>
            <p:nvPr/>
          </p:nvSpPr>
          <p:spPr>
            <a:xfrm>
              <a:off x="1623262" y="2470940"/>
              <a:ext cx="520372" cy="520372"/>
            </a:xfrm>
            <a:prstGeom prst="ellipse">
              <a:avLst/>
            </a:prstGeom>
            <a:solidFill>
              <a:schemeClr val="accent4">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9" name="Picture 78" descr="A picture containing person, indoor, table, woman&#10;&#10;Description automatically generated">
              <a:extLst>
                <a:ext uri="{FF2B5EF4-FFF2-40B4-BE49-F238E27FC236}">
                  <a16:creationId xmlns:a16="http://schemas.microsoft.com/office/drawing/2014/main" id="{A4A123AE-599C-4E4F-B1E7-2A044277FF1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254040" y="2396066"/>
              <a:ext cx="1384654" cy="1047750"/>
            </a:xfrm>
            <a:prstGeom prst="ellipse">
              <a:avLst/>
            </a:prstGeom>
          </p:spPr>
        </p:pic>
        <p:sp>
          <p:nvSpPr>
            <p:cNvPr id="6" name="Oval 5">
              <a:extLst>
                <a:ext uri="{FF2B5EF4-FFF2-40B4-BE49-F238E27FC236}">
                  <a16:creationId xmlns:a16="http://schemas.microsoft.com/office/drawing/2014/main" id="{D3075095-E6FE-4258-A284-06F10E9331D8}"/>
                </a:ext>
              </a:extLst>
            </p:cNvPr>
            <p:cNvSpPr/>
            <p:nvPr/>
          </p:nvSpPr>
          <p:spPr>
            <a:xfrm>
              <a:off x="1191298" y="2797917"/>
              <a:ext cx="681739" cy="681739"/>
            </a:xfrm>
            <a:prstGeom prst="ellipse">
              <a:avLst/>
            </a:prstGeom>
            <a:solidFill>
              <a:schemeClr val="accent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FCC72012-ADD1-460B-9D03-E6CBB2786FF2}"/>
                </a:ext>
              </a:extLst>
            </p:cNvPr>
            <p:cNvSpPr/>
            <p:nvPr/>
          </p:nvSpPr>
          <p:spPr>
            <a:xfrm>
              <a:off x="2210648" y="2797917"/>
              <a:ext cx="377083" cy="377083"/>
            </a:xfrm>
            <a:prstGeom prst="ellipse">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3" name="TextBox 42">
            <a:extLst>
              <a:ext uri="{FF2B5EF4-FFF2-40B4-BE49-F238E27FC236}">
                <a16:creationId xmlns:a16="http://schemas.microsoft.com/office/drawing/2014/main" id="{B9F997D7-B9D0-4E50-9D79-8128CC3BD369}"/>
              </a:ext>
            </a:extLst>
          </p:cNvPr>
          <p:cNvSpPr txBox="1"/>
          <p:nvPr/>
        </p:nvSpPr>
        <p:spPr>
          <a:xfrm>
            <a:off x="531812" y="1167094"/>
            <a:ext cx="2693457" cy="246221"/>
          </a:xfrm>
          <a:prstGeom prst="rect">
            <a:avLst/>
          </a:prstGeom>
          <a:noFill/>
        </p:spPr>
        <p:txBody>
          <a:bodyPr wrap="none" lIns="0" tIns="0" rIns="0" bIns="0" rtlCol="0">
            <a:spAutoFit/>
          </a:bodyPr>
          <a:lstStyle/>
          <a:p>
            <a:pPr algn="ctr">
              <a:defRPr/>
            </a:pPr>
            <a:r>
              <a:rPr lang="en-GB" sz="1600">
                <a:solidFill>
                  <a:schemeClr val="bg2"/>
                </a:solidFill>
                <a:latin typeface="CiscoSansTT" panose="020B0503020201020303" pitchFamily="34" charset="0"/>
                <a:ea typeface="ＭＳ Ｐゴシック"/>
              </a:rPr>
              <a:t>Protect your workforce</a:t>
            </a:r>
          </a:p>
        </p:txBody>
      </p:sp>
      <p:sp>
        <p:nvSpPr>
          <p:cNvPr id="44" name="See once,...">
            <a:extLst>
              <a:ext uri="{FF2B5EF4-FFF2-40B4-BE49-F238E27FC236}">
                <a16:creationId xmlns:a16="http://schemas.microsoft.com/office/drawing/2014/main" id="{225D794E-62A2-4D83-A9FB-030FB300A053}"/>
              </a:ext>
            </a:extLst>
          </p:cNvPr>
          <p:cNvSpPr txBox="1">
            <a:spLocks/>
          </p:cNvSpPr>
          <p:nvPr/>
        </p:nvSpPr>
        <p:spPr bwMode="auto">
          <a:xfrm>
            <a:off x="531812" y="3950721"/>
            <a:ext cx="2693457" cy="58169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lnSpc>
                <a:spcPct val="90000"/>
              </a:lnSpc>
              <a:defRPr/>
            </a:pPr>
            <a:r>
              <a:rPr lang="en-US" sz="1400">
                <a:solidFill>
                  <a:schemeClr val="bg2"/>
                </a:solidFill>
                <a:ea typeface="ＭＳ Ｐゴシック" charset="0"/>
              </a:rPr>
              <a:t>Secure access for </a:t>
            </a:r>
          </a:p>
          <a:p>
            <a:pPr algn="ctr">
              <a:lnSpc>
                <a:spcPct val="90000"/>
              </a:lnSpc>
              <a:defRPr/>
            </a:pPr>
            <a:r>
              <a:rPr lang="en-US" sz="1400">
                <a:solidFill>
                  <a:schemeClr val="bg2"/>
                </a:solidFill>
                <a:ea typeface="ＭＳ Ｐゴシック" charset="0"/>
              </a:rPr>
              <a:t>users and their devices </a:t>
            </a:r>
          </a:p>
          <a:p>
            <a:pPr algn="ctr">
              <a:lnSpc>
                <a:spcPct val="90000"/>
              </a:lnSpc>
              <a:defRPr/>
            </a:pPr>
            <a:r>
              <a:rPr lang="en-US" sz="1400">
                <a:solidFill>
                  <a:schemeClr val="bg2"/>
                </a:solidFill>
                <a:ea typeface="ＭＳ Ｐゴシック" charset="0"/>
              </a:rPr>
              <a:t>connecting to applications</a:t>
            </a:r>
          </a:p>
        </p:txBody>
      </p:sp>
      <p:cxnSp>
        <p:nvCxnSpPr>
          <p:cNvPr id="45" name="Straight Connector 44">
            <a:extLst>
              <a:ext uri="{FF2B5EF4-FFF2-40B4-BE49-F238E27FC236}">
                <a16:creationId xmlns:a16="http://schemas.microsoft.com/office/drawing/2014/main" id="{F9F843FB-4429-4CCA-9F35-93CFEA86B768}"/>
              </a:ext>
            </a:extLst>
          </p:cNvPr>
          <p:cNvCxnSpPr>
            <a:cxnSpLocks/>
          </p:cNvCxnSpPr>
          <p:nvPr/>
        </p:nvCxnSpPr>
        <p:spPr>
          <a:xfrm>
            <a:off x="3225269" y="3817139"/>
            <a:ext cx="0" cy="259556"/>
          </a:xfrm>
          <a:prstGeom prst="line">
            <a:avLst/>
          </a:prstGeom>
          <a:ln w="12700" cap="rnd">
            <a:gradFill flip="none" rotWithShape="1">
              <a:gsLst>
                <a:gs pos="0">
                  <a:schemeClr val="tx2">
                    <a:alpha val="0"/>
                  </a:schemeClr>
                </a:gs>
                <a:gs pos="100000">
                  <a:schemeClr val="tx2"/>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CBC516B-81C9-4077-B86B-DB4D60C906D4}"/>
              </a:ext>
            </a:extLst>
          </p:cNvPr>
          <p:cNvCxnSpPr>
            <a:cxnSpLocks/>
          </p:cNvCxnSpPr>
          <p:nvPr/>
        </p:nvCxnSpPr>
        <p:spPr>
          <a:xfrm flipV="1">
            <a:off x="3225269" y="1517846"/>
            <a:ext cx="0" cy="2328344"/>
          </a:xfrm>
          <a:prstGeom prst="line">
            <a:avLst/>
          </a:prstGeom>
          <a:ln w="6350" cap="rnd">
            <a:solidFill>
              <a:schemeClr val="tx1">
                <a:alpha val="54000"/>
              </a:schemeClr>
            </a:solidFill>
            <a:prstDash val="dash"/>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755427A5-DEDE-45C3-B0B8-5E3DE9EEBFF8}"/>
              </a:ext>
            </a:extLst>
          </p:cNvPr>
          <p:cNvSpPr/>
          <p:nvPr/>
        </p:nvSpPr>
        <p:spPr>
          <a:xfrm>
            <a:off x="887491" y="2255590"/>
            <a:ext cx="1129208" cy="1129208"/>
          </a:xfrm>
          <a:prstGeom prst="ellipse">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Picture 52" descr="A person and person posing for a picture&#10;&#10;Description automatically generated">
            <a:extLst>
              <a:ext uri="{FF2B5EF4-FFF2-40B4-BE49-F238E27FC236}">
                <a16:creationId xmlns:a16="http://schemas.microsoft.com/office/drawing/2014/main" id="{FE86F91D-9B44-4383-B709-5D73D6B89B2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31573"/>
          <a:stretch/>
        </p:blipFill>
        <p:spPr>
          <a:xfrm>
            <a:off x="972973" y="2197059"/>
            <a:ext cx="1146869" cy="1130629"/>
          </a:xfrm>
          <a:prstGeom prst="ellipse">
            <a:avLst/>
          </a:prstGeom>
        </p:spPr>
      </p:pic>
      <p:sp>
        <p:nvSpPr>
          <p:cNvPr id="54" name="Oval 53">
            <a:extLst>
              <a:ext uri="{FF2B5EF4-FFF2-40B4-BE49-F238E27FC236}">
                <a16:creationId xmlns:a16="http://schemas.microsoft.com/office/drawing/2014/main" id="{B56364A5-FB24-4CF4-B283-DCFB7C4248EE}"/>
              </a:ext>
            </a:extLst>
          </p:cNvPr>
          <p:cNvSpPr/>
          <p:nvPr/>
        </p:nvSpPr>
        <p:spPr>
          <a:xfrm>
            <a:off x="972973" y="2187858"/>
            <a:ext cx="1140874" cy="1140874"/>
          </a:xfrm>
          <a:prstGeom prst="ellipse">
            <a:avLst/>
          </a:prstGeom>
          <a:no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Picture 54" descr="A picture containing object, black, white, photo&#10;&#10;Description automatically generated">
            <a:extLst>
              <a:ext uri="{FF2B5EF4-FFF2-40B4-BE49-F238E27FC236}">
                <a16:creationId xmlns:a16="http://schemas.microsoft.com/office/drawing/2014/main" id="{5FE315A8-783F-4272-81B7-8E64F0276C4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041503" y="2223160"/>
            <a:ext cx="1073169" cy="1103485"/>
          </a:xfrm>
          <a:prstGeom prst="rect">
            <a:avLst/>
          </a:prstGeom>
        </p:spPr>
      </p:pic>
      <p:grpSp>
        <p:nvGrpSpPr>
          <p:cNvPr id="16" name="Group 15">
            <a:extLst>
              <a:ext uri="{FF2B5EF4-FFF2-40B4-BE49-F238E27FC236}">
                <a16:creationId xmlns:a16="http://schemas.microsoft.com/office/drawing/2014/main" id="{5366D5AD-2DB8-418F-A6F4-59FD6E6718DA}"/>
              </a:ext>
            </a:extLst>
          </p:cNvPr>
          <p:cNvGrpSpPr/>
          <p:nvPr/>
        </p:nvGrpSpPr>
        <p:grpSpPr>
          <a:xfrm>
            <a:off x="3816640" y="1935030"/>
            <a:ext cx="1510716" cy="1770320"/>
            <a:chOff x="3784980" y="1991301"/>
            <a:chExt cx="1896261" cy="2222120"/>
          </a:xfrm>
        </p:grpSpPr>
        <p:pic>
          <p:nvPicPr>
            <p:cNvPr id="61" name="Picture 60">
              <a:extLst>
                <a:ext uri="{FF2B5EF4-FFF2-40B4-BE49-F238E27FC236}">
                  <a16:creationId xmlns:a16="http://schemas.microsoft.com/office/drawing/2014/main" id="{BB6A1DA5-42F1-4554-94F0-8FCED5F551E5}"/>
                </a:ext>
              </a:extLst>
            </p:cNvPr>
            <p:cNvPicPr>
              <a:picLocks noChangeAspect="1"/>
            </p:cNvPicPr>
            <p:nvPr/>
          </p:nvPicPr>
          <p:blipFill rotWithShape="1">
            <a:blip r:embed="rId6" cstate="screen">
              <a:alphaModFix/>
              <a:extLst>
                <a:ext uri="{28A0092B-C50C-407E-A947-70E740481C1C}">
                  <a14:useLocalDpi xmlns:a14="http://schemas.microsoft.com/office/drawing/2010/main"/>
                </a:ext>
              </a:extLst>
            </a:blip>
            <a:srcRect/>
            <a:stretch/>
          </p:blipFill>
          <p:spPr>
            <a:xfrm>
              <a:off x="3784980" y="3242646"/>
              <a:ext cx="1896261" cy="970775"/>
            </a:xfrm>
            <a:prstGeom prst="rect">
              <a:avLst/>
            </a:prstGeom>
          </p:spPr>
        </p:pic>
        <p:grpSp>
          <p:nvGrpSpPr>
            <p:cNvPr id="14" name="Group 13">
              <a:extLst>
                <a:ext uri="{FF2B5EF4-FFF2-40B4-BE49-F238E27FC236}">
                  <a16:creationId xmlns:a16="http://schemas.microsoft.com/office/drawing/2014/main" id="{9F9B8686-49F4-4476-B552-031F22F21818}"/>
                </a:ext>
              </a:extLst>
            </p:cNvPr>
            <p:cNvGrpSpPr/>
            <p:nvPr/>
          </p:nvGrpSpPr>
          <p:grpSpPr>
            <a:xfrm>
              <a:off x="4059637" y="1991301"/>
              <a:ext cx="1301827" cy="1640668"/>
              <a:chOff x="4193422" y="2131438"/>
              <a:chExt cx="1647568" cy="2076399"/>
            </a:xfrm>
          </p:grpSpPr>
          <p:sp>
            <p:nvSpPr>
              <p:cNvPr id="57" name="Rectangle: Rounded Corners 56">
                <a:extLst>
                  <a:ext uri="{FF2B5EF4-FFF2-40B4-BE49-F238E27FC236}">
                    <a16:creationId xmlns:a16="http://schemas.microsoft.com/office/drawing/2014/main" id="{7D03EEA5-D1F5-432B-859B-59387411E098}"/>
                  </a:ext>
                </a:extLst>
              </p:cNvPr>
              <p:cNvSpPr/>
              <p:nvPr/>
            </p:nvSpPr>
            <p:spPr>
              <a:xfrm>
                <a:off x="4193422" y="3680802"/>
                <a:ext cx="1647568" cy="527035"/>
              </a:xfrm>
              <a:prstGeom prst="roundRect">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Freeform: Shape 57">
                <a:extLst>
                  <a:ext uri="{FF2B5EF4-FFF2-40B4-BE49-F238E27FC236}">
                    <a16:creationId xmlns:a16="http://schemas.microsoft.com/office/drawing/2014/main" id="{FA4AA606-1438-4577-A846-AA96A3E78637}"/>
                  </a:ext>
                </a:extLst>
              </p:cNvPr>
              <p:cNvSpPr/>
              <p:nvPr/>
            </p:nvSpPr>
            <p:spPr>
              <a:xfrm>
                <a:off x="4241504" y="2456016"/>
                <a:ext cx="1006778" cy="1239854"/>
              </a:xfrm>
              <a:custGeom>
                <a:avLst/>
                <a:gdLst>
                  <a:gd name="connsiteX0" fmla="*/ 902260 w 1804520"/>
                  <a:gd name="connsiteY0" fmla="*/ 2222279 h 2222278"/>
                  <a:gd name="connsiteX1" fmla="*/ 871233 w 1804520"/>
                  <a:gd name="connsiteY1" fmla="*/ 2209773 h 2222278"/>
                  <a:gd name="connsiteX2" fmla="*/ 5732 w 1804520"/>
                  <a:gd name="connsiteY2" fmla="*/ 1378236 h 2222278"/>
                  <a:gd name="connsiteX3" fmla="*/ 0 w 1804520"/>
                  <a:gd name="connsiteY3" fmla="*/ 1363599 h 2222278"/>
                  <a:gd name="connsiteX4" fmla="*/ 1184 w 1804520"/>
                  <a:gd name="connsiteY4" fmla="*/ 273089 h 2222278"/>
                  <a:gd name="connsiteX5" fmla="*/ 73329 w 1804520"/>
                  <a:gd name="connsiteY5" fmla="*/ 263710 h 2222278"/>
                  <a:gd name="connsiteX6" fmla="*/ 862896 w 1804520"/>
                  <a:gd name="connsiteY6" fmla="*/ 21269 h 2222278"/>
                  <a:gd name="connsiteX7" fmla="*/ 902260 w 1804520"/>
                  <a:gd name="connsiteY7" fmla="*/ 0 h 2222278"/>
                  <a:gd name="connsiteX8" fmla="*/ 941625 w 1804520"/>
                  <a:gd name="connsiteY8" fmla="*/ 21222 h 2222278"/>
                  <a:gd name="connsiteX9" fmla="*/ 1731192 w 1804520"/>
                  <a:gd name="connsiteY9" fmla="*/ 263663 h 2222278"/>
                  <a:gd name="connsiteX10" fmla="*/ 1803336 w 1804520"/>
                  <a:gd name="connsiteY10" fmla="*/ 273042 h 2222278"/>
                  <a:gd name="connsiteX11" fmla="*/ 1804521 w 1804520"/>
                  <a:gd name="connsiteY11" fmla="*/ 1363552 h 2222278"/>
                  <a:gd name="connsiteX12" fmla="*/ 1798789 w 1804520"/>
                  <a:gd name="connsiteY12" fmla="*/ 1378189 h 2222278"/>
                  <a:gd name="connsiteX13" fmla="*/ 933288 w 1804520"/>
                  <a:gd name="connsiteY13" fmla="*/ 2209726 h 2222278"/>
                  <a:gd name="connsiteX14" fmla="*/ 902260 w 1804520"/>
                  <a:gd name="connsiteY14" fmla="*/ 2222279 h 2222278"/>
                  <a:gd name="connsiteX15" fmla="*/ 165843 w 1804520"/>
                  <a:gd name="connsiteY15" fmla="*/ 1332098 h 2222278"/>
                  <a:gd name="connsiteX16" fmla="*/ 902260 w 1804520"/>
                  <a:gd name="connsiteY16" fmla="*/ 2043125 h 2222278"/>
                  <a:gd name="connsiteX17" fmla="*/ 1638677 w 1804520"/>
                  <a:gd name="connsiteY17" fmla="*/ 1332098 h 2222278"/>
                  <a:gd name="connsiteX18" fmla="*/ 1637683 w 1804520"/>
                  <a:gd name="connsiteY18" fmla="*/ 417853 h 2222278"/>
                  <a:gd name="connsiteX19" fmla="*/ 902260 w 1804520"/>
                  <a:gd name="connsiteY19" fmla="*/ 187870 h 2222278"/>
                  <a:gd name="connsiteX20" fmla="*/ 166838 w 1804520"/>
                  <a:gd name="connsiteY20" fmla="*/ 417853 h 2222278"/>
                  <a:gd name="connsiteX21" fmla="*/ 165843 w 1804520"/>
                  <a:gd name="connsiteY21" fmla="*/ 1332098 h 222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04520" h="2222278">
                    <a:moveTo>
                      <a:pt x="902260" y="2222279"/>
                    </a:moveTo>
                    <a:lnTo>
                      <a:pt x="871233" y="2209773"/>
                    </a:lnTo>
                    <a:cubicBezTo>
                      <a:pt x="445801" y="2038056"/>
                      <a:pt x="154616" y="1758288"/>
                      <a:pt x="5732" y="1378236"/>
                    </a:cubicBezTo>
                    <a:lnTo>
                      <a:pt x="0" y="1363599"/>
                    </a:lnTo>
                    <a:lnTo>
                      <a:pt x="1184" y="273089"/>
                    </a:lnTo>
                    <a:lnTo>
                      <a:pt x="73329" y="263710"/>
                    </a:lnTo>
                    <a:cubicBezTo>
                      <a:pt x="370814" y="225009"/>
                      <a:pt x="636466" y="143437"/>
                      <a:pt x="862896" y="21269"/>
                    </a:cubicBezTo>
                    <a:lnTo>
                      <a:pt x="902260" y="0"/>
                    </a:lnTo>
                    <a:lnTo>
                      <a:pt x="941625" y="21222"/>
                    </a:lnTo>
                    <a:cubicBezTo>
                      <a:pt x="1168055" y="143390"/>
                      <a:pt x="1433706" y="224961"/>
                      <a:pt x="1731192" y="263663"/>
                    </a:cubicBezTo>
                    <a:lnTo>
                      <a:pt x="1803336" y="273042"/>
                    </a:lnTo>
                    <a:lnTo>
                      <a:pt x="1804521" y="1363552"/>
                    </a:lnTo>
                    <a:lnTo>
                      <a:pt x="1798789" y="1378189"/>
                    </a:lnTo>
                    <a:cubicBezTo>
                      <a:pt x="1649904" y="1758240"/>
                      <a:pt x="1358720" y="2038009"/>
                      <a:pt x="933288" y="2209726"/>
                    </a:cubicBezTo>
                    <a:lnTo>
                      <a:pt x="902260" y="2222279"/>
                    </a:lnTo>
                    <a:close/>
                    <a:moveTo>
                      <a:pt x="165843" y="1332098"/>
                    </a:moveTo>
                    <a:cubicBezTo>
                      <a:pt x="295448" y="1651610"/>
                      <a:pt x="543052" y="1890640"/>
                      <a:pt x="902260" y="2043125"/>
                    </a:cubicBezTo>
                    <a:cubicBezTo>
                      <a:pt x="1261469" y="1890640"/>
                      <a:pt x="1509073" y="1651610"/>
                      <a:pt x="1638677" y="1332098"/>
                    </a:cubicBezTo>
                    <a:lnTo>
                      <a:pt x="1637683" y="417853"/>
                    </a:lnTo>
                    <a:cubicBezTo>
                      <a:pt x="1365541" y="375741"/>
                      <a:pt x="1118695" y="298527"/>
                      <a:pt x="902260" y="187870"/>
                    </a:cubicBezTo>
                    <a:cubicBezTo>
                      <a:pt x="685826" y="298574"/>
                      <a:pt x="438980" y="375741"/>
                      <a:pt x="166838" y="417853"/>
                    </a:cubicBezTo>
                    <a:lnTo>
                      <a:pt x="165843" y="1332098"/>
                    </a:lnTo>
                    <a:close/>
                  </a:path>
                </a:pathLst>
              </a:custGeom>
              <a:solidFill>
                <a:schemeClr val="bg2">
                  <a:alpha val="30000"/>
                </a:schemeClr>
              </a:solidFill>
              <a:ln w="4735" cap="flat">
                <a:noFill/>
                <a:prstDash val="solid"/>
                <a:miter/>
              </a:ln>
            </p:spPr>
            <p:txBody>
              <a:bodyPr rtlCol="0" anchor="ctr"/>
              <a:lstStyle/>
              <a:p>
                <a:endParaRPr lang="en-US"/>
              </a:p>
            </p:txBody>
          </p:sp>
          <p:pic>
            <p:nvPicPr>
              <p:cNvPr id="59" name="Picture 58" descr="A picture containing tower, black, white, clock&#10;&#10;Description automatically generated">
                <a:extLst>
                  <a:ext uri="{FF2B5EF4-FFF2-40B4-BE49-F238E27FC236}">
                    <a16:creationId xmlns:a16="http://schemas.microsoft.com/office/drawing/2014/main" id="{1839FA0D-5F9A-45C7-BCDF-EA3AFB20FEF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282358" y="2398297"/>
                <a:ext cx="1469696" cy="1720648"/>
              </a:xfrm>
              <a:prstGeom prst="rect">
                <a:avLst/>
              </a:prstGeom>
            </p:spPr>
          </p:pic>
          <p:sp>
            <p:nvSpPr>
              <p:cNvPr id="60" name="Freeform: Shape 59">
                <a:extLst>
                  <a:ext uri="{FF2B5EF4-FFF2-40B4-BE49-F238E27FC236}">
                    <a16:creationId xmlns:a16="http://schemas.microsoft.com/office/drawing/2014/main" id="{48472B33-3459-492D-965E-9AF516F55B75}"/>
                  </a:ext>
                </a:extLst>
              </p:cNvPr>
              <p:cNvSpPr/>
              <p:nvPr/>
            </p:nvSpPr>
            <p:spPr>
              <a:xfrm>
                <a:off x="4435543" y="2131438"/>
                <a:ext cx="1398924" cy="1722781"/>
              </a:xfrm>
              <a:custGeom>
                <a:avLst/>
                <a:gdLst>
                  <a:gd name="connsiteX0" fmla="*/ 902260 w 1804520"/>
                  <a:gd name="connsiteY0" fmla="*/ 2222279 h 2222278"/>
                  <a:gd name="connsiteX1" fmla="*/ 871233 w 1804520"/>
                  <a:gd name="connsiteY1" fmla="*/ 2209773 h 2222278"/>
                  <a:gd name="connsiteX2" fmla="*/ 5732 w 1804520"/>
                  <a:gd name="connsiteY2" fmla="*/ 1378236 h 2222278"/>
                  <a:gd name="connsiteX3" fmla="*/ 0 w 1804520"/>
                  <a:gd name="connsiteY3" fmla="*/ 1363599 h 2222278"/>
                  <a:gd name="connsiteX4" fmla="*/ 1184 w 1804520"/>
                  <a:gd name="connsiteY4" fmla="*/ 273089 h 2222278"/>
                  <a:gd name="connsiteX5" fmla="*/ 73329 w 1804520"/>
                  <a:gd name="connsiteY5" fmla="*/ 263710 h 2222278"/>
                  <a:gd name="connsiteX6" fmla="*/ 862896 w 1804520"/>
                  <a:gd name="connsiteY6" fmla="*/ 21269 h 2222278"/>
                  <a:gd name="connsiteX7" fmla="*/ 902260 w 1804520"/>
                  <a:gd name="connsiteY7" fmla="*/ 0 h 2222278"/>
                  <a:gd name="connsiteX8" fmla="*/ 941625 w 1804520"/>
                  <a:gd name="connsiteY8" fmla="*/ 21222 h 2222278"/>
                  <a:gd name="connsiteX9" fmla="*/ 1731192 w 1804520"/>
                  <a:gd name="connsiteY9" fmla="*/ 263663 h 2222278"/>
                  <a:gd name="connsiteX10" fmla="*/ 1803336 w 1804520"/>
                  <a:gd name="connsiteY10" fmla="*/ 273042 h 2222278"/>
                  <a:gd name="connsiteX11" fmla="*/ 1804521 w 1804520"/>
                  <a:gd name="connsiteY11" fmla="*/ 1363552 h 2222278"/>
                  <a:gd name="connsiteX12" fmla="*/ 1798789 w 1804520"/>
                  <a:gd name="connsiteY12" fmla="*/ 1378189 h 2222278"/>
                  <a:gd name="connsiteX13" fmla="*/ 933288 w 1804520"/>
                  <a:gd name="connsiteY13" fmla="*/ 2209726 h 2222278"/>
                  <a:gd name="connsiteX14" fmla="*/ 902260 w 1804520"/>
                  <a:gd name="connsiteY14" fmla="*/ 2222279 h 2222278"/>
                  <a:gd name="connsiteX15" fmla="*/ 165843 w 1804520"/>
                  <a:gd name="connsiteY15" fmla="*/ 1332098 h 2222278"/>
                  <a:gd name="connsiteX16" fmla="*/ 902260 w 1804520"/>
                  <a:gd name="connsiteY16" fmla="*/ 2043125 h 2222278"/>
                  <a:gd name="connsiteX17" fmla="*/ 1638677 w 1804520"/>
                  <a:gd name="connsiteY17" fmla="*/ 1332098 h 2222278"/>
                  <a:gd name="connsiteX18" fmla="*/ 1637683 w 1804520"/>
                  <a:gd name="connsiteY18" fmla="*/ 417853 h 2222278"/>
                  <a:gd name="connsiteX19" fmla="*/ 902260 w 1804520"/>
                  <a:gd name="connsiteY19" fmla="*/ 187870 h 2222278"/>
                  <a:gd name="connsiteX20" fmla="*/ 166838 w 1804520"/>
                  <a:gd name="connsiteY20" fmla="*/ 417853 h 2222278"/>
                  <a:gd name="connsiteX21" fmla="*/ 165843 w 1804520"/>
                  <a:gd name="connsiteY21" fmla="*/ 1332098 h 222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04520" h="2222278">
                    <a:moveTo>
                      <a:pt x="902260" y="2222279"/>
                    </a:moveTo>
                    <a:lnTo>
                      <a:pt x="871233" y="2209773"/>
                    </a:lnTo>
                    <a:cubicBezTo>
                      <a:pt x="445801" y="2038056"/>
                      <a:pt x="154616" y="1758288"/>
                      <a:pt x="5732" y="1378236"/>
                    </a:cubicBezTo>
                    <a:lnTo>
                      <a:pt x="0" y="1363599"/>
                    </a:lnTo>
                    <a:lnTo>
                      <a:pt x="1184" y="273089"/>
                    </a:lnTo>
                    <a:lnTo>
                      <a:pt x="73329" y="263710"/>
                    </a:lnTo>
                    <a:cubicBezTo>
                      <a:pt x="370814" y="225009"/>
                      <a:pt x="636466" y="143437"/>
                      <a:pt x="862896" y="21269"/>
                    </a:cubicBezTo>
                    <a:lnTo>
                      <a:pt x="902260" y="0"/>
                    </a:lnTo>
                    <a:lnTo>
                      <a:pt x="941625" y="21222"/>
                    </a:lnTo>
                    <a:cubicBezTo>
                      <a:pt x="1168055" y="143390"/>
                      <a:pt x="1433706" y="224961"/>
                      <a:pt x="1731192" y="263663"/>
                    </a:cubicBezTo>
                    <a:lnTo>
                      <a:pt x="1803336" y="273042"/>
                    </a:lnTo>
                    <a:lnTo>
                      <a:pt x="1804521" y="1363552"/>
                    </a:lnTo>
                    <a:lnTo>
                      <a:pt x="1798789" y="1378189"/>
                    </a:lnTo>
                    <a:cubicBezTo>
                      <a:pt x="1649904" y="1758240"/>
                      <a:pt x="1358720" y="2038009"/>
                      <a:pt x="933288" y="2209726"/>
                    </a:cubicBezTo>
                    <a:lnTo>
                      <a:pt x="902260" y="2222279"/>
                    </a:lnTo>
                    <a:close/>
                    <a:moveTo>
                      <a:pt x="165843" y="1332098"/>
                    </a:moveTo>
                    <a:cubicBezTo>
                      <a:pt x="295448" y="1651610"/>
                      <a:pt x="543052" y="1890640"/>
                      <a:pt x="902260" y="2043125"/>
                    </a:cubicBezTo>
                    <a:cubicBezTo>
                      <a:pt x="1261469" y="1890640"/>
                      <a:pt x="1509073" y="1651610"/>
                      <a:pt x="1638677" y="1332098"/>
                    </a:cubicBezTo>
                    <a:lnTo>
                      <a:pt x="1637683" y="417853"/>
                    </a:lnTo>
                    <a:cubicBezTo>
                      <a:pt x="1365541" y="375741"/>
                      <a:pt x="1118695" y="298527"/>
                      <a:pt x="902260" y="187870"/>
                    </a:cubicBezTo>
                    <a:cubicBezTo>
                      <a:pt x="685826" y="298574"/>
                      <a:pt x="438980" y="375741"/>
                      <a:pt x="166838" y="417853"/>
                    </a:cubicBezTo>
                    <a:lnTo>
                      <a:pt x="165843" y="1332098"/>
                    </a:lnTo>
                    <a:close/>
                  </a:path>
                </a:pathLst>
              </a:custGeom>
              <a:solidFill>
                <a:schemeClr val="accent1">
                  <a:alpha val="80000"/>
                </a:schemeClr>
              </a:solidFill>
              <a:ln w="4735"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627608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BE3901-C6BB-478E-A061-52591A2436C2}"/>
              </a:ext>
            </a:extLst>
          </p:cNvPr>
          <p:cNvSpPr/>
          <p:nvPr/>
        </p:nvSpPr>
        <p:spPr>
          <a:xfrm>
            <a:off x="533400" y="1833086"/>
            <a:ext cx="3478161" cy="1477328"/>
          </a:xfrm>
          <a:prstGeom prst="rect">
            <a:avLst/>
          </a:prstGeom>
        </p:spPr>
        <p:txBody>
          <a:bodyPr wrap="square" lIns="0" tIns="0" rIns="0" bIns="0"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D274D"/>
                </a:solidFill>
                <a:effectLst/>
                <a:uLnTx/>
                <a:uFillTx/>
                <a:latin typeface="CiscoSansTT ExtraLight"/>
                <a:ea typeface="ＭＳ Ｐゴシック" charset="0"/>
              </a:rPr>
              <a:t>The way we do business is changing</a:t>
            </a:r>
          </a:p>
        </p:txBody>
      </p:sp>
      <p:pic>
        <p:nvPicPr>
          <p:cNvPr id="90" name="Picture 89" descr="A tall clock tower in the background&#10;&#10;Description automatically generated">
            <a:extLst>
              <a:ext uri="{FF2B5EF4-FFF2-40B4-BE49-F238E27FC236}">
                <a16:creationId xmlns:a16="http://schemas.microsoft.com/office/drawing/2014/main" id="{6A773E34-25F1-4BA3-9C48-8BEE83D48404}"/>
              </a:ext>
            </a:extLst>
          </p:cNvPr>
          <p:cNvPicPr>
            <a:picLocks noChangeAspect="1"/>
          </p:cNvPicPr>
          <p:nvPr/>
        </p:nvPicPr>
        <p:blipFill>
          <a:blip r:embed="rId3" cstate="screen">
            <a:alphaModFix/>
            <a:extLst>
              <a:ext uri="{28A0092B-C50C-407E-A947-70E740481C1C}">
                <a14:useLocalDpi xmlns:a14="http://schemas.microsoft.com/office/drawing/2010/main"/>
              </a:ext>
            </a:extLst>
          </a:blip>
          <a:stretch>
            <a:fillRect/>
          </a:stretch>
        </p:blipFill>
        <p:spPr>
          <a:xfrm>
            <a:off x="3986489" y="781423"/>
            <a:ext cx="4103158" cy="2308027"/>
          </a:xfrm>
          <a:prstGeom prst="rect">
            <a:avLst/>
          </a:prstGeom>
        </p:spPr>
      </p:pic>
      <p:sp>
        <p:nvSpPr>
          <p:cNvPr id="93" name="Rectangle: Rounded Corners 92">
            <a:extLst>
              <a:ext uri="{FF2B5EF4-FFF2-40B4-BE49-F238E27FC236}">
                <a16:creationId xmlns:a16="http://schemas.microsoft.com/office/drawing/2014/main" id="{21C69710-3826-4046-B2EF-EEBF80D20795}"/>
              </a:ext>
            </a:extLst>
          </p:cNvPr>
          <p:cNvSpPr/>
          <p:nvPr/>
        </p:nvSpPr>
        <p:spPr>
          <a:xfrm>
            <a:off x="4234956" y="2420452"/>
            <a:ext cx="561691" cy="1159620"/>
          </a:xfrm>
          <a:prstGeom prst="roundRect">
            <a:avLst>
              <a:gd name="adj" fmla="val 21288"/>
            </a:avLst>
          </a:prstGeom>
          <a:solidFill>
            <a:srgbClr val="0D274D"/>
          </a:solidFill>
          <a:ln w="25400" cap="flat" cmpd="sng" algn="ctr">
            <a:noFill/>
            <a:prstDash val="solid"/>
          </a:ln>
          <a:effectLst/>
        </p:spPr>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pic>
        <p:nvPicPr>
          <p:cNvPr id="94" name="Picture 93">
            <a:extLst>
              <a:ext uri="{FF2B5EF4-FFF2-40B4-BE49-F238E27FC236}">
                <a16:creationId xmlns:a16="http://schemas.microsoft.com/office/drawing/2014/main" id="{105F8C0C-94B2-48EA-ADDA-FEC0F7169E7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56014" y="2285284"/>
            <a:ext cx="2688818" cy="1512459"/>
          </a:xfrm>
          <a:prstGeom prst="rect">
            <a:avLst/>
          </a:prstGeom>
        </p:spPr>
      </p:pic>
      <p:pic>
        <p:nvPicPr>
          <p:cNvPr id="95" name="Picture 94" descr="A picture containing smoke, train, coming, air&#10;&#10;Description automatically generated">
            <a:extLst>
              <a:ext uri="{FF2B5EF4-FFF2-40B4-BE49-F238E27FC236}">
                <a16:creationId xmlns:a16="http://schemas.microsoft.com/office/drawing/2014/main" id="{F1DED095-988F-49F5-AD54-BF5DDA9FCFB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118994" y="2262288"/>
            <a:ext cx="4094907" cy="2303386"/>
          </a:xfrm>
          <a:prstGeom prst="rect">
            <a:avLst/>
          </a:prstGeom>
        </p:spPr>
      </p:pic>
      <p:pic>
        <p:nvPicPr>
          <p:cNvPr id="99" name="Picture 98" descr="A person looking at the camera&#10;&#10;Description automatically generated">
            <a:extLst>
              <a:ext uri="{FF2B5EF4-FFF2-40B4-BE49-F238E27FC236}">
                <a16:creationId xmlns:a16="http://schemas.microsoft.com/office/drawing/2014/main" id="{DB9DD4AA-4579-40DB-84F3-70D7CB0C2A7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032308" y="1450461"/>
            <a:ext cx="3057339" cy="1719754"/>
          </a:xfrm>
          <a:prstGeom prst="rect">
            <a:avLst/>
          </a:prstGeom>
        </p:spPr>
      </p:pic>
      <p:sp>
        <p:nvSpPr>
          <p:cNvPr id="129" name="Graphic 1">
            <a:extLst>
              <a:ext uri="{FF2B5EF4-FFF2-40B4-BE49-F238E27FC236}">
                <a16:creationId xmlns:a16="http://schemas.microsoft.com/office/drawing/2014/main" id="{30738B14-34DD-405A-B34E-DB09538B522B}"/>
              </a:ext>
            </a:extLst>
          </p:cNvPr>
          <p:cNvSpPr/>
          <p:nvPr/>
        </p:nvSpPr>
        <p:spPr>
          <a:xfrm>
            <a:off x="6734111" y="1334817"/>
            <a:ext cx="612123" cy="1178146"/>
          </a:xfrm>
          <a:custGeom>
            <a:avLst/>
            <a:gdLst>
              <a:gd name="connsiteX0" fmla="*/ 0 w 667576"/>
              <a:gd name="connsiteY0" fmla="*/ 642439 h 1284878"/>
              <a:gd name="connsiteX1" fmla="*/ 526728 w 667576"/>
              <a:gd name="connsiteY1" fmla="*/ 2580 h 1284878"/>
              <a:gd name="connsiteX2" fmla="*/ 667577 w 667576"/>
              <a:gd name="connsiteY2" fmla="*/ 116143 h 1284878"/>
              <a:gd name="connsiteX3" fmla="*/ 667577 w 667576"/>
              <a:gd name="connsiteY3" fmla="*/ 1168735 h 1284878"/>
              <a:gd name="connsiteX4" fmla="*/ 526620 w 667576"/>
              <a:gd name="connsiteY4" fmla="*/ 1282299 h 1284878"/>
              <a:gd name="connsiteX5" fmla="*/ 0 w 667576"/>
              <a:gd name="connsiteY5" fmla="*/ 642439 h 1284878"/>
              <a:gd name="connsiteX6" fmla="*/ 0 w 667576"/>
              <a:gd name="connsiteY6" fmla="*/ 642439 h 128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7576" h="1284878">
                <a:moveTo>
                  <a:pt x="0" y="642439"/>
                </a:moveTo>
                <a:cubicBezTo>
                  <a:pt x="0" y="328387"/>
                  <a:pt x="225617" y="65994"/>
                  <a:pt x="526728" y="2580"/>
                </a:cubicBezTo>
                <a:cubicBezTo>
                  <a:pt x="599201" y="-12735"/>
                  <a:pt x="667577" y="42052"/>
                  <a:pt x="667577" y="116143"/>
                </a:cubicBezTo>
                <a:lnTo>
                  <a:pt x="667577" y="1168735"/>
                </a:lnTo>
                <a:cubicBezTo>
                  <a:pt x="667577" y="1242827"/>
                  <a:pt x="599201" y="1297613"/>
                  <a:pt x="526620" y="1282299"/>
                </a:cubicBezTo>
                <a:cubicBezTo>
                  <a:pt x="225617" y="1218992"/>
                  <a:pt x="0" y="956599"/>
                  <a:pt x="0" y="642439"/>
                </a:cubicBezTo>
                <a:lnTo>
                  <a:pt x="0" y="642439"/>
                </a:lnTo>
                <a:close/>
              </a:path>
            </a:pathLst>
          </a:custGeom>
          <a:solidFill>
            <a:srgbClr val="01BCEA"/>
          </a:solidFill>
          <a:ln w="107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pic>
        <p:nvPicPr>
          <p:cNvPr id="130" name="Picture 129" descr="A person looking at the camera&#10;&#10;Description automatically generated">
            <a:extLst>
              <a:ext uri="{FF2B5EF4-FFF2-40B4-BE49-F238E27FC236}">
                <a16:creationId xmlns:a16="http://schemas.microsoft.com/office/drawing/2014/main" id="{A5896672-A48E-4A0C-9488-9489365C90A4}"/>
              </a:ext>
            </a:extLst>
          </p:cNvPr>
          <p:cNvPicPr>
            <a:picLocks noChangeAspect="1"/>
          </p:cNvPicPr>
          <p:nvPr/>
        </p:nvPicPr>
        <p:blipFill>
          <a:blip r:embed="rId7" cstate="screen">
            <a:duotone>
              <a:prstClr val="black"/>
              <a:srgbClr val="00BCEB">
                <a:tint val="45000"/>
                <a:satMod val="400000"/>
              </a:srgbClr>
            </a:duotone>
            <a:extLst>
              <a:ext uri="{28A0092B-C50C-407E-A947-70E740481C1C}">
                <a14:useLocalDpi xmlns:a14="http://schemas.microsoft.com/office/drawing/2010/main"/>
              </a:ext>
            </a:extLst>
          </a:blip>
          <a:srcRect/>
          <a:stretch>
            <a:fillRect/>
          </a:stretch>
        </p:blipFill>
        <p:spPr>
          <a:xfrm>
            <a:off x="6734111" y="1450461"/>
            <a:ext cx="612123" cy="1062502"/>
          </a:xfrm>
          <a:custGeom>
            <a:avLst/>
            <a:gdLst>
              <a:gd name="connsiteX0" fmla="*/ 260839 w 667577"/>
              <a:gd name="connsiteY0" fmla="*/ 0 h 1158758"/>
              <a:gd name="connsiteX1" fmla="*/ 667577 w 667577"/>
              <a:gd name="connsiteY1" fmla="*/ 0 h 1158758"/>
              <a:gd name="connsiteX2" fmla="*/ 667577 w 667577"/>
              <a:gd name="connsiteY2" fmla="*/ 1042615 h 1158758"/>
              <a:gd name="connsiteX3" fmla="*/ 526620 w 667577"/>
              <a:gd name="connsiteY3" fmla="*/ 1156179 h 1158758"/>
              <a:gd name="connsiteX4" fmla="*/ 0 w 667577"/>
              <a:gd name="connsiteY4" fmla="*/ 516319 h 1158758"/>
              <a:gd name="connsiteX5" fmla="*/ 227744 w 667577"/>
              <a:gd name="connsiteY5" fmla="*/ 23976 h 1158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7577" h="1158758">
                <a:moveTo>
                  <a:pt x="260839" y="0"/>
                </a:moveTo>
                <a:lnTo>
                  <a:pt x="667577" y="0"/>
                </a:lnTo>
                <a:lnTo>
                  <a:pt x="667577" y="1042615"/>
                </a:lnTo>
                <a:cubicBezTo>
                  <a:pt x="667577" y="1116707"/>
                  <a:pt x="599201" y="1171493"/>
                  <a:pt x="526620" y="1156179"/>
                </a:cubicBezTo>
                <a:cubicBezTo>
                  <a:pt x="225617" y="1092872"/>
                  <a:pt x="0" y="830479"/>
                  <a:pt x="0" y="516319"/>
                </a:cubicBezTo>
                <a:cubicBezTo>
                  <a:pt x="0" y="320037"/>
                  <a:pt x="88132" y="143933"/>
                  <a:pt x="227744" y="23976"/>
                </a:cubicBezTo>
                <a:close/>
              </a:path>
            </a:pathLst>
          </a:custGeom>
        </p:spPr>
      </p:pic>
      <p:pic>
        <p:nvPicPr>
          <p:cNvPr id="8" name="Picture 7" descr="A picture containing holding, racket, woman, man&#10;&#10;Description automatically generated">
            <a:extLst>
              <a:ext uri="{FF2B5EF4-FFF2-40B4-BE49-F238E27FC236}">
                <a16:creationId xmlns:a16="http://schemas.microsoft.com/office/drawing/2014/main" id="{4D27C3F8-E18D-44A2-9CAF-DAEFD4D164D8}"/>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805758" y="747003"/>
            <a:ext cx="2023932" cy="2456868"/>
          </a:xfrm>
          <a:prstGeom prst="rect">
            <a:avLst/>
          </a:prstGeom>
        </p:spPr>
      </p:pic>
      <p:sp>
        <p:nvSpPr>
          <p:cNvPr id="173" name="Graphic 1">
            <a:extLst>
              <a:ext uri="{FF2B5EF4-FFF2-40B4-BE49-F238E27FC236}">
                <a16:creationId xmlns:a16="http://schemas.microsoft.com/office/drawing/2014/main" id="{B985FDDE-4F1C-43EA-AAFB-EFB4E86961EA}"/>
              </a:ext>
            </a:extLst>
          </p:cNvPr>
          <p:cNvSpPr/>
          <p:nvPr/>
        </p:nvSpPr>
        <p:spPr>
          <a:xfrm>
            <a:off x="6734111" y="1334817"/>
            <a:ext cx="612123" cy="1178146"/>
          </a:xfrm>
          <a:custGeom>
            <a:avLst/>
            <a:gdLst>
              <a:gd name="connsiteX0" fmla="*/ 0 w 667576"/>
              <a:gd name="connsiteY0" fmla="*/ 642439 h 1284878"/>
              <a:gd name="connsiteX1" fmla="*/ 526728 w 667576"/>
              <a:gd name="connsiteY1" fmla="*/ 2580 h 1284878"/>
              <a:gd name="connsiteX2" fmla="*/ 667577 w 667576"/>
              <a:gd name="connsiteY2" fmla="*/ 116143 h 1284878"/>
              <a:gd name="connsiteX3" fmla="*/ 667577 w 667576"/>
              <a:gd name="connsiteY3" fmla="*/ 1168735 h 1284878"/>
              <a:gd name="connsiteX4" fmla="*/ 526620 w 667576"/>
              <a:gd name="connsiteY4" fmla="*/ 1282299 h 1284878"/>
              <a:gd name="connsiteX5" fmla="*/ 0 w 667576"/>
              <a:gd name="connsiteY5" fmla="*/ 642439 h 1284878"/>
              <a:gd name="connsiteX6" fmla="*/ 0 w 667576"/>
              <a:gd name="connsiteY6" fmla="*/ 642439 h 128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7576" h="1284878">
                <a:moveTo>
                  <a:pt x="0" y="642439"/>
                </a:moveTo>
                <a:cubicBezTo>
                  <a:pt x="0" y="328387"/>
                  <a:pt x="225617" y="65994"/>
                  <a:pt x="526728" y="2580"/>
                </a:cubicBezTo>
                <a:cubicBezTo>
                  <a:pt x="599201" y="-12735"/>
                  <a:pt x="667577" y="42052"/>
                  <a:pt x="667577" y="116143"/>
                </a:cubicBezTo>
                <a:lnTo>
                  <a:pt x="667577" y="1168735"/>
                </a:lnTo>
                <a:cubicBezTo>
                  <a:pt x="667577" y="1242827"/>
                  <a:pt x="599201" y="1297613"/>
                  <a:pt x="526620" y="1282299"/>
                </a:cubicBezTo>
                <a:cubicBezTo>
                  <a:pt x="225617" y="1218992"/>
                  <a:pt x="0" y="956599"/>
                  <a:pt x="0" y="642439"/>
                </a:cubicBezTo>
                <a:lnTo>
                  <a:pt x="0" y="642439"/>
                </a:lnTo>
                <a:close/>
              </a:path>
            </a:pathLst>
          </a:custGeom>
          <a:solidFill>
            <a:srgbClr val="01BCEA">
              <a:alpha val="72000"/>
            </a:srgbClr>
          </a:solidFill>
          <a:ln w="107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35" name="Oval 134">
            <a:extLst>
              <a:ext uri="{FF2B5EF4-FFF2-40B4-BE49-F238E27FC236}">
                <a16:creationId xmlns:a16="http://schemas.microsoft.com/office/drawing/2014/main" id="{2C53015B-0F6A-4C84-8890-F9184E592290}"/>
              </a:ext>
            </a:extLst>
          </p:cNvPr>
          <p:cNvSpPr/>
          <p:nvPr/>
        </p:nvSpPr>
        <p:spPr>
          <a:xfrm>
            <a:off x="8558576" y="2178128"/>
            <a:ext cx="55582" cy="55581"/>
          </a:xfrm>
          <a:prstGeom prst="ellipse">
            <a:avLst/>
          </a:prstGeom>
          <a:solidFill>
            <a:srgbClr val="0D274D">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36" name="Oval 135">
            <a:extLst>
              <a:ext uri="{FF2B5EF4-FFF2-40B4-BE49-F238E27FC236}">
                <a16:creationId xmlns:a16="http://schemas.microsoft.com/office/drawing/2014/main" id="{F1818E47-EDD1-48F9-BDA8-83511B420D16}"/>
              </a:ext>
            </a:extLst>
          </p:cNvPr>
          <p:cNvSpPr/>
          <p:nvPr/>
        </p:nvSpPr>
        <p:spPr>
          <a:xfrm>
            <a:off x="8434924" y="2119690"/>
            <a:ext cx="55582" cy="55581"/>
          </a:xfrm>
          <a:prstGeom prst="ellipse">
            <a:avLst/>
          </a:prstGeom>
          <a:solidFill>
            <a:srgbClr val="0D274D">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37" name="Oval 136">
            <a:extLst>
              <a:ext uri="{FF2B5EF4-FFF2-40B4-BE49-F238E27FC236}">
                <a16:creationId xmlns:a16="http://schemas.microsoft.com/office/drawing/2014/main" id="{B43CA0BF-E238-483F-83E9-F7B7FD323BAD}"/>
              </a:ext>
            </a:extLst>
          </p:cNvPr>
          <p:cNvSpPr/>
          <p:nvPr/>
        </p:nvSpPr>
        <p:spPr>
          <a:xfrm>
            <a:off x="8622943" y="2079884"/>
            <a:ext cx="55582" cy="55581"/>
          </a:xfrm>
          <a:prstGeom prst="ellipse">
            <a:avLst/>
          </a:prstGeom>
          <a:solidFill>
            <a:srgbClr val="0D274D">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38" name="Oval 137">
            <a:extLst>
              <a:ext uri="{FF2B5EF4-FFF2-40B4-BE49-F238E27FC236}">
                <a16:creationId xmlns:a16="http://schemas.microsoft.com/office/drawing/2014/main" id="{48E170E1-0344-4E79-9E6A-3FDD96712144}"/>
              </a:ext>
            </a:extLst>
          </p:cNvPr>
          <p:cNvSpPr/>
          <p:nvPr/>
        </p:nvSpPr>
        <p:spPr>
          <a:xfrm>
            <a:off x="8661902" y="1974864"/>
            <a:ext cx="55582" cy="55581"/>
          </a:xfrm>
          <a:prstGeom prst="ellipse">
            <a:avLst/>
          </a:prstGeom>
          <a:solidFill>
            <a:srgbClr val="00BCEB">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39" name="Oval 138">
            <a:extLst>
              <a:ext uri="{FF2B5EF4-FFF2-40B4-BE49-F238E27FC236}">
                <a16:creationId xmlns:a16="http://schemas.microsoft.com/office/drawing/2014/main" id="{50656330-949C-43E4-B81E-37D6419DE5EE}"/>
              </a:ext>
            </a:extLst>
          </p:cNvPr>
          <p:cNvSpPr/>
          <p:nvPr/>
        </p:nvSpPr>
        <p:spPr>
          <a:xfrm>
            <a:off x="8723728" y="1872385"/>
            <a:ext cx="55582" cy="55581"/>
          </a:xfrm>
          <a:prstGeom prst="ellipse">
            <a:avLst/>
          </a:prstGeom>
          <a:solidFill>
            <a:srgbClr val="74BF4B">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40" name="Oval 139">
            <a:extLst>
              <a:ext uri="{FF2B5EF4-FFF2-40B4-BE49-F238E27FC236}">
                <a16:creationId xmlns:a16="http://schemas.microsoft.com/office/drawing/2014/main" id="{73E068AA-2C39-4F39-A1EE-64A4C2110E3B}"/>
              </a:ext>
            </a:extLst>
          </p:cNvPr>
          <p:cNvSpPr/>
          <p:nvPr/>
        </p:nvSpPr>
        <p:spPr>
          <a:xfrm>
            <a:off x="8915135" y="1817335"/>
            <a:ext cx="55582" cy="55581"/>
          </a:xfrm>
          <a:prstGeom prst="ellipse">
            <a:avLst/>
          </a:prstGeom>
          <a:solidFill>
            <a:srgbClr val="74BF4B">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41" name="Oval 140">
            <a:extLst>
              <a:ext uri="{FF2B5EF4-FFF2-40B4-BE49-F238E27FC236}">
                <a16:creationId xmlns:a16="http://schemas.microsoft.com/office/drawing/2014/main" id="{4218C54D-6F9D-433C-B142-DB147CA5E499}"/>
              </a:ext>
            </a:extLst>
          </p:cNvPr>
          <p:cNvSpPr/>
          <p:nvPr/>
        </p:nvSpPr>
        <p:spPr>
          <a:xfrm>
            <a:off x="8824513" y="1928283"/>
            <a:ext cx="55582" cy="55581"/>
          </a:xfrm>
          <a:prstGeom prst="ellipse">
            <a:avLst/>
          </a:prstGeom>
          <a:solidFill>
            <a:srgbClr val="74BF4B">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42" name="Oval 141">
            <a:extLst>
              <a:ext uri="{FF2B5EF4-FFF2-40B4-BE49-F238E27FC236}">
                <a16:creationId xmlns:a16="http://schemas.microsoft.com/office/drawing/2014/main" id="{9033EE62-C6D4-4FB2-A253-ACEF23812F8F}"/>
              </a:ext>
            </a:extLst>
          </p:cNvPr>
          <p:cNvSpPr/>
          <p:nvPr/>
        </p:nvSpPr>
        <p:spPr>
          <a:xfrm>
            <a:off x="8755912" y="2042619"/>
            <a:ext cx="55582" cy="55581"/>
          </a:xfrm>
          <a:prstGeom prst="ellipse">
            <a:avLst/>
          </a:prstGeom>
          <a:solidFill>
            <a:srgbClr val="74BF4B">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43" name="Oval 142">
            <a:extLst>
              <a:ext uri="{FF2B5EF4-FFF2-40B4-BE49-F238E27FC236}">
                <a16:creationId xmlns:a16="http://schemas.microsoft.com/office/drawing/2014/main" id="{4EDB3409-FF72-4037-9CF9-BB4B8957A13C}"/>
              </a:ext>
            </a:extLst>
          </p:cNvPr>
          <p:cNvSpPr/>
          <p:nvPr/>
        </p:nvSpPr>
        <p:spPr>
          <a:xfrm>
            <a:off x="8722034" y="2173046"/>
            <a:ext cx="55582" cy="55581"/>
          </a:xfrm>
          <a:prstGeom prst="ellipse">
            <a:avLst/>
          </a:prstGeom>
          <a:solidFill>
            <a:srgbClr val="74BF4B">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44" name="Oval 143">
            <a:extLst>
              <a:ext uri="{FF2B5EF4-FFF2-40B4-BE49-F238E27FC236}">
                <a16:creationId xmlns:a16="http://schemas.microsoft.com/office/drawing/2014/main" id="{F45A607D-E8CF-4034-A09E-922A192E0A29}"/>
              </a:ext>
            </a:extLst>
          </p:cNvPr>
          <p:cNvSpPr/>
          <p:nvPr/>
        </p:nvSpPr>
        <p:spPr>
          <a:xfrm>
            <a:off x="8857544" y="2094282"/>
            <a:ext cx="55582" cy="55581"/>
          </a:xfrm>
          <a:prstGeom prst="ellipse">
            <a:avLst/>
          </a:prstGeom>
          <a:solidFill>
            <a:srgbClr val="74BF4B">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45" name="Oval 144">
            <a:extLst>
              <a:ext uri="{FF2B5EF4-FFF2-40B4-BE49-F238E27FC236}">
                <a16:creationId xmlns:a16="http://schemas.microsoft.com/office/drawing/2014/main" id="{41576A23-DB94-461C-8DD2-4CD6AFAF78AE}"/>
              </a:ext>
            </a:extLst>
          </p:cNvPr>
          <p:cNvSpPr/>
          <p:nvPr/>
        </p:nvSpPr>
        <p:spPr>
          <a:xfrm>
            <a:off x="8928686" y="1975711"/>
            <a:ext cx="55582" cy="55581"/>
          </a:xfrm>
          <a:prstGeom prst="ellipse">
            <a:avLst/>
          </a:prstGeom>
          <a:solidFill>
            <a:srgbClr val="74BF4B">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46" name="Oval 145">
            <a:extLst>
              <a:ext uri="{FF2B5EF4-FFF2-40B4-BE49-F238E27FC236}">
                <a16:creationId xmlns:a16="http://schemas.microsoft.com/office/drawing/2014/main" id="{CC2A34D8-4AA6-4522-862B-3D8D9955BE22}"/>
              </a:ext>
            </a:extLst>
          </p:cNvPr>
          <p:cNvSpPr/>
          <p:nvPr/>
        </p:nvSpPr>
        <p:spPr>
          <a:xfrm>
            <a:off x="8839758" y="1673356"/>
            <a:ext cx="55582" cy="55581"/>
          </a:xfrm>
          <a:prstGeom prst="ellipse">
            <a:avLst/>
          </a:prstGeom>
          <a:solidFill>
            <a:srgbClr val="74BF4B">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47" name="Oval 146">
            <a:extLst>
              <a:ext uri="{FF2B5EF4-FFF2-40B4-BE49-F238E27FC236}">
                <a16:creationId xmlns:a16="http://schemas.microsoft.com/office/drawing/2014/main" id="{142C0B4D-DF81-49A0-8C3E-F8A8BCA9540E}"/>
              </a:ext>
            </a:extLst>
          </p:cNvPr>
          <p:cNvSpPr/>
          <p:nvPr/>
        </p:nvSpPr>
        <p:spPr>
          <a:xfrm>
            <a:off x="8720341" y="1614071"/>
            <a:ext cx="55582" cy="55581"/>
          </a:xfrm>
          <a:prstGeom prst="ellipse">
            <a:avLst/>
          </a:prstGeom>
          <a:solidFill>
            <a:srgbClr val="00BCEB">
              <a:alpha val="86000"/>
            </a:srgbClr>
          </a:solidFill>
          <a:ln w="25400" cap="flat" cmpd="sng" algn="ctr">
            <a:noFill/>
            <a:prstDash val="soli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48" name="Oval 147">
            <a:extLst>
              <a:ext uri="{FF2B5EF4-FFF2-40B4-BE49-F238E27FC236}">
                <a16:creationId xmlns:a16="http://schemas.microsoft.com/office/drawing/2014/main" id="{9A9BCE6B-954D-4182-A49A-C0D430FCE539}"/>
              </a:ext>
            </a:extLst>
          </p:cNvPr>
          <p:cNvSpPr/>
          <p:nvPr/>
        </p:nvSpPr>
        <p:spPr>
          <a:xfrm>
            <a:off x="8635647" y="1718244"/>
            <a:ext cx="55582" cy="55581"/>
          </a:xfrm>
          <a:prstGeom prst="ellipse">
            <a:avLst/>
          </a:prstGeom>
          <a:solidFill>
            <a:srgbClr val="00BCEB">
              <a:alpha val="86000"/>
            </a:srgbClr>
          </a:solidFill>
          <a:ln w="25400" cap="flat" cmpd="sng" algn="ctr">
            <a:noFill/>
            <a:prstDash val="soli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49" name="Oval 148">
            <a:extLst>
              <a:ext uri="{FF2B5EF4-FFF2-40B4-BE49-F238E27FC236}">
                <a16:creationId xmlns:a16="http://schemas.microsoft.com/office/drawing/2014/main" id="{DFF64498-633E-4584-9B44-1632F3C727C4}"/>
              </a:ext>
            </a:extLst>
          </p:cNvPr>
          <p:cNvSpPr/>
          <p:nvPr/>
        </p:nvSpPr>
        <p:spPr>
          <a:xfrm>
            <a:off x="8483538" y="1841388"/>
            <a:ext cx="55582" cy="55581"/>
          </a:xfrm>
          <a:prstGeom prst="ellipse">
            <a:avLst/>
          </a:prstGeom>
          <a:solidFill>
            <a:srgbClr val="00BCEB">
              <a:alpha val="86000"/>
            </a:srgbClr>
          </a:solidFill>
          <a:ln w="25400" cap="flat" cmpd="sng" algn="ctr">
            <a:noFill/>
            <a:prstDash val="soli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50" name="Oval 149">
            <a:extLst>
              <a:ext uri="{FF2B5EF4-FFF2-40B4-BE49-F238E27FC236}">
                <a16:creationId xmlns:a16="http://schemas.microsoft.com/office/drawing/2014/main" id="{17DBD743-7B94-4162-BC0B-14670DD4B183}"/>
              </a:ext>
            </a:extLst>
          </p:cNvPr>
          <p:cNvSpPr/>
          <p:nvPr/>
        </p:nvSpPr>
        <p:spPr>
          <a:xfrm>
            <a:off x="8363782" y="1976558"/>
            <a:ext cx="55582" cy="55581"/>
          </a:xfrm>
          <a:prstGeom prst="ellipse">
            <a:avLst/>
          </a:prstGeom>
          <a:solidFill>
            <a:srgbClr val="00BCEB">
              <a:alpha val="86000"/>
            </a:srgbClr>
          </a:solidFill>
          <a:ln w="25400" cap="flat" cmpd="sng" algn="ctr">
            <a:noFill/>
            <a:prstDash val="soli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51" name="Oval 150">
            <a:extLst>
              <a:ext uri="{FF2B5EF4-FFF2-40B4-BE49-F238E27FC236}">
                <a16:creationId xmlns:a16="http://schemas.microsoft.com/office/drawing/2014/main" id="{8BBCC995-D669-41A6-92A4-4A950A1E2638}"/>
              </a:ext>
            </a:extLst>
          </p:cNvPr>
          <p:cNvSpPr/>
          <p:nvPr/>
        </p:nvSpPr>
        <p:spPr>
          <a:xfrm>
            <a:off x="8500138" y="2021446"/>
            <a:ext cx="55582" cy="55581"/>
          </a:xfrm>
          <a:prstGeom prst="ellipse">
            <a:avLst/>
          </a:prstGeom>
          <a:solidFill>
            <a:srgbClr val="0D274D">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52" name="Oval 151">
            <a:extLst>
              <a:ext uri="{FF2B5EF4-FFF2-40B4-BE49-F238E27FC236}">
                <a16:creationId xmlns:a16="http://schemas.microsoft.com/office/drawing/2014/main" id="{B2CF8224-3BF3-464A-86C0-D6252E9CB1C7}"/>
              </a:ext>
            </a:extLst>
          </p:cNvPr>
          <p:cNvSpPr/>
          <p:nvPr/>
        </p:nvSpPr>
        <p:spPr>
          <a:xfrm>
            <a:off x="8556036" y="1918967"/>
            <a:ext cx="55582" cy="55581"/>
          </a:xfrm>
          <a:prstGeom prst="ellipse">
            <a:avLst/>
          </a:prstGeom>
          <a:solidFill>
            <a:srgbClr val="0D274D">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53" name="Oval 152">
            <a:extLst>
              <a:ext uri="{FF2B5EF4-FFF2-40B4-BE49-F238E27FC236}">
                <a16:creationId xmlns:a16="http://schemas.microsoft.com/office/drawing/2014/main" id="{1027FA3B-A56C-4ED5-93D1-8927D249CC13}"/>
              </a:ext>
            </a:extLst>
          </p:cNvPr>
          <p:cNvSpPr/>
          <p:nvPr/>
        </p:nvSpPr>
        <p:spPr>
          <a:xfrm>
            <a:off x="8612949" y="1824110"/>
            <a:ext cx="55582" cy="55581"/>
          </a:xfrm>
          <a:prstGeom prst="ellipse">
            <a:avLst/>
          </a:prstGeom>
          <a:solidFill>
            <a:srgbClr val="0D274D">
              <a:alpha val="86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54" name="Oval 153">
            <a:extLst>
              <a:ext uri="{FF2B5EF4-FFF2-40B4-BE49-F238E27FC236}">
                <a16:creationId xmlns:a16="http://schemas.microsoft.com/office/drawing/2014/main" id="{FA604311-9456-4BF3-ADEE-66F4784E8177}"/>
              </a:ext>
            </a:extLst>
          </p:cNvPr>
          <p:cNvSpPr/>
          <p:nvPr/>
        </p:nvSpPr>
        <p:spPr>
          <a:xfrm>
            <a:off x="8548583" y="1632704"/>
            <a:ext cx="55582" cy="55581"/>
          </a:xfrm>
          <a:prstGeom prst="ellipse">
            <a:avLst/>
          </a:prstGeom>
          <a:solidFill>
            <a:srgbClr val="74BF4B">
              <a:alpha val="86000"/>
            </a:srgbClr>
          </a:solidFill>
          <a:ln w="25400" cap="flat" cmpd="sng" algn="ctr">
            <a:noFill/>
            <a:prstDash val="soli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55" name="Oval 154">
            <a:extLst>
              <a:ext uri="{FF2B5EF4-FFF2-40B4-BE49-F238E27FC236}">
                <a16:creationId xmlns:a16="http://schemas.microsoft.com/office/drawing/2014/main" id="{D1CE337C-8EF9-4603-A7FA-2A9CF7CF08D5}"/>
              </a:ext>
            </a:extLst>
          </p:cNvPr>
          <p:cNvSpPr/>
          <p:nvPr/>
        </p:nvSpPr>
        <p:spPr>
          <a:xfrm>
            <a:off x="8429334" y="1716719"/>
            <a:ext cx="55582" cy="55581"/>
          </a:xfrm>
          <a:prstGeom prst="ellipse">
            <a:avLst/>
          </a:prstGeom>
          <a:solidFill>
            <a:srgbClr val="00BCEB">
              <a:alpha val="86000"/>
            </a:srgbClr>
          </a:solidFill>
          <a:ln w="25400" cap="flat" cmpd="sng" algn="ctr">
            <a:noFill/>
            <a:prstDash val="soli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56" name="Oval 155">
            <a:extLst>
              <a:ext uri="{FF2B5EF4-FFF2-40B4-BE49-F238E27FC236}">
                <a16:creationId xmlns:a16="http://schemas.microsoft.com/office/drawing/2014/main" id="{D02F871E-A974-4623-92A0-B71316D6F9D9}"/>
              </a:ext>
            </a:extLst>
          </p:cNvPr>
          <p:cNvSpPr/>
          <p:nvPr/>
        </p:nvSpPr>
        <p:spPr>
          <a:xfrm>
            <a:off x="8350739" y="1854939"/>
            <a:ext cx="55582" cy="55581"/>
          </a:xfrm>
          <a:prstGeom prst="ellipse">
            <a:avLst/>
          </a:prstGeom>
          <a:solidFill>
            <a:srgbClr val="00BCEB">
              <a:alpha val="86000"/>
            </a:srgbClr>
          </a:solidFill>
          <a:ln w="25400" cap="flat" cmpd="sng" algn="ctr">
            <a:noFill/>
            <a:prstDash val="soli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pic>
        <p:nvPicPr>
          <p:cNvPr id="96" name="Picture 95" descr="A picture containing smoke, train, coming, air&#10;&#10;Description automatically generated">
            <a:extLst>
              <a:ext uri="{FF2B5EF4-FFF2-40B4-BE49-F238E27FC236}">
                <a16:creationId xmlns:a16="http://schemas.microsoft.com/office/drawing/2014/main" id="{C42A9AB3-E0A8-428B-933E-D00E698334C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145014" y="2281876"/>
            <a:ext cx="4094907" cy="2303386"/>
          </a:xfrm>
          <a:prstGeom prst="rect">
            <a:avLst/>
          </a:prstGeom>
        </p:spPr>
      </p:pic>
      <p:pic>
        <p:nvPicPr>
          <p:cNvPr id="10" name="Picture 9" descr="A picture containing indoor, sitting, black, close&#10;&#10;Description automatically generated">
            <a:extLst>
              <a:ext uri="{FF2B5EF4-FFF2-40B4-BE49-F238E27FC236}">
                <a16:creationId xmlns:a16="http://schemas.microsoft.com/office/drawing/2014/main" id="{9F2DE9AE-230E-48D4-97C2-0FEE04E96E4E}"/>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616316" y="3355394"/>
            <a:ext cx="1108890" cy="740739"/>
          </a:xfrm>
          <a:prstGeom prst="rect">
            <a:avLst/>
          </a:prstGeom>
        </p:spPr>
      </p:pic>
      <p:cxnSp>
        <p:nvCxnSpPr>
          <p:cNvPr id="158" name="Straight Connector 157">
            <a:extLst>
              <a:ext uri="{FF2B5EF4-FFF2-40B4-BE49-F238E27FC236}">
                <a16:creationId xmlns:a16="http://schemas.microsoft.com/office/drawing/2014/main" id="{13B9B8C9-A873-4205-9D86-98D9DED4C83C}"/>
              </a:ext>
            </a:extLst>
          </p:cNvPr>
          <p:cNvCxnSpPr>
            <a:cxnSpLocks/>
          </p:cNvCxnSpPr>
          <p:nvPr/>
        </p:nvCxnSpPr>
        <p:spPr>
          <a:xfrm rot="20169390">
            <a:off x="5947257" y="2074704"/>
            <a:ext cx="0" cy="452071"/>
          </a:xfrm>
          <a:prstGeom prst="line">
            <a:avLst/>
          </a:prstGeom>
          <a:noFill/>
          <a:ln w="19050" cap="rnd" cmpd="sng" algn="ctr">
            <a:solidFill>
              <a:schemeClr val="accent2"/>
            </a:solidFill>
            <a:prstDash val="solid"/>
            <a:round/>
          </a:ln>
          <a:effectLst/>
        </p:spPr>
      </p:cxnSp>
      <p:cxnSp>
        <p:nvCxnSpPr>
          <p:cNvPr id="159" name="Straight Connector 158">
            <a:extLst>
              <a:ext uri="{FF2B5EF4-FFF2-40B4-BE49-F238E27FC236}">
                <a16:creationId xmlns:a16="http://schemas.microsoft.com/office/drawing/2014/main" id="{92B9019B-874D-47F1-95D9-FFC9D794BF50}"/>
              </a:ext>
            </a:extLst>
          </p:cNvPr>
          <p:cNvCxnSpPr>
            <a:cxnSpLocks/>
          </p:cNvCxnSpPr>
          <p:nvPr/>
        </p:nvCxnSpPr>
        <p:spPr>
          <a:xfrm rot="18726659">
            <a:off x="5798916" y="2181952"/>
            <a:ext cx="0" cy="452070"/>
          </a:xfrm>
          <a:prstGeom prst="line">
            <a:avLst/>
          </a:prstGeom>
          <a:noFill/>
          <a:ln w="19050" cap="rnd" cmpd="sng" algn="ctr">
            <a:solidFill>
              <a:schemeClr val="accent2"/>
            </a:solidFill>
            <a:prstDash val="solid"/>
            <a:round/>
          </a:ln>
          <a:effectLst/>
        </p:spPr>
      </p:cxnSp>
      <p:cxnSp>
        <p:nvCxnSpPr>
          <p:cNvPr id="160" name="Straight Connector 159">
            <a:extLst>
              <a:ext uri="{FF2B5EF4-FFF2-40B4-BE49-F238E27FC236}">
                <a16:creationId xmlns:a16="http://schemas.microsoft.com/office/drawing/2014/main" id="{E603C895-8F8F-4C38-997E-9525A7461829}"/>
              </a:ext>
            </a:extLst>
          </p:cNvPr>
          <p:cNvCxnSpPr>
            <a:cxnSpLocks/>
          </p:cNvCxnSpPr>
          <p:nvPr/>
        </p:nvCxnSpPr>
        <p:spPr>
          <a:xfrm rot="17296049">
            <a:off x="5707631" y="2338864"/>
            <a:ext cx="0" cy="452070"/>
          </a:xfrm>
          <a:prstGeom prst="line">
            <a:avLst/>
          </a:prstGeom>
          <a:noFill/>
          <a:ln w="19050" cap="rnd" cmpd="sng" algn="ctr">
            <a:solidFill>
              <a:schemeClr val="accent2"/>
            </a:solidFill>
            <a:prstDash val="solid"/>
            <a:round/>
          </a:ln>
          <a:effectLst/>
        </p:spPr>
      </p:cxnSp>
      <p:cxnSp>
        <p:nvCxnSpPr>
          <p:cNvPr id="161" name="Straight Connector 160">
            <a:extLst>
              <a:ext uri="{FF2B5EF4-FFF2-40B4-BE49-F238E27FC236}">
                <a16:creationId xmlns:a16="http://schemas.microsoft.com/office/drawing/2014/main" id="{F6A09188-AAC8-4557-A8F3-A5333297E615}"/>
              </a:ext>
            </a:extLst>
          </p:cNvPr>
          <p:cNvCxnSpPr>
            <a:cxnSpLocks/>
          </p:cNvCxnSpPr>
          <p:nvPr/>
        </p:nvCxnSpPr>
        <p:spPr>
          <a:xfrm rot="15820340">
            <a:off x="5688164" y="2525019"/>
            <a:ext cx="0" cy="452070"/>
          </a:xfrm>
          <a:prstGeom prst="line">
            <a:avLst/>
          </a:prstGeom>
          <a:noFill/>
          <a:ln w="19050" cap="rnd" cmpd="sng" algn="ctr">
            <a:solidFill>
              <a:schemeClr val="accent2"/>
            </a:solidFill>
            <a:prstDash val="solid"/>
            <a:round/>
          </a:ln>
          <a:effectLst/>
        </p:spPr>
      </p:cxnSp>
      <p:cxnSp>
        <p:nvCxnSpPr>
          <p:cNvPr id="162" name="Straight Connector 161">
            <a:extLst>
              <a:ext uri="{FF2B5EF4-FFF2-40B4-BE49-F238E27FC236}">
                <a16:creationId xmlns:a16="http://schemas.microsoft.com/office/drawing/2014/main" id="{36464307-86DF-4B8C-AF59-2997A11C6495}"/>
              </a:ext>
            </a:extLst>
          </p:cNvPr>
          <p:cNvCxnSpPr>
            <a:cxnSpLocks/>
          </p:cNvCxnSpPr>
          <p:nvPr/>
        </p:nvCxnSpPr>
        <p:spPr>
          <a:xfrm rot="14389730">
            <a:off x="5745012" y="2697422"/>
            <a:ext cx="0" cy="452070"/>
          </a:xfrm>
          <a:prstGeom prst="line">
            <a:avLst/>
          </a:prstGeom>
          <a:noFill/>
          <a:ln w="19050" cap="rnd" cmpd="sng" algn="ctr">
            <a:solidFill>
              <a:schemeClr val="accent2"/>
            </a:solidFill>
            <a:prstDash val="solid"/>
            <a:round/>
          </a:ln>
          <a:effectLst/>
        </p:spPr>
      </p:cxnSp>
      <p:cxnSp>
        <p:nvCxnSpPr>
          <p:cNvPr id="163" name="Straight Connector 162">
            <a:extLst>
              <a:ext uri="{FF2B5EF4-FFF2-40B4-BE49-F238E27FC236}">
                <a16:creationId xmlns:a16="http://schemas.microsoft.com/office/drawing/2014/main" id="{19099592-147E-40A8-A42D-71D120E0066B}"/>
              </a:ext>
            </a:extLst>
          </p:cNvPr>
          <p:cNvCxnSpPr>
            <a:cxnSpLocks/>
          </p:cNvCxnSpPr>
          <p:nvPr/>
        </p:nvCxnSpPr>
        <p:spPr>
          <a:xfrm rot="12946999">
            <a:off x="5867955" y="2833038"/>
            <a:ext cx="0" cy="452071"/>
          </a:xfrm>
          <a:prstGeom prst="line">
            <a:avLst/>
          </a:prstGeom>
          <a:noFill/>
          <a:ln w="19050" cap="rnd" cmpd="sng" algn="ctr">
            <a:solidFill>
              <a:schemeClr val="accent2"/>
            </a:solidFill>
            <a:prstDash val="solid"/>
            <a:round/>
          </a:ln>
          <a:effectLst/>
        </p:spPr>
      </p:cxnSp>
      <p:cxnSp>
        <p:nvCxnSpPr>
          <p:cNvPr id="164" name="Straight Connector 163">
            <a:extLst>
              <a:ext uri="{FF2B5EF4-FFF2-40B4-BE49-F238E27FC236}">
                <a16:creationId xmlns:a16="http://schemas.microsoft.com/office/drawing/2014/main" id="{E4036870-C4D7-4E25-8CF6-E42C88A71740}"/>
              </a:ext>
            </a:extLst>
          </p:cNvPr>
          <p:cNvCxnSpPr>
            <a:cxnSpLocks/>
          </p:cNvCxnSpPr>
          <p:nvPr/>
        </p:nvCxnSpPr>
        <p:spPr>
          <a:xfrm rot="11516389">
            <a:off x="6033972" y="2906473"/>
            <a:ext cx="0" cy="452071"/>
          </a:xfrm>
          <a:prstGeom prst="line">
            <a:avLst/>
          </a:prstGeom>
          <a:noFill/>
          <a:ln w="19050" cap="rnd" cmpd="sng" algn="ctr">
            <a:solidFill>
              <a:schemeClr val="accent2"/>
            </a:solidFill>
            <a:prstDash val="solid"/>
            <a:round/>
          </a:ln>
          <a:effectLst/>
        </p:spPr>
      </p:cxnSp>
      <p:cxnSp>
        <p:nvCxnSpPr>
          <p:cNvPr id="165" name="Straight Connector 164">
            <a:extLst>
              <a:ext uri="{FF2B5EF4-FFF2-40B4-BE49-F238E27FC236}">
                <a16:creationId xmlns:a16="http://schemas.microsoft.com/office/drawing/2014/main" id="{3CD903DD-9EC3-48B9-A1DC-404A3871639E}"/>
              </a:ext>
            </a:extLst>
          </p:cNvPr>
          <p:cNvCxnSpPr>
            <a:cxnSpLocks/>
          </p:cNvCxnSpPr>
          <p:nvPr/>
        </p:nvCxnSpPr>
        <p:spPr>
          <a:xfrm rot="10062106">
            <a:off x="6218464" y="2905896"/>
            <a:ext cx="0" cy="452071"/>
          </a:xfrm>
          <a:prstGeom prst="line">
            <a:avLst/>
          </a:prstGeom>
          <a:noFill/>
          <a:ln w="19050" cap="rnd" cmpd="sng" algn="ctr">
            <a:solidFill>
              <a:schemeClr val="accent2"/>
            </a:solidFill>
            <a:prstDash val="solid"/>
            <a:round/>
          </a:ln>
          <a:effectLst/>
        </p:spPr>
      </p:cxnSp>
      <p:cxnSp>
        <p:nvCxnSpPr>
          <p:cNvPr id="166" name="Straight Connector 165">
            <a:extLst>
              <a:ext uri="{FF2B5EF4-FFF2-40B4-BE49-F238E27FC236}">
                <a16:creationId xmlns:a16="http://schemas.microsoft.com/office/drawing/2014/main" id="{9AF2B18E-EC30-4FE6-9C72-F1607C49EBB4}"/>
              </a:ext>
            </a:extLst>
          </p:cNvPr>
          <p:cNvCxnSpPr>
            <a:cxnSpLocks/>
          </p:cNvCxnSpPr>
          <p:nvPr/>
        </p:nvCxnSpPr>
        <p:spPr>
          <a:xfrm rot="8631496">
            <a:off x="6384018" y="2831424"/>
            <a:ext cx="0" cy="452071"/>
          </a:xfrm>
          <a:prstGeom prst="line">
            <a:avLst/>
          </a:prstGeom>
          <a:noFill/>
          <a:ln w="19050" cap="rnd" cmpd="sng" algn="ctr">
            <a:solidFill>
              <a:schemeClr val="accent2"/>
            </a:solidFill>
            <a:prstDash val="solid"/>
            <a:round/>
          </a:ln>
          <a:effectLst/>
        </p:spPr>
      </p:cxnSp>
      <p:cxnSp>
        <p:nvCxnSpPr>
          <p:cNvPr id="167" name="Straight Connector 166">
            <a:extLst>
              <a:ext uri="{FF2B5EF4-FFF2-40B4-BE49-F238E27FC236}">
                <a16:creationId xmlns:a16="http://schemas.microsoft.com/office/drawing/2014/main" id="{5A4F0A1A-B02F-4929-B216-024F699A428B}"/>
              </a:ext>
            </a:extLst>
          </p:cNvPr>
          <p:cNvCxnSpPr>
            <a:cxnSpLocks/>
          </p:cNvCxnSpPr>
          <p:nvPr/>
        </p:nvCxnSpPr>
        <p:spPr>
          <a:xfrm rot="7188765">
            <a:off x="6506110" y="2695041"/>
            <a:ext cx="0" cy="452070"/>
          </a:xfrm>
          <a:prstGeom prst="line">
            <a:avLst/>
          </a:prstGeom>
          <a:noFill/>
          <a:ln w="19050" cap="rnd" cmpd="sng" algn="ctr">
            <a:solidFill>
              <a:schemeClr val="accent2"/>
            </a:solidFill>
            <a:prstDash val="solid"/>
            <a:round/>
          </a:ln>
          <a:effectLst/>
        </p:spPr>
      </p:cxnSp>
      <p:cxnSp>
        <p:nvCxnSpPr>
          <p:cNvPr id="168" name="Straight Connector 167">
            <a:extLst>
              <a:ext uri="{FF2B5EF4-FFF2-40B4-BE49-F238E27FC236}">
                <a16:creationId xmlns:a16="http://schemas.microsoft.com/office/drawing/2014/main" id="{47D7D3FF-CD2A-4260-954B-DCA15DE9E0E3}"/>
              </a:ext>
            </a:extLst>
          </p:cNvPr>
          <p:cNvCxnSpPr>
            <a:cxnSpLocks/>
          </p:cNvCxnSpPr>
          <p:nvPr/>
        </p:nvCxnSpPr>
        <p:spPr>
          <a:xfrm rot="5758155">
            <a:off x="6561879" y="2522286"/>
            <a:ext cx="0" cy="452070"/>
          </a:xfrm>
          <a:prstGeom prst="line">
            <a:avLst/>
          </a:prstGeom>
          <a:noFill/>
          <a:ln w="19050" cap="rnd" cmpd="sng" algn="ctr">
            <a:solidFill>
              <a:schemeClr val="accent2"/>
            </a:solidFill>
            <a:prstDash val="solid"/>
            <a:round/>
          </a:ln>
          <a:effectLst/>
        </p:spPr>
      </p:cxnSp>
      <p:cxnSp>
        <p:nvCxnSpPr>
          <p:cNvPr id="169" name="Straight Connector 168">
            <a:extLst>
              <a:ext uri="{FF2B5EF4-FFF2-40B4-BE49-F238E27FC236}">
                <a16:creationId xmlns:a16="http://schemas.microsoft.com/office/drawing/2014/main" id="{F12A0AD8-8320-475A-8BC5-0ACD4DC614E3}"/>
              </a:ext>
            </a:extLst>
          </p:cNvPr>
          <p:cNvCxnSpPr>
            <a:cxnSpLocks/>
          </p:cNvCxnSpPr>
          <p:nvPr/>
        </p:nvCxnSpPr>
        <p:spPr>
          <a:xfrm rot="4282446">
            <a:off x="6541248" y="2336257"/>
            <a:ext cx="0" cy="452070"/>
          </a:xfrm>
          <a:prstGeom prst="line">
            <a:avLst/>
          </a:prstGeom>
          <a:noFill/>
          <a:ln w="19050" cap="rnd" cmpd="sng" algn="ctr">
            <a:solidFill>
              <a:schemeClr val="accent2"/>
            </a:solidFill>
            <a:prstDash val="solid"/>
            <a:round/>
          </a:ln>
          <a:effectLst/>
        </p:spPr>
      </p:cxnSp>
      <p:cxnSp>
        <p:nvCxnSpPr>
          <p:cNvPr id="170" name="Straight Connector 169">
            <a:extLst>
              <a:ext uri="{FF2B5EF4-FFF2-40B4-BE49-F238E27FC236}">
                <a16:creationId xmlns:a16="http://schemas.microsoft.com/office/drawing/2014/main" id="{9BFCF112-1061-45C5-9940-AE8B535B020E}"/>
              </a:ext>
            </a:extLst>
          </p:cNvPr>
          <p:cNvCxnSpPr>
            <a:cxnSpLocks/>
          </p:cNvCxnSpPr>
          <p:nvPr/>
        </p:nvCxnSpPr>
        <p:spPr>
          <a:xfrm rot="2851836">
            <a:off x="6448983" y="2179919"/>
            <a:ext cx="0" cy="452070"/>
          </a:xfrm>
          <a:prstGeom prst="line">
            <a:avLst/>
          </a:prstGeom>
          <a:noFill/>
          <a:ln w="19050" cap="rnd" cmpd="sng" algn="ctr">
            <a:solidFill>
              <a:schemeClr val="accent2"/>
            </a:solidFill>
            <a:prstDash val="solid"/>
            <a:round/>
          </a:ln>
          <a:effectLst/>
        </p:spPr>
      </p:cxnSp>
      <p:cxnSp>
        <p:nvCxnSpPr>
          <p:cNvPr id="171" name="Straight Connector 170">
            <a:extLst>
              <a:ext uri="{FF2B5EF4-FFF2-40B4-BE49-F238E27FC236}">
                <a16:creationId xmlns:a16="http://schemas.microsoft.com/office/drawing/2014/main" id="{2C097BD7-0F2D-4FEB-A55D-B9D2B6AC83FA}"/>
              </a:ext>
            </a:extLst>
          </p:cNvPr>
          <p:cNvCxnSpPr>
            <a:cxnSpLocks/>
          </p:cNvCxnSpPr>
          <p:nvPr/>
        </p:nvCxnSpPr>
        <p:spPr>
          <a:xfrm rot="1409105">
            <a:off x="6299975" y="2073601"/>
            <a:ext cx="0" cy="452071"/>
          </a:xfrm>
          <a:prstGeom prst="line">
            <a:avLst/>
          </a:prstGeom>
          <a:noFill/>
          <a:ln w="19050" cap="rnd" cmpd="sng" algn="ctr">
            <a:solidFill>
              <a:schemeClr val="accent2"/>
            </a:solidFill>
            <a:prstDash val="solid"/>
            <a:round/>
          </a:ln>
          <a:effectLst/>
        </p:spPr>
      </p:cxnSp>
      <p:cxnSp>
        <p:nvCxnSpPr>
          <p:cNvPr id="172" name="Straight Connector 171">
            <a:extLst>
              <a:ext uri="{FF2B5EF4-FFF2-40B4-BE49-F238E27FC236}">
                <a16:creationId xmlns:a16="http://schemas.microsoft.com/office/drawing/2014/main" id="{44D023A5-32D1-4759-BCFE-820227CFF1C4}"/>
              </a:ext>
            </a:extLst>
          </p:cNvPr>
          <p:cNvCxnSpPr>
            <a:cxnSpLocks/>
          </p:cNvCxnSpPr>
          <p:nvPr/>
        </p:nvCxnSpPr>
        <p:spPr>
          <a:xfrm rot="21578495">
            <a:off x="6122126" y="2037213"/>
            <a:ext cx="0" cy="452071"/>
          </a:xfrm>
          <a:prstGeom prst="line">
            <a:avLst/>
          </a:prstGeom>
          <a:noFill/>
          <a:ln w="19050" cap="rnd" cmpd="sng" algn="ctr">
            <a:solidFill>
              <a:schemeClr val="accent2"/>
            </a:solidFill>
            <a:prstDash val="solid"/>
            <a:round/>
          </a:ln>
          <a:effectLst/>
        </p:spPr>
      </p:cxnSp>
      <p:pic>
        <p:nvPicPr>
          <p:cNvPr id="14" name="Picture 13" descr="A person wearing a costume&#10;&#10;Description automatically generated">
            <a:extLst>
              <a:ext uri="{FF2B5EF4-FFF2-40B4-BE49-F238E27FC236}">
                <a16:creationId xmlns:a16="http://schemas.microsoft.com/office/drawing/2014/main" id="{D31A63E1-1831-4B70-AEC0-B8D9911D6FD6}"/>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657263" y="1626916"/>
            <a:ext cx="1382067" cy="2519721"/>
          </a:xfrm>
          <a:prstGeom prst="rect">
            <a:avLst/>
          </a:prstGeom>
        </p:spPr>
      </p:pic>
      <p:sp>
        <p:nvSpPr>
          <p:cNvPr id="183" name="Oval 182">
            <a:extLst>
              <a:ext uri="{FF2B5EF4-FFF2-40B4-BE49-F238E27FC236}">
                <a16:creationId xmlns:a16="http://schemas.microsoft.com/office/drawing/2014/main" id="{493CAD9D-CB12-403F-A86D-85725348ACD7}"/>
              </a:ext>
            </a:extLst>
          </p:cNvPr>
          <p:cNvSpPr/>
          <p:nvPr/>
        </p:nvSpPr>
        <p:spPr>
          <a:xfrm>
            <a:off x="3799840" y="3704331"/>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84" name="Oval 183">
            <a:extLst>
              <a:ext uri="{FF2B5EF4-FFF2-40B4-BE49-F238E27FC236}">
                <a16:creationId xmlns:a16="http://schemas.microsoft.com/office/drawing/2014/main" id="{90039D8D-20A8-4C49-9B51-FA2D2B46F2AB}"/>
              </a:ext>
            </a:extLst>
          </p:cNvPr>
          <p:cNvSpPr/>
          <p:nvPr/>
        </p:nvSpPr>
        <p:spPr>
          <a:xfrm>
            <a:off x="3799840" y="390396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85" name="Oval 184">
            <a:extLst>
              <a:ext uri="{FF2B5EF4-FFF2-40B4-BE49-F238E27FC236}">
                <a16:creationId xmlns:a16="http://schemas.microsoft.com/office/drawing/2014/main" id="{54AA2708-3FE0-42EF-AE41-F7DEDBC93232}"/>
              </a:ext>
            </a:extLst>
          </p:cNvPr>
          <p:cNvSpPr/>
          <p:nvPr/>
        </p:nvSpPr>
        <p:spPr>
          <a:xfrm>
            <a:off x="3799840" y="410359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86" name="Oval 185">
            <a:extLst>
              <a:ext uri="{FF2B5EF4-FFF2-40B4-BE49-F238E27FC236}">
                <a16:creationId xmlns:a16="http://schemas.microsoft.com/office/drawing/2014/main" id="{6A6B0FD0-5194-4882-BD33-B92D2070DAA1}"/>
              </a:ext>
            </a:extLst>
          </p:cNvPr>
          <p:cNvSpPr/>
          <p:nvPr/>
        </p:nvSpPr>
        <p:spPr>
          <a:xfrm>
            <a:off x="4016605" y="3704331"/>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87" name="Oval 186">
            <a:extLst>
              <a:ext uri="{FF2B5EF4-FFF2-40B4-BE49-F238E27FC236}">
                <a16:creationId xmlns:a16="http://schemas.microsoft.com/office/drawing/2014/main" id="{ABCF6203-6AFF-42DD-B25E-622A1773806E}"/>
              </a:ext>
            </a:extLst>
          </p:cNvPr>
          <p:cNvSpPr/>
          <p:nvPr/>
        </p:nvSpPr>
        <p:spPr>
          <a:xfrm>
            <a:off x="4016605" y="390396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88" name="Oval 187">
            <a:extLst>
              <a:ext uri="{FF2B5EF4-FFF2-40B4-BE49-F238E27FC236}">
                <a16:creationId xmlns:a16="http://schemas.microsoft.com/office/drawing/2014/main" id="{B59BEE79-34DD-44EA-A01C-34E821A9CC83}"/>
              </a:ext>
            </a:extLst>
          </p:cNvPr>
          <p:cNvSpPr/>
          <p:nvPr/>
        </p:nvSpPr>
        <p:spPr>
          <a:xfrm>
            <a:off x="4016605" y="410359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89" name="Oval 188">
            <a:extLst>
              <a:ext uri="{FF2B5EF4-FFF2-40B4-BE49-F238E27FC236}">
                <a16:creationId xmlns:a16="http://schemas.microsoft.com/office/drawing/2014/main" id="{549E7826-F9C9-4210-BD97-0DC0F5527409}"/>
              </a:ext>
            </a:extLst>
          </p:cNvPr>
          <p:cNvSpPr/>
          <p:nvPr/>
        </p:nvSpPr>
        <p:spPr>
          <a:xfrm>
            <a:off x="4233369" y="3704331"/>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90" name="Oval 189">
            <a:extLst>
              <a:ext uri="{FF2B5EF4-FFF2-40B4-BE49-F238E27FC236}">
                <a16:creationId xmlns:a16="http://schemas.microsoft.com/office/drawing/2014/main" id="{168387CD-9146-42B0-B3CE-782A64C94CC3}"/>
              </a:ext>
            </a:extLst>
          </p:cNvPr>
          <p:cNvSpPr/>
          <p:nvPr/>
        </p:nvSpPr>
        <p:spPr>
          <a:xfrm>
            <a:off x="4233369" y="390396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91" name="Oval 190">
            <a:extLst>
              <a:ext uri="{FF2B5EF4-FFF2-40B4-BE49-F238E27FC236}">
                <a16:creationId xmlns:a16="http://schemas.microsoft.com/office/drawing/2014/main" id="{EC836651-DFED-4424-AC84-C244B30A8141}"/>
              </a:ext>
            </a:extLst>
          </p:cNvPr>
          <p:cNvSpPr/>
          <p:nvPr/>
        </p:nvSpPr>
        <p:spPr>
          <a:xfrm>
            <a:off x="4233369" y="410359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92" name="Oval 191">
            <a:extLst>
              <a:ext uri="{FF2B5EF4-FFF2-40B4-BE49-F238E27FC236}">
                <a16:creationId xmlns:a16="http://schemas.microsoft.com/office/drawing/2014/main" id="{0460F77F-4660-4DDF-8CD1-FAF821D35A7F}"/>
              </a:ext>
            </a:extLst>
          </p:cNvPr>
          <p:cNvSpPr/>
          <p:nvPr/>
        </p:nvSpPr>
        <p:spPr>
          <a:xfrm>
            <a:off x="4450134" y="3704331"/>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93" name="Oval 192">
            <a:extLst>
              <a:ext uri="{FF2B5EF4-FFF2-40B4-BE49-F238E27FC236}">
                <a16:creationId xmlns:a16="http://schemas.microsoft.com/office/drawing/2014/main" id="{A839E4B3-4657-4AEE-A401-F23F513BA13F}"/>
              </a:ext>
            </a:extLst>
          </p:cNvPr>
          <p:cNvSpPr/>
          <p:nvPr/>
        </p:nvSpPr>
        <p:spPr>
          <a:xfrm>
            <a:off x="4450134" y="390396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94" name="Oval 193">
            <a:extLst>
              <a:ext uri="{FF2B5EF4-FFF2-40B4-BE49-F238E27FC236}">
                <a16:creationId xmlns:a16="http://schemas.microsoft.com/office/drawing/2014/main" id="{CB33379B-B17E-413F-B246-5B028A9F8470}"/>
              </a:ext>
            </a:extLst>
          </p:cNvPr>
          <p:cNvSpPr/>
          <p:nvPr/>
        </p:nvSpPr>
        <p:spPr>
          <a:xfrm>
            <a:off x="4450134" y="410359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95" name="Oval 194">
            <a:extLst>
              <a:ext uri="{FF2B5EF4-FFF2-40B4-BE49-F238E27FC236}">
                <a16:creationId xmlns:a16="http://schemas.microsoft.com/office/drawing/2014/main" id="{BEF1A45C-FC9B-4567-B21A-A0C050384C93}"/>
              </a:ext>
            </a:extLst>
          </p:cNvPr>
          <p:cNvSpPr/>
          <p:nvPr/>
        </p:nvSpPr>
        <p:spPr>
          <a:xfrm>
            <a:off x="4666899" y="3704331"/>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96" name="Oval 195">
            <a:extLst>
              <a:ext uri="{FF2B5EF4-FFF2-40B4-BE49-F238E27FC236}">
                <a16:creationId xmlns:a16="http://schemas.microsoft.com/office/drawing/2014/main" id="{6295C544-FEBF-43F6-ABC2-0989D356E56E}"/>
              </a:ext>
            </a:extLst>
          </p:cNvPr>
          <p:cNvSpPr/>
          <p:nvPr/>
        </p:nvSpPr>
        <p:spPr>
          <a:xfrm>
            <a:off x="4666899" y="390396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97" name="Oval 196">
            <a:extLst>
              <a:ext uri="{FF2B5EF4-FFF2-40B4-BE49-F238E27FC236}">
                <a16:creationId xmlns:a16="http://schemas.microsoft.com/office/drawing/2014/main" id="{1BA132F1-620D-464A-8079-7948B596C48B}"/>
              </a:ext>
            </a:extLst>
          </p:cNvPr>
          <p:cNvSpPr/>
          <p:nvPr/>
        </p:nvSpPr>
        <p:spPr>
          <a:xfrm>
            <a:off x="4666899" y="410359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98" name="Oval 197">
            <a:extLst>
              <a:ext uri="{FF2B5EF4-FFF2-40B4-BE49-F238E27FC236}">
                <a16:creationId xmlns:a16="http://schemas.microsoft.com/office/drawing/2014/main" id="{10DF7497-F108-4A03-9BE7-83F698329B0A}"/>
              </a:ext>
            </a:extLst>
          </p:cNvPr>
          <p:cNvSpPr/>
          <p:nvPr/>
        </p:nvSpPr>
        <p:spPr>
          <a:xfrm>
            <a:off x="4883664" y="3704331"/>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99" name="Oval 198">
            <a:extLst>
              <a:ext uri="{FF2B5EF4-FFF2-40B4-BE49-F238E27FC236}">
                <a16:creationId xmlns:a16="http://schemas.microsoft.com/office/drawing/2014/main" id="{47FCA045-1F4D-4AC1-8490-E87DE12066EB}"/>
              </a:ext>
            </a:extLst>
          </p:cNvPr>
          <p:cNvSpPr/>
          <p:nvPr/>
        </p:nvSpPr>
        <p:spPr>
          <a:xfrm>
            <a:off x="4883664" y="390396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00" name="Oval 199">
            <a:extLst>
              <a:ext uri="{FF2B5EF4-FFF2-40B4-BE49-F238E27FC236}">
                <a16:creationId xmlns:a16="http://schemas.microsoft.com/office/drawing/2014/main" id="{A5290F77-97AB-4905-B8C5-6DFC69356997}"/>
              </a:ext>
            </a:extLst>
          </p:cNvPr>
          <p:cNvSpPr/>
          <p:nvPr/>
        </p:nvSpPr>
        <p:spPr>
          <a:xfrm>
            <a:off x="4883664" y="410359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01" name="Oval 200">
            <a:extLst>
              <a:ext uri="{FF2B5EF4-FFF2-40B4-BE49-F238E27FC236}">
                <a16:creationId xmlns:a16="http://schemas.microsoft.com/office/drawing/2014/main" id="{6C3E02D8-D617-466D-A1F6-03DB3FEB311D}"/>
              </a:ext>
            </a:extLst>
          </p:cNvPr>
          <p:cNvSpPr/>
          <p:nvPr/>
        </p:nvSpPr>
        <p:spPr>
          <a:xfrm>
            <a:off x="5100428" y="3704331"/>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02" name="Oval 201">
            <a:extLst>
              <a:ext uri="{FF2B5EF4-FFF2-40B4-BE49-F238E27FC236}">
                <a16:creationId xmlns:a16="http://schemas.microsoft.com/office/drawing/2014/main" id="{E0F3AA69-58C4-45F5-A2AB-828BE3C43B89}"/>
              </a:ext>
            </a:extLst>
          </p:cNvPr>
          <p:cNvSpPr/>
          <p:nvPr/>
        </p:nvSpPr>
        <p:spPr>
          <a:xfrm>
            <a:off x="5100428" y="390396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03" name="Oval 202">
            <a:extLst>
              <a:ext uri="{FF2B5EF4-FFF2-40B4-BE49-F238E27FC236}">
                <a16:creationId xmlns:a16="http://schemas.microsoft.com/office/drawing/2014/main" id="{6479C313-A6FE-4595-B540-348AD7589F1E}"/>
              </a:ext>
            </a:extLst>
          </p:cNvPr>
          <p:cNvSpPr/>
          <p:nvPr/>
        </p:nvSpPr>
        <p:spPr>
          <a:xfrm>
            <a:off x="5100428" y="410359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04" name="Oval 203">
            <a:extLst>
              <a:ext uri="{FF2B5EF4-FFF2-40B4-BE49-F238E27FC236}">
                <a16:creationId xmlns:a16="http://schemas.microsoft.com/office/drawing/2014/main" id="{86EE4CDC-4A7D-45A0-B9C8-01A64B447425}"/>
              </a:ext>
            </a:extLst>
          </p:cNvPr>
          <p:cNvSpPr/>
          <p:nvPr/>
        </p:nvSpPr>
        <p:spPr>
          <a:xfrm>
            <a:off x="5317193" y="3903962"/>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05" name="Oval 204">
            <a:extLst>
              <a:ext uri="{FF2B5EF4-FFF2-40B4-BE49-F238E27FC236}">
                <a16:creationId xmlns:a16="http://schemas.microsoft.com/office/drawing/2014/main" id="{8D6B09B6-B6A9-4D5A-B6E8-70A5B3B1CBDB}"/>
              </a:ext>
            </a:extLst>
          </p:cNvPr>
          <p:cNvSpPr/>
          <p:nvPr/>
        </p:nvSpPr>
        <p:spPr>
          <a:xfrm>
            <a:off x="5598756" y="3481403"/>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06" name="Oval 205">
            <a:extLst>
              <a:ext uri="{FF2B5EF4-FFF2-40B4-BE49-F238E27FC236}">
                <a16:creationId xmlns:a16="http://schemas.microsoft.com/office/drawing/2014/main" id="{A3A437D8-E449-4643-B03A-66D1816BC582}"/>
              </a:ext>
            </a:extLst>
          </p:cNvPr>
          <p:cNvSpPr/>
          <p:nvPr/>
        </p:nvSpPr>
        <p:spPr>
          <a:xfrm>
            <a:off x="6285088" y="3766590"/>
            <a:ext cx="118583" cy="118583"/>
          </a:xfrm>
          <a:prstGeom prst="ellipse">
            <a:avLst/>
          </a:prstGeom>
          <a:solidFill>
            <a:schemeClr val="accent4">
              <a:alpha val="56000"/>
            </a:schemeClr>
          </a:solidFill>
          <a:ln w="25400" cap="flat" cmpd="sng" algn="ctr">
            <a:noFill/>
            <a:prstDash val="soli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07" name="Oval 206">
            <a:extLst>
              <a:ext uri="{FF2B5EF4-FFF2-40B4-BE49-F238E27FC236}">
                <a16:creationId xmlns:a16="http://schemas.microsoft.com/office/drawing/2014/main" id="{3915A314-A812-449B-8F7A-A571E604CC18}"/>
              </a:ext>
            </a:extLst>
          </p:cNvPr>
          <p:cNvSpPr/>
          <p:nvPr/>
        </p:nvSpPr>
        <p:spPr>
          <a:xfrm>
            <a:off x="6889338" y="3483395"/>
            <a:ext cx="118583" cy="118583"/>
          </a:xfrm>
          <a:prstGeom prst="ellipse">
            <a:avLst/>
          </a:prstGeom>
          <a:solidFill>
            <a:schemeClr val="accent4">
              <a:alpha val="56000"/>
            </a:schemeClr>
          </a:solidFill>
          <a:ln w="25400" cap="flat" cmpd="sng" algn="ctr">
            <a:noFill/>
            <a:prstDash val="soli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08" name="Oval 207">
            <a:extLst>
              <a:ext uri="{FF2B5EF4-FFF2-40B4-BE49-F238E27FC236}">
                <a16:creationId xmlns:a16="http://schemas.microsoft.com/office/drawing/2014/main" id="{3C377C59-F41F-45CF-BD10-A222695D45A5}"/>
              </a:ext>
            </a:extLst>
          </p:cNvPr>
          <p:cNvSpPr/>
          <p:nvPr/>
        </p:nvSpPr>
        <p:spPr>
          <a:xfrm>
            <a:off x="5358350" y="4100478"/>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09" name="Oval 208">
            <a:extLst>
              <a:ext uri="{FF2B5EF4-FFF2-40B4-BE49-F238E27FC236}">
                <a16:creationId xmlns:a16="http://schemas.microsoft.com/office/drawing/2014/main" id="{A85CE092-8028-4373-8656-8D99B6CE411B}"/>
              </a:ext>
            </a:extLst>
          </p:cNvPr>
          <p:cNvSpPr/>
          <p:nvPr/>
        </p:nvSpPr>
        <p:spPr>
          <a:xfrm>
            <a:off x="5575115" y="4100478"/>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11" name="Freeform 20">
            <a:extLst>
              <a:ext uri="{FF2B5EF4-FFF2-40B4-BE49-F238E27FC236}">
                <a16:creationId xmlns:a16="http://schemas.microsoft.com/office/drawing/2014/main" id="{6372A4A7-39CC-4D6F-8A87-FD6699520543}"/>
              </a:ext>
            </a:extLst>
          </p:cNvPr>
          <p:cNvSpPr>
            <a:spLocks/>
          </p:cNvSpPr>
          <p:nvPr/>
        </p:nvSpPr>
        <p:spPr bwMode="auto">
          <a:xfrm>
            <a:off x="5666335" y="3960266"/>
            <a:ext cx="1548645" cy="119064"/>
          </a:xfrm>
          <a:custGeom>
            <a:avLst/>
            <a:gdLst>
              <a:gd name="T0" fmla="*/ 1902 w 2521"/>
              <a:gd name="T1" fmla="*/ 147 h 193"/>
              <a:gd name="T2" fmla="*/ 1782 w 2521"/>
              <a:gd name="T3" fmla="*/ 65 h 193"/>
              <a:gd name="T4" fmla="*/ 1668 w 2521"/>
              <a:gd name="T5" fmla="*/ 143 h 193"/>
              <a:gd name="T6" fmla="*/ 1562 w 2521"/>
              <a:gd name="T7" fmla="*/ 191 h 193"/>
              <a:gd name="T8" fmla="*/ 1419 w 2521"/>
              <a:gd name="T9" fmla="*/ 101 h 193"/>
              <a:gd name="T10" fmla="*/ 1342 w 2521"/>
              <a:gd name="T11" fmla="*/ 66 h 193"/>
              <a:gd name="T12" fmla="*/ 1229 w 2521"/>
              <a:gd name="T13" fmla="*/ 144 h 193"/>
              <a:gd name="T14" fmla="*/ 1018 w 2521"/>
              <a:gd name="T15" fmla="*/ 146 h 193"/>
              <a:gd name="T16" fmla="*/ 900 w 2521"/>
              <a:gd name="T17" fmla="*/ 66 h 193"/>
              <a:gd name="T18" fmla="*/ 789 w 2521"/>
              <a:gd name="T19" fmla="*/ 142 h 193"/>
              <a:gd name="T20" fmla="*/ 578 w 2521"/>
              <a:gd name="T21" fmla="*/ 146 h 193"/>
              <a:gd name="T22" fmla="*/ 459 w 2521"/>
              <a:gd name="T23" fmla="*/ 64 h 193"/>
              <a:gd name="T24" fmla="*/ 382 w 2521"/>
              <a:gd name="T25" fmla="*/ 99 h 193"/>
              <a:gd name="T26" fmla="*/ 238 w 2521"/>
              <a:gd name="T27" fmla="*/ 191 h 193"/>
              <a:gd name="T28" fmla="*/ 131 w 2521"/>
              <a:gd name="T29" fmla="*/ 142 h 193"/>
              <a:gd name="T30" fmla="*/ 14 w 2521"/>
              <a:gd name="T31" fmla="*/ 48 h 193"/>
              <a:gd name="T32" fmla="*/ 17 w 2521"/>
              <a:gd name="T33" fmla="*/ 20 h 193"/>
              <a:gd name="T34" fmla="*/ 152 w 2521"/>
              <a:gd name="T35" fmla="*/ 124 h 193"/>
              <a:gd name="T36" fmla="*/ 238 w 2521"/>
              <a:gd name="T37" fmla="*/ 163 h 193"/>
              <a:gd name="T38" fmla="*/ 361 w 2521"/>
              <a:gd name="T39" fmla="*/ 80 h 193"/>
              <a:gd name="T40" fmla="*/ 555 w 2521"/>
              <a:gd name="T41" fmla="*/ 79 h 193"/>
              <a:gd name="T42" fmla="*/ 684 w 2521"/>
              <a:gd name="T43" fmla="*/ 164 h 193"/>
              <a:gd name="T44" fmla="*/ 802 w 2521"/>
              <a:gd name="T45" fmla="*/ 84 h 193"/>
              <a:gd name="T46" fmla="*/ 998 w 2521"/>
              <a:gd name="T47" fmla="*/ 81 h 193"/>
              <a:gd name="T48" fmla="*/ 1124 w 2521"/>
              <a:gd name="T49" fmla="*/ 164 h 193"/>
              <a:gd name="T50" fmla="*/ 1244 w 2521"/>
              <a:gd name="T51" fmla="*/ 83 h 193"/>
              <a:gd name="T52" fmla="*/ 1342 w 2521"/>
              <a:gd name="T53" fmla="*/ 38 h 193"/>
              <a:gd name="T54" fmla="*/ 1477 w 2521"/>
              <a:gd name="T55" fmla="*/ 125 h 193"/>
              <a:gd name="T56" fmla="*/ 1562 w 2521"/>
              <a:gd name="T57" fmla="*/ 163 h 193"/>
              <a:gd name="T58" fmla="*/ 1684 w 2521"/>
              <a:gd name="T59" fmla="*/ 81 h 193"/>
              <a:gd name="T60" fmla="*/ 1783 w 2521"/>
              <a:gd name="T61" fmla="*/ 36 h 193"/>
              <a:gd name="T62" fmla="*/ 1923 w 2521"/>
              <a:gd name="T63" fmla="*/ 128 h 193"/>
              <a:gd name="T64" fmla="*/ 2091 w 2521"/>
              <a:gd name="T65" fmla="*/ 127 h 193"/>
              <a:gd name="T66" fmla="*/ 2321 w 2521"/>
              <a:gd name="T67" fmla="*/ 36 h 193"/>
              <a:gd name="T68" fmla="*/ 2517 w 2521"/>
              <a:gd name="T69" fmla="*/ 185 h 193"/>
              <a:gd name="T70" fmla="*/ 2305 w 2521"/>
              <a:gd name="T71" fmla="*/ 60 h 193"/>
              <a:gd name="T72" fmla="*/ 2112 w 2521"/>
              <a:gd name="T73" fmla="*/ 146 h 193"/>
              <a:gd name="T74" fmla="*/ 2006 w 2521"/>
              <a:gd name="T75"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21" h="193">
                <a:moveTo>
                  <a:pt x="2006" y="193"/>
                </a:moveTo>
                <a:cubicBezTo>
                  <a:pt x="1967" y="193"/>
                  <a:pt x="1929" y="177"/>
                  <a:pt x="1902" y="147"/>
                </a:cubicBezTo>
                <a:cubicBezTo>
                  <a:pt x="1858" y="98"/>
                  <a:pt x="1858" y="98"/>
                  <a:pt x="1858" y="98"/>
                </a:cubicBezTo>
                <a:cubicBezTo>
                  <a:pt x="1839" y="77"/>
                  <a:pt x="1811" y="64"/>
                  <a:pt x="1782" y="65"/>
                </a:cubicBezTo>
                <a:cubicBezTo>
                  <a:pt x="1752" y="65"/>
                  <a:pt x="1725" y="78"/>
                  <a:pt x="1706" y="100"/>
                </a:cubicBezTo>
                <a:cubicBezTo>
                  <a:pt x="1668" y="143"/>
                  <a:pt x="1668" y="143"/>
                  <a:pt x="1668" y="143"/>
                </a:cubicBezTo>
                <a:cubicBezTo>
                  <a:pt x="1642" y="174"/>
                  <a:pt x="1603" y="191"/>
                  <a:pt x="1562" y="191"/>
                </a:cubicBezTo>
                <a:cubicBezTo>
                  <a:pt x="1562" y="191"/>
                  <a:pt x="1562" y="191"/>
                  <a:pt x="1562" y="191"/>
                </a:cubicBezTo>
                <a:cubicBezTo>
                  <a:pt x="1521" y="191"/>
                  <a:pt x="1483" y="174"/>
                  <a:pt x="1456" y="143"/>
                </a:cubicBezTo>
                <a:cubicBezTo>
                  <a:pt x="1419" y="101"/>
                  <a:pt x="1419" y="101"/>
                  <a:pt x="1419" y="101"/>
                </a:cubicBezTo>
                <a:cubicBezTo>
                  <a:pt x="1400" y="79"/>
                  <a:pt x="1372" y="66"/>
                  <a:pt x="1342" y="66"/>
                </a:cubicBezTo>
                <a:cubicBezTo>
                  <a:pt x="1342" y="66"/>
                  <a:pt x="1342" y="66"/>
                  <a:pt x="1342" y="66"/>
                </a:cubicBezTo>
                <a:cubicBezTo>
                  <a:pt x="1313" y="66"/>
                  <a:pt x="1285" y="79"/>
                  <a:pt x="1265" y="101"/>
                </a:cubicBezTo>
                <a:cubicBezTo>
                  <a:pt x="1229" y="144"/>
                  <a:pt x="1229" y="144"/>
                  <a:pt x="1229" y="144"/>
                </a:cubicBezTo>
                <a:cubicBezTo>
                  <a:pt x="1203" y="174"/>
                  <a:pt x="1164" y="192"/>
                  <a:pt x="1124" y="192"/>
                </a:cubicBezTo>
                <a:cubicBezTo>
                  <a:pt x="1083" y="193"/>
                  <a:pt x="1045" y="176"/>
                  <a:pt x="1018" y="146"/>
                </a:cubicBezTo>
                <a:cubicBezTo>
                  <a:pt x="977" y="100"/>
                  <a:pt x="977" y="100"/>
                  <a:pt x="977" y="100"/>
                </a:cubicBezTo>
                <a:cubicBezTo>
                  <a:pt x="957" y="78"/>
                  <a:pt x="929" y="65"/>
                  <a:pt x="900" y="66"/>
                </a:cubicBezTo>
                <a:cubicBezTo>
                  <a:pt x="870" y="66"/>
                  <a:pt x="842" y="79"/>
                  <a:pt x="823" y="102"/>
                </a:cubicBezTo>
                <a:cubicBezTo>
                  <a:pt x="789" y="142"/>
                  <a:pt x="789" y="142"/>
                  <a:pt x="789" y="142"/>
                </a:cubicBezTo>
                <a:cubicBezTo>
                  <a:pt x="763" y="173"/>
                  <a:pt x="725" y="191"/>
                  <a:pt x="684" y="192"/>
                </a:cubicBezTo>
                <a:cubicBezTo>
                  <a:pt x="644" y="192"/>
                  <a:pt x="605" y="176"/>
                  <a:pt x="578" y="146"/>
                </a:cubicBezTo>
                <a:cubicBezTo>
                  <a:pt x="534" y="97"/>
                  <a:pt x="534" y="97"/>
                  <a:pt x="534" y="97"/>
                </a:cubicBezTo>
                <a:cubicBezTo>
                  <a:pt x="515" y="76"/>
                  <a:pt x="487" y="64"/>
                  <a:pt x="459" y="64"/>
                </a:cubicBezTo>
                <a:cubicBezTo>
                  <a:pt x="458" y="64"/>
                  <a:pt x="458" y="64"/>
                  <a:pt x="458" y="64"/>
                </a:cubicBezTo>
                <a:cubicBezTo>
                  <a:pt x="429" y="64"/>
                  <a:pt x="401" y="77"/>
                  <a:pt x="382" y="99"/>
                </a:cubicBezTo>
                <a:cubicBezTo>
                  <a:pt x="343" y="143"/>
                  <a:pt x="343" y="143"/>
                  <a:pt x="343" y="143"/>
                </a:cubicBezTo>
                <a:cubicBezTo>
                  <a:pt x="317" y="173"/>
                  <a:pt x="278" y="191"/>
                  <a:pt x="238" y="191"/>
                </a:cubicBezTo>
                <a:cubicBezTo>
                  <a:pt x="237" y="191"/>
                  <a:pt x="237" y="191"/>
                  <a:pt x="237" y="191"/>
                </a:cubicBezTo>
                <a:cubicBezTo>
                  <a:pt x="196" y="191"/>
                  <a:pt x="158" y="173"/>
                  <a:pt x="131" y="142"/>
                </a:cubicBezTo>
                <a:cubicBezTo>
                  <a:pt x="80" y="83"/>
                  <a:pt x="80" y="83"/>
                  <a:pt x="80" y="83"/>
                </a:cubicBezTo>
                <a:cubicBezTo>
                  <a:pt x="63" y="63"/>
                  <a:pt x="40" y="51"/>
                  <a:pt x="14" y="48"/>
                </a:cubicBezTo>
                <a:cubicBezTo>
                  <a:pt x="6" y="47"/>
                  <a:pt x="0" y="40"/>
                  <a:pt x="1" y="33"/>
                </a:cubicBezTo>
                <a:cubicBezTo>
                  <a:pt x="2" y="25"/>
                  <a:pt x="9" y="19"/>
                  <a:pt x="17" y="20"/>
                </a:cubicBezTo>
                <a:cubicBezTo>
                  <a:pt x="50" y="24"/>
                  <a:pt x="80" y="39"/>
                  <a:pt x="102" y="65"/>
                </a:cubicBezTo>
                <a:cubicBezTo>
                  <a:pt x="152" y="124"/>
                  <a:pt x="152" y="124"/>
                  <a:pt x="152" y="124"/>
                </a:cubicBezTo>
                <a:cubicBezTo>
                  <a:pt x="173" y="148"/>
                  <a:pt x="204" y="163"/>
                  <a:pt x="237" y="163"/>
                </a:cubicBezTo>
                <a:cubicBezTo>
                  <a:pt x="237" y="163"/>
                  <a:pt x="237" y="163"/>
                  <a:pt x="238" y="163"/>
                </a:cubicBezTo>
                <a:cubicBezTo>
                  <a:pt x="270" y="163"/>
                  <a:pt x="301" y="149"/>
                  <a:pt x="322" y="124"/>
                </a:cubicBezTo>
                <a:cubicBezTo>
                  <a:pt x="361" y="80"/>
                  <a:pt x="361" y="80"/>
                  <a:pt x="361" y="80"/>
                </a:cubicBezTo>
                <a:cubicBezTo>
                  <a:pt x="385" y="52"/>
                  <a:pt x="421" y="36"/>
                  <a:pt x="458" y="36"/>
                </a:cubicBezTo>
                <a:cubicBezTo>
                  <a:pt x="495" y="36"/>
                  <a:pt x="530" y="51"/>
                  <a:pt x="555" y="79"/>
                </a:cubicBezTo>
                <a:cubicBezTo>
                  <a:pt x="598" y="127"/>
                  <a:pt x="598" y="127"/>
                  <a:pt x="598" y="127"/>
                </a:cubicBezTo>
                <a:cubicBezTo>
                  <a:pt x="620" y="151"/>
                  <a:pt x="651" y="164"/>
                  <a:pt x="684" y="164"/>
                </a:cubicBezTo>
                <a:cubicBezTo>
                  <a:pt x="716" y="163"/>
                  <a:pt x="747" y="149"/>
                  <a:pt x="768" y="124"/>
                </a:cubicBezTo>
                <a:cubicBezTo>
                  <a:pt x="802" y="84"/>
                  <a:pt x="802" y="84"/>
                  <a:pt x="802" y="84"/>
                </a:cubicBezTo>
                <a:cubicBezTo>
                  <a:pt x="826" y="55"/>
                  <a:pt x="862" y="38"/>
                  <a:pt x="899" y="38"/>
                </a:cubicBezTo>
                <a:cubicBezTo>
                  <a:pt x="937" y="37"/>
                  <a:pt x="973" y="53"/>
                  <a:pt x="998" y="81"/>
                </a:cubicBezTo>
                <a:cubicBezTo>
                  <a:pt x="1039" y="127"/>
                  <a:pt x="1039" y="127"/>
                  <a:pt x="1039" y="127"/>
                </a:cubicBezTo>
                <a:cubicBezTo>
                  <a:pt x="1060" y="151"/>
                  <a:pt x="1091" y="165"/>
                  <a:pt x="1124" y="164"/>
                </a:cubicBezTo>
                <a:cubicBezTo>
                  <a:pt x="1156" y="164"/>
                  <a:pt x="1187" y="150"/>
                  <a:pt x="1208" y="125"/>
                </a:cubicBezTo>
                <a:cubicBezTo>
                  <a:pt x="1244" y="83"/>
                  <a:pt x="1244" y="83"/>
                  <a:pt x="1244" y="83"/>
                </a:cubicBezTo>
                <a:cubicBezTo>
                  <a:pt x="1269" y="55"/>
                  <a:pt x="1304" y="38"/>
                  <a:pt x="1342" y="38"/>
                </a:cubicBezTo>
                <a:cubicBezTo>
                  <a:pt x="1342" y="38"/>
                  <a:pt x="1342" y="38"/>
                  <a:pt x="1342" y="38"/>
                </a:cubicBezTo>
                <a:cubicBezTo>
                  <a:pt x="1380" y="38"/>
                  <a:pt x="1415" y="54"/>
                  <a:pt x="1440" y="82"/>
                </a:cubicBezTo>
                <a:cubicBezTo>
                  <a:pt x="1477" y="125"/>
                  <a:pt x="1477" y="125"/>
                  <a:pt x="1477" y="125"/>
                </a:cubicBezTo>
                <a:cubicBezTo>
                  <a:pt x="1499" y="149"/>
                  <a:pt x="1529" y="163"/>
                  <a:pt x="1562" y="163"/>
                </a:cubicBezTo>
                <a:cubicBezTo>
                  <a:pt x="1562" y="163"/>
                  <a:pt x="1562" y="163"/>
                  <a:pt x="1562" y="163"/>
                </a:cubicBezTo>
                <a:cubicBezTo>
                  <a:pt x="1595" y="163"/>
                  <a:pt x="1626" y="149"/>
                  <a:pt x="1647" y="125"/>
                </a:cubicBezTo>
                <a:cubicBezTo>
                  <a:pt x="1684" y="81"/>
                  <a:pt x="1684" y="81"/>
                  <a:pt x="1684" y="81"/>
                </a:cubicBezTo>
                <a:cubicBezTo>
                  <a:pt x="1709" y="53"/>
                  <a:pt x="1744" y="37"/>
                  <a:pt x="1781" y="37"/>
                </a:cubicBezTo>
                <a:cubicBezTo>
                  <a:pt x="1782" y="36"/>
                  <a:pt x="1782" y="36"/>
                  <a:pt x="1783" y="36"/>
                </a:cubicBezTo>
                <a:cubicBezTo>
                  <a:pt x="1819" y="36"/>
                  <a:pt x="1854" y="52"/>
                  <a:pt x="1879" y="80"/>
                </a:cubicBezTo>
                <a:cubicBezTo>
                  <a:pt x="1923" y="128"/>
                  <a:pt x="1923" y="128"/>
                  <a:pt x="1923" y="128"/>
                </a:cubicBezTo>
                <a:cubicBezTo>
                  <a:pt x="1944" y="152"/>
                  <a:pt x="1975" y="166"/>
                  <a:pt x="2007" y="165"/>
                </a:cubicBezTo>
                <a:cubicBezTo>
                  <a:pt x="2039" y="165"/>
                  <a:pt x="2070" y="151"/>
                  <a:pt x="2091" y="127"/>
                </a:cubicBezTo>
                <a:cubicBezTo>
                  <a:pt x="2151" y="59"/>
                  <a:pt x="2151" y="59"/>
                  <a:pt x="2151" y="59"/>
                </a:cubicBezTo>
                <a:cubicBezTo>
                  <a:pt x="2194" y="10"/>
                  <a:pt x="2267" y="0"/>
                  <a:pt x="2321" y="36"/>
                </a:cubicBezTo>
                <a:cubicBezTo>
                  <a:pt x="2513" y="165"/>
                  <a:pt x="2513" y="165"/>
                  <a:pt x="2513" y="165"/>
                </a:cubicBezTo>
                <a:cubicBezTo>
                  <a:pt x="2519" y="170"/>
                  <a:pt x="2521" y="178"/>
                  <a:pt x="2517" y="185"/>
                </a:cubicBezTo>
                <a:cubicBezTo>
                  <a:pt x="2512" y="191"/>
                  <a:pt x="2504" y="193"/>
                  <a:pt x="2497" y="188"/>
                </a:cubicBezTo>
                <a:cubicBezTo>
                  <a:pt x="2305" y="60"/>
                  <a:pt x="2305" y="60"/>
                  <a:pt x="2305" y="60"/>
                </a:cubicBezTo>
                <a:cubicBezTo>
                  <a:pt x="2263" y="31"/>
                  <a:pt x="2206" y="39"/>
                  <a:pt x="2172" y="77"/>
                </a:cubicBezTo>
                <a:cubicBezTo>
                  <a:pt x="2112" y="146"/>
                  <a:pt x="2112" y="146"/>
                  <a:pt x="2112" y="146"/>
                </a:cubicBezTo>
                <a:cubicBezTo>
                  <a:pt x="2086" y="176"/>
                  <a:pt x="2047" y="193"/>
                  <a:pt x="2007" y="193"/>
                </a:cubicBezTo>
                <a:cubicBezTo>
                  <a:pt x="2007" y="193"/>
                  <a:pt x="2007" y="193"/>
                  <a:pt x="2006" y="19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212" name="Freeform 21">
            <a:extLst>
              <a:ext uri="{FF2B5EF4-FFF2-40B4-BE49-F238E27FC236}">
                <a16:creationId xmlns:a16="http://schemas.microsoft.com/office/drawing/2014/main" id="{04A1C109-B6F0-43CE-B87A-02A8C2649BCD}"/>
              </a:ext>
            </a:extLst>
          </p:cNvPr>
          <p:cNvSpPr>
            <a:spLocks/>
          </p:cNvSpPr>
          <p:nvPr/>
        </p:nvSpPr>
        <p:spPr bwMode="auto">
          <a:xfrm>
            <a:off x="5666335" y="3728709"/>
            <a:ext cx="1548645" cy="119064"/>
          </a:xfrm>
          <a:custGeom>
            <a:avLst/>
            <a:gdLst>
              <a:gd name="T0" fmla="*/ 1902 w 2521"/>
              <a:gd name="T1" fmla="*/ 146 h 193"/>
              <a:gd name="T2" fmla="*/ 1782 w 2521"/>
              <a:gd name="T3" fmla="*/ 64 h 193"/>
              <a:gd name="T4" fmla="*/ 1668 w 2521"/>
              <a:gd name="T5" fmla="*/ 142 h 193"/>
              <a:gd name="T6" fmla="*/ 1562 w 2521"/>
              <a:gd name="T7" fmla="*/ 191 h 193"/>
              <a:gd name="T8" fmla="*/ 1419 w 2521"/>
              <a:gd name="T9" fmla="*/ 100 h 193"/>
              <a:gd name="T10" fmla="*/ 1342 w 2521"/>
              <a:gd name="T11" fmla="*/ 66 h 193"/>
              <a:gd name="T12" fmla="*/ 1229 w 2521"/>
              <a:gd name="T13" fmla="*/ 143 h 193"/>
              <a:gd name="T14" fmla="*/ 1123 w 2521"/>
              <a:gd name="T15" fmla="*/ 192 h 193"/>
              <a:gd name="T16" fmla="*/ 977 w 2521"/>
              <a:gd name="T17" fmla="*/ 99 h 193"/>
              <a:gd name="T18" fmla="*/ 823 w 2521"/>
              <a:gd name="T19" fmla="*/ 101 h 193"/>
              <a:gd name="T20" fmla="*/ 684 w 2521"/>
              <a:gd name="T21" fmla="*/ 191 h 193"/>
              <a:gd name="T22" fmla="*/ 534 w 2521"/>
              <a:gd name="T23" fmla="*/ 97 h 193"/>
              <a:gd name="T24" fmla="*/ 458 w 2521"/>
              <a:gd name="T25" fmla="*/ 63 h 193"/>
              <a:gd name="T26" fmla="*/ 343 w 2521"/>
              <a:gd name="T27" fmla="*/ 142 h 193"/>
              <a:gd name="T28" fmla="*/ 131 w 2521"/>
              <a:gd name="T29" fmla="*/ 141 h 193"/>
              <a:gd name="T30" fmla="*/ 14 w 2521"/>
              <a:gd name="T31" fmla="*/ 47 h 193"/>
              <a:gd name="T32" fmla="*/ 17 w 2521"/>
              <a:gd name="T33" fmla="*/ 19 h 193"/>
              <a:gd name="T34" fmla="*/ 152 w 2521"/>
              <a:gd name="T35" fmla="*/ 123 h 193"/>
              <a:gd name="T36" fmla="*/ 322 w 2521"/>
              <a:gd name="T37" fmla="*/ 124 h 193"/>
              <a:gd name="T38" fmla="*/ 458 w 2521"/>
              <a:gd name="T39" fmla="*/ 35 h 193"/>
              <a:gd name="T40" fmla="*/ 598 w 2521"/>
              <a:gd name="T41" fmla="*/ 126 h 193"/>
              <a:gd name="T42" fmla="*/ 768 w 2521"/>
              <a:gd name="T43" fmla="*/ 123 h 193"/>
              <a:gd name="T44" fmla="*/ 899 w 2521"/>
              <a:gd name="T45" fmla="*/ 37 h 193"/>
              <a:gd name="T46" fmla="*/ 1039 w 2521"/>
              <a:gd name="T47" fmla="*/ 126 h 193"/>
              <a:gd name="T48" fmla="*/ 1208 w 2521"/>
              <a:gd name="T49" fmla="*/ 125 h 193"/>
              <a:gd name="T50" fmla="*/ 1342 w 2521"/>
              <a:gd name="T51" fmla="*/ 38 h 193"/>
              <a:gd name="T52" fmla="*/ 1440 w 2521"/>
              <a:gd name="T53" fmla="*/ 82 h 193"/>
              <a:gd name="T54" fmla="*/ 1562 w 2521"/>
              <a:gd name="T55" fmla="*/ 163 h 193"/>
              <a:gd name="T56" fmla="*/ 1647 w 2521"/>
              <a:gd name="T57" fmla="*/ 124 h 193"/>
              <a:gd name="T58" fmla="*/ 1781 w 2521"/>
              <a:gd name="T59" fmla="*/ 36 h 193"/>
              <a:gd name="T60" fmla="*/ 1923 w 2521"/>
              <a:gd name="T61" fmla="*/ 128 h 193"/>
              <a:gd name="T62" fmla="*/ 2091 w 2521"/>
              <a:gd name="T63" fmla="*/ 126 h 193"/>
              <a:gd name="T64" fmla="*/ 2321 w 2521"/>
              <a:gd name="T65" fmla="*/ 36 h 193"/>
              <a:gd name="T66" fmla="*/ 2517 w 2521"/>
              <a:gd name="T67" fmla="*/ 184 h 193"/>
              <a:gd name="T68" fmla="*/ 2305 w 2521"/>
              <a:gd name="T69" fmla="*/ 59 h 193"/>
              <a:gd name="T70" fmla="*/ 2112 w 2521"/>
              <a:gd name="T71" fmla="*/ 145 h 193"/>
              <a:gd name="T72" fmla="*/ 2006 w 2521"/>
              <a:gd name="T7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521" h="193">
                <a:moveTo>
                  <a:pt x="2006" y="193"/>
                </a:moveTo>
                <a:cubicBezTo>
                  <a:pt x="1967" y="193"/>
                  <a:pt x="1929" y="176"/>
                  <a:pt x="1902" y="146"/>
                </a:cubicBezTo>
                <a:cubicBezTo>
                  <a:pt x="1858" y="98"/>
                  <a:pt x="1858" y="98"/>
                  <a:pt x="1858" y="98"/>
                </a:cubicBezTo>
                <a:cubicBezTo>
                  <a:pt x="1839" y="76"/>
                  <a:pt x="1811" y="64"/>
                  <a:pt x="1782" y="64"/>
                </a:cubicBezTo>
                <a:cubicBezTo>
                  <a:pt x="1752" y="64"/>
                  <a:pt x="1725" y="77"/>
                  <a:pt x="1706" y="99"/>
                </a:cubicBezTo>
                <a:cubicBezTo>
                  <a:pt x="1668" y="142"/>
                  <a:pt x="1668" y="142"/>
                  <a:pt x="1668" y="142"/>
                </a:cubicBezTo>
                <a:cubicBezTo>
                  <a:pt x="1642" y="173"/>
                  <a:pt x="1603" y="191"/>
                  <a:pt x="1562" y="191"/>
                </a:cubicBezTo>
                <a:cubicBezTo>
                  <a:pt x="1562" y="191"/>
                  <a:pt x="1562" y="191"/>
                  <a:pt x="1562" y="191"/>
                </a:cubicBezTo>
                <a:cubicBezTo>
                  <a:pt x="1521" y="191"/>
                  <a:pt x="1483" y="173"/>
                  <a:pt x="1456" y="143"/>
                </a:cubicBezTo>
                <a:cubicBezTo>
                  <a:pt x="1419" y="100"/>
                  <a:pt x="1419" y="100"/>
                  <a:pt x="1419" y="100"/>
                </a:cubicBezTo>
                <a:cubicBezTo>
                  <a:pt x="1400" y="78"/>
                  <a:pt x="1372" y="66"/>
                  <a:pt x="1342" y="66"/>
                </a:cubicBezTo>
                <a:cubicBezTo>
                  <a:pt x="1342" y="66"/>
                  <a:pt x="1342" y="66"/>
                  <a:pt x="1342" y="66"/>
                </a:cubicBezTo>
                <a:cubicBezTo>
                  <a:pt x="1313" y="66"/>
                  <a:pt x="1285" y="79"/>
                  <a:pt x="1265" y="101"/>
                </a:cubicBezTo>
                <a:cubicBezTo>
                  <a:pt x="1229" y="143"/>
                  <a:pt x="1229" y="143"/>
                  <a:pt x="1229" y="143"/>
                </a:cubicBezTo>
                <a:cubicBezTo>
                  <a:pt x="1203" y="174"/>
                  <a:pt x="1164" y="191"/>
                  <a:pt x="1124" y="192"/>
                </a:cubicBezTo>
                <a:cubicBezTo>
                  <a:pt x="1123" y="192"/>
                  <a:pt x="1123" y="192"/>
                  <a:pt x="1123" y="192"/>
                </a:cubicBezTo>
                <a:cubicBezTo>
                  <a:pt x="1083" y="192"/>
                  <a:pt x="1045" y="175"/>
                  <a:pt x="1018" y="145"/>
                </a:cubicBezTo>
                <a:cubicBezTo>
                  <a:pt x="977" y="99"/>
                  <a:pt x="977" y="99"/>
                  <a:pt x="977" y="99"/>
                </a:cubicBezTo>
                <a:cubicBezTo>
                  <a:pt x="957" y="77"/>
                  <a:pt x="929" y="65"/>
                  <a:pt x="900" y="65"/>
                </a:cubicBezTo>
                <a:cubicBezTo>
                  <a:pt x="870" y="66"/>
                  <a:pt x="842" y="79"/>
                  <a:pt x="823" y="101"/>
                </a:cubicBezTo>
                <a:cubicBezTo>
                  <a:pt x="789" y="141"/>
                  <a:pt x="789" y="141"/>
                  <a:pt x="789" y="141"/>
                </a:cubicBezTo>
                <a:cubicBezTo>
                  <a:pt x="763" y="172"/>
                  <a:pt x="725" y="191"/>
                  <a:pt x="684" y="191"/>
                </a:cubicBezTo>
                <a:cubicBezTo>
                  <a:pt x="644" y="192"/>
                  <a:pt x="605" y="175"/>
                  <a:pt x="578" y="145"/>
                </a:cubicBezTo>
                <a:cubicBezTo>
                  <a:pt x="534" y="97"/>
                  <a:pt x="534" y="97"/>
                  <a:pt x="534" y="97"/>
                </a:cubicBezTo>
                <a:cubicBezTo>
                  <a:pt x="515" y="75"/>
                  <a:pt x="487" y="63"/>
                  <a:pt x="459" y="63"/>
                </a:cubicBezTo>
                <a:cubicBezTo>
                  <a:pt x="458" y="63"/>
                  <a:pt x="458" y="63"/>
                  <a:pt x="458" y="63"/>
                </a:cubicBezTo>
                <a:cubicBezTo>
                  <a:pt x="429" y="63"/>
                  <a:pt x="401" y="76"/>
                  <a:pt x="382" y="98"/>
                </a:cubicBezTo>
                <a:cubicBezTo>
                  <a:pt x="343" y="142"/>
                  <a:pt x="343" y="142"/>
                  <a:pt x="343" y="142"/>
                </a:cubicBezTo>
                <a:cubicBezTo>
                  <a:pt x="317" y="173"/>
                  <a:pt x="278" y="190"/>
                  <a:pt x="237" y="190"/>
                </a:cubicBezTo>
                <a:cubicBezTo>
                  <a:pt x="196" y="190"/>
                  <a:pt x="158" y="172"/>
                  <a:pt x="131" y="141"/>
                </a:cubicBezTo>
                <a:cubicBezTo>
                  <a:pt x="80" y="82"/>
                  <a:pt x="80" y="82"/>
                  <a:pt x="80" y="82"/>
                </a:cubicBezTo>
                <a:cubicBezTo>
                  <a:pt x="63" y="62"/>
                  <a:pt x="40" y="50"/>
                  <a:pt x="14" y="47"/>
                </a:cubicBezTo>
                <a:cubicBezTo>
                  <a:pt x="6" y="47"/>
                  <a:pt x="0" y="40"/>
                  <a:pt x="1" y="32"/>
                </a:cubicBezTo>
                <a:cubicBezTo>
                  <a:pt x="2" y="24"/>
                  <a:pt x="9" y="19"/>
                  <a:pt x="17" y="19"/>
                </a:cubicBezTo>
                <a:cubicBezTo>
                  <a:pt x="50" y="23"/>
                  <a:pt x="80" y="39"/>
                  <a:pt x="102" y="64"/>
                </a:cubicBezTo>
                <a:cubicBezTo>
                  <a:pt x="152" y="123"/>
                  <a:pt x="152" y="123"/>
                  <a:pt x="152" y="123"/>
                </a:cubicBezTo>
                <a:cubicBezTo>
                  <a:pt x="173" y="148"/>
                  <a:pt x="204" y="162"/>
                  <a:pt x="237" y="162"/>
                </a:cubicBezTo>
                <a:cubicBezTo>
                  <a:pt x="270" y="162"/>
                  <a:pt x="301" y="148"/>
                  <a:pt x="322" y="124"/>
                </a:cubicBezTo>
                <a:cubicBezTo>
                  <a:pt x="361" y="80"/>
                  <a:pt x="361" y="80"/>
                  <a:pt x="361" y="80"/>
                </a:cubicBezTo>
                <a:cubicBezTo>
                  <a:pt x="385" y="52"/>
                  <a:pt x="421" y="36"/>
                  <a:pt x="458" y="35"/>
                </a:cubicBezTo>
                <a:cubicBezTo>
                  <a:pt x="495" y="35"/>
                  <a:pt x="530" y="51"/>
                  <a:pt x="555" y="78"/>
                </a:cubicBezTo>
                <a:cubicBezTo>
                  <a:pt x="598" y="126"/>
                  <a:pt x="598" y="126"/>
                  <a:pt x="598" y="126"/>
                </a:cubicBezTo>
                <a:cubicBezTo>
                  <a:pt x="620" y="150"/>
                  <a:pt x="651" y="164"/>
                  <a:pt x="684" y="163"/>
                </a:cubicBezTo>
                <a:cubicBezTo>
                  <a:pt x="716" y="163"/>
                  <a:pt x="747" y="148"/>
                  <a:pt x="768" y="123"/>
                </a:cubicBezTo>
                <a:cubicBezTo>
                  <a:pt x="802" y="83"/>
                  <a:pt x="802" y="83"/>
                  <a:pt x="802" y="83"/>
                </a:cubicBezTo>
                <a:cubicBezTo>
                  <a:pt x="826" y="55"/>
                  <a:pt x="862" y="38"/>
                  <a:pt x="899" y="37"/>
                </a:cubicBezTo>
                <a:cubicBezTo>
                  <a:pt x="937" y="37"/>
                  <a:pt x="973" y="52"/>
                  <a:pt x="998" y="80"/>
                </a:cubicBezTo>
                <a:cubicBezTo>
                  <a:pt x="1039" y="126"/>
                  <a:pt x="1039" y="126"/>
                  <a:pt x="1039" y="126"/>
                </a:cubicBezTo>
                <a:cubicBezTo>
                  <a:pt x="1060" y="150"/>
                  <a:pt x="1091" y="164"/>
                  <a:pt x="1124" y="164"/>
                </a:cubicBezTo>
                <a:cubicBezTo>
                  <a:pt x="1156" y="163"/>
                  <a:pt x="1187" y="149"/>
                  <a:pt x="1208" y="125"/>
                </a:cubicBezTo>
                <a:cubicBezTo>
                  <a:pt x="1244" y="83"/>
                  <a:pt x="1244" y="83"/>
                  <a:pt x="1244" y="83"/>
                </a:cubicBezTo>
                <a:cubicBezTo>
                  <a:pt x="1269" y="54"/>
                  <a:pt x="1304" y="38"/>
                  <a:pt x="1342" y="38"/>
                </a:cubicBezTo>
                <a:cubicBezTo>
                  <a:pt x="1342" y="38"/>
                  <a:pt x="1342" y="38"/>
                  <a:pt x="1342" y="38"/>
                </a:cubicBezTo>
                <a:cubicBezTo>
                  <a:pt x="1380" y="38"/>
                  <a:pt x="1415" y="54"/>
                  <a:pt x="1440" y="82"/>
                </a:cubicBezTo>
                <a:cubicBezTo>
                  <a:pt x="1477" y="124"/>
                  <a:pt x="1477" y="124"/>
                  <a:pt x="1477" y="124"/>
                </a:cubicBezTo>
                <a:cubicBezTo>
                  <a:pt x="1499" y="149"/>
                  <a:pt x="1529" y="163"/>
                  <a:pt x="1562" y="163"/>
                </a:cubicBezTo>
                <a:cubicBezTo>
                  <a:pt x="1562" y="163"/>
                  <a:pt x="1562" y="163"/>
                  <a:pt x="1562" y="163"/>
                </a:cubicBezTo>
                <a:cubicBezTo>
                  <a:pt x="1595" y="163"/>
                  <a:pt x="1626" y="149"/>
                  <a:pt x="1647" y="124"/>
                </a:cubicBezTo>
                <a:cubicBezTo>
                  <a:pt x="1684" y="81"/>
                  <a:pt x="1684" y="81"/>
                  <a:pt x="1684" y="81"/>
                </a:cubicBezTo>
                <a:cubicBezTo>
                  <a:pt x="1709" y="53"/>
                  <a:pt x="1744" y="36"/>
                  <a:pt x="1781" y="36"/>
                </a:cubicBezTo>
                <a:cubicBezTo>
                  <a:pt x="1818" y="35"/>
                  <a:pt x="1854" y="51"/>
                  <a:pt x="1879" y="79"/>
                </a:cubicBezTo>
                <a:cubicBezTo>
                  <a:pt x="1923" y="128"/>
                  <a:pt x="1923" y="128"/>
                  <a:pt x="1923" y="128"/>
                </a:cubicBezTo>
                <a:cubicBezTo>
                  <a:pt x="1944" y="151"/>
                  <a:pt x="1975" y="165"/>
                  <a:pt x="2007" y="165"/>
                </a:cubicBezTo>
                <a:cubicBezTo>
                  <a:pt x="2039" y="165"/>
                  <a:pt x="2070" y="151"/>
                  <a:pt x="2091" y="126"/>
                </a:cubicBezTo>
                <a:cubicBezTo>
                  <a:pt x="2151" y="58"/>
                  <a:pt x="2151" y="58"/>
                  <a:pt x="2151" y="58"/>
                </a:cubicBezTo>
                <a:cubicBezTo>
                  <a:pt x="2194" y="9"/>
                  <a:pt x="2267" y="0"/>
                  <a:pt x="2321" y="36"/>
                </a:cubicBezTo>
                <a:cubicBezTo>
                  <a:pt x="2513" y="165"/>
                  <a:pt x="2513" y="165"/>
                  <a:pt x="2513" y="165"/>
                </a:cubicBezTo>
                <a:cubicBezTo>
                  <a:pt x="2519" y="169"/>
                  <a:pt x="2521" y="178"/>
                  <a:pt x="2517" y="184"/>
                </a:cubicBezTo>
                <a:cubicBezTo>
                  <a:pt x="2512" y="190"/>
                  <a:pt x="2504" y="192"/>
                  <a:pt x="2497" y="188"/>
                </a:cubicBezTo>
                <a:cubicBezTo>
                  <a:pt x="2305" y="59"/>
                  <a:pt x="2305" y="59"/>
                  <a:pt x="2305" y="59"/>
                </a:cubicBezTo>
                <a:cubicBezTo>
                  <a:pt x="2263" y="31"/>
                  <a:pt x="2206" y="38"/>
                  <a:pt x="2172" y="76"/>
                </a:cubicBezTo>
                <a:cubicBezTo>
                  <a:pt x="2112" y="145"/>
                  <a:pt x="2112" y="145"/>
                  <a:pt x="2112" y="145"/>
                </a:cubicBezTo>
                <a:cubicBezTo>
                  <a:pt x="2086" y="175"/>
                  <a:pt x="2047" y="193"/>
                  <a:pt x="2007" y="193"/>
                </a:cubicBezTo>
                <a:cubicBezTo>
                  <a:pt x="2007" y="193"/>
                  <a:pt x="2007" y="193"/>
                  <a:pt x="2006" y="19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213" name="Freeform 22">
            <a:extLst>
              <a:ext uri="{FF2B5EF4-FFF2-40B4-BE49-F238E27FC236}">
                <a16:creationId xmlns:a16="http://schemas.microsoft.com/office/drawing/2014/main" id="{C74EBD36-A015-4453-B613-1845F6D1779E}"/>
              </a:ext>
            </a:extLst>
          </p:cNvPr>
          <p:cNvSpPr>
            <a:spLocks/>
          </p:cNvSpPr>
          <p:nvPr/>
        </p:nvSpPr>
        <p:spPr bwMode="auto">
          <a:xfrm>
            <a:off x="5666335" y="3482371"/>
            <a:ext cx="1548645" cy="119064"/>
          </a:xfrm>
          <a:custGeom>
            <a:avLst/>
            <a:gdLst>
              <a:gd name="T0" fmla="*/ 1902 w 2521"/>
              <a:gd name="T1" fmla="*/ 146 h 193"/>
              <a:gd name="T2" fmla="*/ 1782 w 2521"/>
              <a:gd name="T3" fmla="*/ 64 h 193"/>
              <a:gd name="T4" fmla="*/ 1668 w 2521"/>
              <a:gd name="T5" fmla="*/ 142 h 193"/>
              <a:gd name="T6" fmla="*/ 1562 w 2521"/>
              <a:gd name="T7" fmla="*/ 191 h 193"/>
              <a:gd name="T8" fmla="*/ 1419 w 2521"/>
              <a:gd name="T9" fmla="*/ 100 h 193"/>
              <a:gd name="T10" fmla="*/ 1342 w 2521"/>
              <a:gd name="T11" fmla="*/ 66 h 193"/>
              <a:gd name="T12" fmla="*/ 1229 w 2521"/>
              <a:gd name="T13" fmla="*/ 143 h 193"/>
              <a:gd name="T14" fmla="*/ 1123 w 2521"/>
              <a:gd name="T15" fmla="*/ 192 h 193"/>
              <a:gd name="T16" fmla="*/ 977 w 2521"/>
              <a:gd name="T17" fmla="*/ 99 h 193"/>
              <a:gd name="T18" fmla="*/ 823 w 2521"/>
              <a:gd name="T19" fmla="*/ 101 h 193"/>
              <a:gd name="T20" fmla="*/ 684 w 2521"/>
              <a:gd name="T21" fmla="*/ 191 h 193"/>
              <a:gd name="T22" fmla="*/ 534 w 2521"/>
              <a:gd name="T23" fmla="*/ 97 h 193"/>
              <a:gd name="T24" fmla="*/ 458 w 2521"/>
              <a:gd name="T25" fmla="*/ 63 h 193"/>
              <a:gd name="T26" fmla="*/ 343 w 2521"/>
              <a:gd name="T27" fmla="*/ 142 h 193"/>
              <a:gd name="T28" fmla="*/ 131 w 2521"/>
              <a:gd name="T29" fmla="*/ 141 h 193"/>
              <a:gd name="T30" fmla="*/ 14 w 2521"/>
              <a:gd name="T31" fmla="*/ 47 h 193"/>
              <a:gd name="T32" fmla="*/ 17 w 2521"/>
              <a:gd name="T33" fmla="*/ 19 h 193"/>
              <a:gd name="T34" fmla="*/ 152 w 2521"/>
              <a:gd name="T35" fmla="*/ 123 h 193"/>
              <a:gd name="T36" fmla="*/ 322 w 2521"/>
              <a:gd name="T37" fmla="*/ 124 h 193"/>
              <a:gd name="T38" fmla="*/ 458 w 2521"/>
              <a:gd name="T39" fmla="*/ 35 h 193"/>
              <a:gd name="T40" fmla="*/ 598 w 2521"/>
              <a:gd name="T41" fmla="*/ 126 h 193"/>
              <a:gd name="T42" fmla="*/ 768 w 2521"/>
              <a:gd name="T43" fmla="*/ 123 h 193"/>
              <a:gd name="T44" fmla="*/ 899 w 2521"/>
              <a:gd name="T45" fmla="*/ 37 h 193"/>
              <a:gd name="T46" fmla="*/ 1039 w 2521"/>
              <a:gd name="T47" fmla="*/ 126 h 193"/>
              <a:gd name="T48" fmla="*/ 1124 w 2521"/>
              <a:gd name="T49" fmla="*/ 164 h 193"/>
              <a:gd name="T50" fmla="*/ 1244 w 2521"/>
              <a:gd name="T51" fmla="*/ 83 h 193"/>
              <a:gd name="T52" fmla="*/ 1342 w 2521"/>
              <a:gd name="T53" fmla="*/ 38 h 193"/>
              <a:gd name="T54" fmla="*/ 1477 w 2521"/>
              <a:gd name="T55" fmla="*/ 124 h 193"/>
              <a:gd name="T56" fmla="*/ 1562 w 2521"/>
              <a:gd name="T57" fmla="*/ 163 h 193"/>
              <a:gd name="T58" fmla="*/ 1684 w 2521"/>
              <a:gd name="T59" fmla="*/ 81 h 193"/>
              <a:gd name="T60" fmla="*/ 1783 w 2521"/>
              <a:gd name="T61" fmla="*/ 36 h 193"/>
              <a:gd name="T62" fmla="*/ 1923 w 2521"/>
              <a:gd name="T63" fmla="*/ 128 h 193"/>
              <a:gd name="T64" fmla="*/ 2091 w 2521"/>
              <a:gd name="T65" fmla="*/ 126 h 193"/>
              <a:gd name="T66" fmla="*/ 2321 w 2521"/>
              <a:gd name="T67" fmla="*/ 36 h 193"/>
              <a:gd name="T68" fmla="*/ 2517 w 2521"/>
              <a:gd name="T69" fmla="*/ 184 h 193"/>
              <a:gd name="T70" fmla="*/ 2305 w 2521"/>
              <a:gd name="T71" fmla="*/ 59 h 193"/>
              <a:gd name="T72" fmla="*/ 2112 w 2521"/>
              <a:gd name="T73" fmla="*/ 145 h 193"/>
              <a:gd name="T74" fmla="*/ 2006 w 2521"/>
              <a:gd name="T75"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21" h="193">
                <a:moveTo>
                  <a:pt x="2006" y="193"/>
                </a:moveTo>
                <a:cubicBezTo>
                  <a:pt x="1967" y="193"/>
                  <a:pt x="1929" y="176"/>
                  <a:pt x="1902" y="146"/>
                </a:cubicBezTo>
                <a:cubicBezTo>
                  <a:pt x="1858" y="98"/>
                  <a:pt x="1858" y="98"/>
                  <a:pt x="1858" y="98"/>
                </a:cubicBezTo>
                <a:cubicBezTo>
                  <a:pt x="1839" y="76"/>
                  <a:pt x="1811" y="64"/>
                  <a:pt x="1782" y="64"/>
                </a:cubicBezTo>
                <a:cubicBezTo>
                  <a:pt x="1752" y="64"/>
                  <a:pt x="1725" y="77"/>
                  <a:pt x="1706" y="99"/>
                </a:cubicBezTo>
                <a:cubicBezTo>
                  <a:pt x="1668" y="142"/>
                  <a:pt x="1668" y="142"/>
                  <a:pt x="1668" y="142"/>
                </a:cubicBezTo>
                <a:cubicBezTo>
                  <a:pt x="1642" y="173"/>
                  <a:pt x="1603" y="191"/>
                  <a:pt x="1562" y="191"/>
                </a:cubicBezTo>
                <a:cubicBezTo>
                  <a:pt x="1562" y="191"/>
                  <a:pt x="1562" y="191"/>
                  <a:pt x="1562" y="191"/>
                </a:cubicBezTo>
                <a:cubicBezTo>
                  <a:pt x="1521" y="191"/>
                  <a:pt x="1483" y="173"/>
                  <a:pt x="1456" y="143"/>
                </a:cubicBezTo>
                <a:cubicBezTo>
                  <a:pt x="1419" y="100"/>
                  <a:pt x="1419" y="100"/>
                  <a:pt x="1419" y="100"/>
                </a:cubicBezTo>
                <a:cubicBezTo>
                  <a:pt x="1400" y="78"/>
                  <a:pt x="1372" y="66"/>
                  <a:pt x="1342" y="66"/>
                </a:cubicBezTo>
                <a:cubicBezTo>
                  <a:pt x="1342" y="66"/>
                  <a:pt x="1342" y="66"/>
                  <a:pt x="1342" y="66"/>
                </a:cubicBezTo>
                <a:cubicBezTo>
                  <a:pt x="1313" y="66"/>
                  <a:pt x="1285" y="79"/>
                  <a:pt x="1265" y="101"/>
                </a:cubicBezTo>
                <a:cubicBezTo>
                  <a:pt x="1229" y="143"/>
                  <a:pt x="1229" y="143"/>
                  <a:pt x="1229" y="143"/>
                </a:cubicBezTo>
                <a:cubicBezTo>
                  <a:pt x="1203" y="174"/>
                  <a:pt x="1164" y="191"/>
                  <a:pt x="1124" y="192"/>
                </a:cubicBezTo>
                <a:cubicBezTo>
                  <a:pt x="1123" y="192"/>
                  <a:pt x="1123" y="192"/>
                  <a:pt x="1123" y="192"/>
                </a:cubicBezTo>
                <a:cubicBezTo>
                  <a:pt x="1083" y="192"/>
                  <a:pt x="1045" y="175"/>
                  <a:pt x="1018" y="145"/>
                </a:cubicBezTo>
                <a:cubicBezTo>
                  <a:pt x="977" y="99"/>
                  <a:pt x="977" y="99"/>
                  <a:pt x="977" y="99"/>
                </a:cubicBezTo>
                <a:cubicBezTo>
                  <a:pt x="957" y="77"/>
                  <a:pt x="929" y="65"/>
                  <a:pt x="900" y="65"/>
                </a:cubicBezTo>
                <a:cubicBezTo>
                  <a:pt x="870" y="66"/>
                  <a:pt x="842" y="79"/>
                  <a:pt x="823" y="101"/>
                </a:cubicBezTo>
                <a:cubicBezTo>
                  <a:pt x="789" y="141"/>
                  <a:pt x="789" y="141"/>
                  <a:pt x="789" y="141"/>
                </a:cubicBezTo>
                <a:cubicBezTo>
                  <a:pt x="763" y="172"/>
                  <a:pt x="725" y="191"/>
                  <a:pt x="684" y="191"/>
                </a:cubicBezTo>
                <a:cubicBezTo>
                  <a:pt x="644" y="192"/>
                  <a:pt x="605" y="175"/>
                  <a:pt x="578" y="145"/>
                </a:cubicBezTo>
                <a:cubicBezTo>
                  <a:pt x="534" y="97"/>
                  <a:pt x="534" y="97"/>
                  <a:pt x="534" y="97"/>
                </a:cubicBezTo>
                <a:cubicBezTo>
                  <a:pt x="515" y="75"/>
                  <a:pt x="487" y="63"/>
                  <a:pt x="459" y="63"/>
                </a:cubicBezTo>
                <a:cubicBezTo>
                  <a:pt x="458" y="63"/>
                  <a:pt x="458" y="63"/>
                  <a:pt x="458" y="63"/>
                </a:cubicBezTo>
                <a:cubicBezTo>
                  <a:pt x="429" y="63"/>
                  <a:pt x="401" y="76"/>
                  <a:pt x="382" y="98"/>
                </a:cubicBezTo>
                <a:cubicBezTo>
                  <a:pt x="343" y="142"/>
                  <a:pt x="343" y="142"/>
                  <a:pt x="343" y="142"/>
                </a:cubicBezTo>
                <a:cubicBezTo>
                  <a:pt x="317" y="173"/>
                  <a:pt x="278" y="190"/>
                  <a:pt x="237" y="190"/>
                </a:cubicBezTo>
                <a:cubicBezTo>
                  <a:pt x="196" y="190"/>
                  <a:pt x="158" y="172"/>
                  <a:pt x="131" y="141"/>
                </a:cubicBezTo>
                <a:cubicBezTo>
                  <a:pt x="80" y="82"/>
                  <a:pt x="80" y="82"/>
                  <a:pt x="80" y="82"/>
                </a:cubicBezTo>
                <a:cubicBezTo>
                  <a:pt x="63" y="62"/>
                  <a:pt x="40" y="50"/>
                  <a:pt x="14" y="47"/>
                </a:cubicBezTo>
                <a:cubicBezTo>
                  <a:pt x="6" y="47"/>
                  <a:pt x="0" y="40"/>
                  <a:pt x="1" y="32"/>
                </a:cubicBezTo>
                <a:cubicBezTo>
                  <a:pt x="2" y="24"/>
                  <a:pt x="9" y="19"/>
                  <a:pt x="17" y="19"/>
                </a:cubicBezTo>
                <a:cubicBezTo>
                  <a:pt x="50" y="23"/>
                  <a:pt x="80" y="39"/>
                  <a:pt x="102" y="64"/>
                </a:cubicBezTo>
                <a:cubicBezTo>
                  <a:pt x="152" y="123"/>
                  <a:pt x="152" y="123"/>
                  <a:pt x="152" y="123"/>
                </a:cubicBezTo>
                <a:cubicBezTo>
                  <a:pt x="173" y="148"/>
                  <a:pt x="204" y="162"/>
                  <a:pt x="237" y="162"/>
                </a:cubicBezTo>
                <a:cubicBezTo>
                  <a:pt x="270" y="163"/>
                  <a:pt x="301" y="148"/>
                  <a:pt x="322" y="124"/>
                </a:cubicBezTo>
                <a:cubicBezTo>
                  <a:pt x="361" y="80"/>
                  <a:pt x="361" y="80"/>
                  <a:pt x="361" y="80"/>
                </a:cubicBezTo>
                <a:cubicBezTo>
                  <a:pt x="385" y="52"/>
                  <a:pt x="421" y="36"/>
                  <a:pt x="458" y="35"/>
                </a:cubicBezTo>
                <a:cubicBezTo>
                  <a:pt x="495" y="35"/>
                  <a:pt x="530" y="51"/>
                  <a:pt x="555" y="78"/>
                </a:cubicBezTo>
                <a:cubicBezTo>
                  <a:pt x="598" y="126"/>
                  <a:pt x="598" y="126"/>
                  <a:pt x="598" y="126"/>
                </a:cubicBezTo>
                <a:cubicBezTo>
                  <a:pt x="620" y="150"/>
                  <a:pt x="651" y="164"/>
                  <a:pt x="684" y="163"/>
                </a:cubicBezTo>
                <a:cubicBezTo>
                  <a:pt x="716" y="163"/>
                  <a:pt x="747" y="148"/>
                  <a:pt x="768" y="123"/>
                </a:cubicBezTo>
                <a:cubicBezTo>
                  <a:pt x="802" y="83"/>
                  <a:pt x="802" y="83"/>
                  <a:pt x="802" y="83"/>
                </a:cubicBezTo>
                <a:cubicBezTo>
                  <a:pt x="826" y="55"/>
                  <a:pt x="862" y="38"/>
                  <a:pt x="899" y="37"/>
                </a:cubicBezTo>
                <a:cubicBezTo>
                  <a:pt x="937" y="37"/>
                  <a:pt x="973" y="52"/>
                  <a:pt x="998" y="80"/>
                </a:cubicBezTo>
                <a:cubicBezTo>
                  <a:pt x="1039" y="126"/>
                  <a:pt x="1039" y="126"/>
                  <a:pt x="1039" y="126"/>
                </a:cubicBezTo>
                <a:cubicBezTo>
                  <a:pt x="1060" y="150"/>
                  <a:pt x="1091" y="164"/>
                  <a:pt x="1123" y="164"/>
                </a:cubicBezTo>
                <a:cubicBezTo>
                  <a:pt x="1123" y="164"/>
                  <a:pt x="1123" y="164"/>
                  <a:pt x="1124" y="164"/>
                </a:cubicBezTo>
                <a:cubicBezTo>
                  <a:pt x="1156" y="163"/>
                  <a:pt x="1187" y="149"/>
                  <a:pt x="1208" y="125"/>
                </a:cubicBezTo>
                <a:cubicBezTo>
                  <a:pt x="1244" y="83"/>
                  <a:pt x="1244" y="83"/>
                  <a:pt x="1244" y="83"/>
                </a:cubicBezTo>
                <a:cubicBezTo>
                  <a:pt x="1269" y="54"/>
                  <a:pt x="1304" y="38"/>
                  <a:pt x="1342" y="38"/>
                </a:cubicBezTo>
                <a:cubicBezTo>
                  <a:pt x="1342" y="38"/>
                  <a:pt x="1342" y="38"/>
                  <a:pt x="1342" y="38"/>
                </a:cubicBezTo>
                <a:cubicBezTo>
                  <a:pt x="1380" y="38"/>
                  <a:pt x="1415" y="54"/>
                  <a:pt x="1440" y="82"/>
                </a:cubicBezTo>
                <a:cubicBezTo>
                  <a:pt x="1477" y="124"/>
                  <a:pt x="1477" y="124"/>
                  <a:pt x="1477" y="124"/>
                </a:cubicBezTo>
                <a:cubicBezTo>
                  <a:pt x="1499" y="149"/>
                  <a:pt x="1529" y="163"/>
                  <a:pt x="1562" y="163"/>
                </a:cubicBezTo>
                <a:cubicBezTo>
                  <a:pt x="1562" y="163"/>
                  <a:pt x="1562" y="163"/>
                  <a:pt x="1562" y="163"/>
                </a:cubicBezTo>
                <a:cubicBezTo>
                  <a:pt x="1595" y="163"/>
                  <a:pt x="1626" y="149"/>
                  <a:pt x="1647" y="124"/>
                </a:cubicBezTo>
                <a:cubicBezTo>
                  <a:pt x="1684" y="81"/>
                  <a:pt x="1684" y="81"/>
                  <a:pt x="1684" y="81"/>
                </a:cubicBezTo>
                <a:cubicBezTo>
                  <a:pt x="1709" y="53"/>
                  <a:pt x="1744" y="36"/>
                  <a:pt x="1781" y="36"/>
                </a:cubicBezTo>
                <a:cubicBezTo>
                  <a:pt x="1782" y="36"/>
                  <a:pt x="1782" y="36"/>
                  <a:pt x="1783" y="36"/>
                </a:cubicBezTo>
                <a:cubicBezTo>
                  <a:pt x="1819" y="36"/>
                  <a:pt x="1854" y="52"/>
                  <a:pt x="1879" y="79"/>
                </a:cubicBezTo>
                <a:cubicBezTo>
                  <a:pt x="1923" y="128"/>
                  <a:pt x="1923" y="128"/>
                  <a:pt x="1923" y="128"/>
                </a:cubicBezTo>
                <a:cubicBezTo>
                  <a:pt x="1944" y="151"/>
                  <a:pt x="1975" y="165"/>
                  <a:pt x="2007" y="165"/>
                </a:cubicBezTo>
                <a:cubicBezTo>
                  <a:pt x="2039" y="165"/>
                  <a:pt x="2070" y="151"/>
                  <a:pt x="2091" y="126"/>
                </a:cubicBezTo>
                <a:cubicBezTo>
                  <a:pt x="2151" y="58"/>
                  <a:pt x="2151" y="58"/>
                  <a:pt x="2151" y="58"/>
                </a:cubicBezTo>
                <a:cubicBezTo>
                  <a:pt x="2194" y="9"/>
                  <a:pt x="2267" y="0"/>
                  <a:pt x="2321" y="36"/>
                </a:cubicBezTo>
                <a:cubicBezTo>
                  <a:pt x="2513" y="165"/>
                  <a:pt x="2513" y="165"/>
                  <a:pt x="2513" y="165"/>
                </a:cubicBezTo>
                <a:cubicBezTo>
                  <a:pt x="2519" y="169"/>
                  <a:pt x="2521" y="178"/>
                  <a:pt x="2517" y="184"/>
                </a:cubicBezTo>
                <a:cubicBezTo>
                  <a:pt x="2512" y="190"/>
                  <a:pt x="2504" y="192"/>
                  <a:pt x="2497" y="188"/>
                </a:cubicBezTo>
                <a:cubicBezTo>
                  <a:pt x="2305" y="59"/>
                  <a:pt x="2305" y="59"/>
                  <a:pt x="2305" y="59"/>
                </a:cubicBezTo>
                <a:cubicBezTo>
                  <a:pt x="2263" y="31"/>
                  <a:pt x="2206" y="38"/>
                  <a:pt x="2172" y="76"/>
                </a:cubicBezTo>
                <a:cubicBezTo>
                  <a:pt x="2112" y="145"/>
                  <a:pt x="2112" y="145"/>
                  <a:pt x="2112" y="145"/>
                </a:cubicBezTo>
                <a:cubicBezTo>
                  <a:pt x="2086" y="175"/>
                  <a:pt x="2047" y="193"/>
                  <a:pt x="2007" y="193"/>
                </a:cubicBezTo>
                <a:cubicBezTo>
                  <a:pt x="2007" y="193"/>
                  <a:pt x="2007" y="193"/>
                  <a:pt x="2006" y="19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214" name="Oval 213">
            <a:extLst>
              <a:ext uri="{FF2B5EF4-FFF2-40B4-BE49-F238E27FC236}">
                <a16:creationId xmlns:a16="http://schemas.microsoft.com/office/drawing/2014/main" id="{CA935AF5-1973-4AA9-AD1A-F9356609A700}"/>
              </a:ext>
            </a:extLst>
          </p:cNvPr>
          <p:cNvSpPr/>
          <p:nvPr/>
        </p:nvSpPr>
        <p:spPr>
          <a:xfrm>
            <a:off x="5629725" y="3698748"/>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15" name="Oval 214">
            <a:extLst>
              <a:ext uri="{FF2B5EF4-FFF2-40B4-BE49-F238E27FC236}">
                <a16:creationId xmlns:a16="http://schemas.microsoft.com/office/drawing/2014/main" id="{63D061E8-DE42-42C9-A730-FC11E166935F}"/>
              </a:ext>
            </a:extLst>
          </p:cNvPr>
          <p:cNvSpPr/>
          <p:nvPr/>
        </p:nvSpPr>
        <p:spPr>
          <a:xfrm>
            <a:off x="5632643" y="3931346"/>
            <a:ext cx="118583" cy="118583"/>
          </a:xfrm>
          <a:prstGeom prst="ellipse">
            <a:avLst/>
          </a:prstGeom>
          <a:solidFill>
            <a:schemeClr val="accent4">
              <a:alpha val="56000"/>
            </a:scheme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05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98" name="Freeform: Shape 97">
            <a:extLst>
              <a:ext uri="{FF2B5EF4-FFF2-40B4-BE49-F238E27FC236}">
                <a16:creationId xmlns:a16="http://schemas.microsoft.com/office/drawing/2014/main" id="{E5F87437-DB3E-4013-8F49-54784FA71F79}"/>
              </a:ext>
            </a:extLst>
          </p:cNvPr>
          <p:cNvSpPr/>
          <p:nvPr/>
        </p:nvSpPr>
        <p:spPr>
          <a:xfrm rot="5400000">
            <a:off x="6033558" y="1029176"/>
            <a:ext cx="264555" cy="264548"/>
          </a:xfrm>
          <a:custGeom>
            <a:avLst/>
            <a:gdLst>
              <a:gd name="connsiteX0" fmla="*/ 213453 w 264555"/>
              <a:gd name="connsiteY0" fmla="*/ 264548 h 264548"/>
              <a:gd name="connsiteX1" fmla="*/ 51095 w 264555"/>
              <a:gd name="connsiteY1" fmla="*/ 264548 h 264548"/>
              <a:gd name="connsiteX2" fmla="*/ 0 w 264555"/>
              <a:gd name="connsiteY2" fmla="*/ 213453 h 264548"/>
              <a:gd name="connsiteX3" fmla="*/ 0 w 264555"/>
              <a:gd name="connsiteY3" fmla="*/ 51095 h 264548"/>
              <a:gd name="connsiteX4" fmla="*/ 51095 w 264555"/>
              <a:gd name="connsiteY4" fmla="*/ 0 h 264548"/>
              <a:gd name="connsiteX5" fmla="*/ 213453 w 264555"/>
              <a:gd name="connsiteY5" fmla="*/ 0 h 264548"/>
              <a:gd name="connsiteX6" fmla="*/ 264548 w 264555"/>
              <a:gd name="connsiteY6" fmla="*/ 51095 h 264548"/>
              <a:gd name="connsiteX7" fmla="*/ 264548 w 264555"/>
              <a:gd name="connsiteY7" fmla="*/ 213453 h 264548"/>
              <a:gd name="connsiteX8" fmla="*/ 213453 w 264555"/>
              <a:gd name="connsiteY8" fmla="*/ 264548 h 264548"/>
              <a:gd name="connsiteX9" fmla="*/ 51573 w 264555"/>
              <a:gd name="connsiteY9" fmla="*/ 10983 h 264548"/>
              <a:gd name="connsiteX10" fmla="*/ 11461 w 264555"/>
              <a:gd name="connsiteY10" fmla="*/ 51095 h 264548"/>
              <a:gd name="connsiteX11" fmla="*/ 11461 w 264555"/>
              <a:gd name="connsiteY11" fmla="*/ 213453 h 264548"/>
              <a:gd name="connsiteX12" fmla="*/ 51573 w 264555"/>
              <a:gd name="connsiteY12" fmla="*/ 253565 h 264548"/>
              <a:gd name="connsiteX13" fmla="*/ 213931 w 264555"/>
              <a:gd name="connsiteY13" fmla="*/ 253565 h 264548"/>
              <a:gd name="connsiteX14" fmla="*/ 254043 w 264555"/>
              <a:gd name="connsiteY14" fmla="*/ 213453 h 264548"/>
              <a:gd name="connsiteX15" fmla="*/ 254043 w 264555"/>
              <a:gd name="connsiteY15" fmla="*/ 51095 h 264548"/>
              <a:gd name="connsiteX16" fmla="*/ 213931 w 264555"/>
              <a:gd name="connsiteY16" fmla="*/ 10983 h 264548"/>
              <a:gd name="connsiteX17" fmla="*/ 51573 w 264555"/>
              <a:gd name="connsiteY17" fmla="*/ 10983 h 26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4555" h="264548">
                <a:moveTo>
                  <a:pt x="213453" y="264548"/>
                </a:moveTo>
                <a:lnTo>
                  <a:pt x="51095" y="264548"/>
                </a:lnTo>
                <a:cubicBezTo>
                  <a:pt x="22921" y="264548"/>
                  <a:pt x="0" y="241627"/>
                  <a:pt x="0" y="213453"/>
                </a:cubicBezTo>
                <a:lnTo>
                  <a:pt x="0" y="51095"/>
                </a:lnTo>
                <a:cubicBezTo>
                  <a:pt x="0" y="22921"/>
                  <a:pt x="22921" y="0"/>
                  <a:pt x="51095" y="0"/>
                </a:cubicBezTo>
                <a:lnTo>
                  <a:pt x="213453" y="0"/>
                </a:lnTo>
                <a:cubicBezTo>
                  <a:pt x="241627" y="0"/>
                  <a:pt x="264548" y="22921"/>
                  <a:pt x="264548" y="51095"/>
                </a:cubicBezTo>
                <a:lnTo>
                  <a:pt x="264548" y="213453"/>
                </a:lnTo>
                <a:cubicBezTo>
                  <a:pt x="265026" y="241627"/>
                  <a:pt x="241627" y="264548"/>
                  <a:pt x="213453" y="264548"/>
                </a:cubicBezTo>
                <a:close/>
                <a:moveTo>
                  <a:pt x="51573" y="10983"/>
                </a:moveTo>
                <a:cubicBezTo>
                  <a:pt x="29607" y="10983"/>
                  <a:pt x="11461" y="29129"/>
                  <a:pt x="11461" y="51095"/>
                </a:cubicBezTo>
                <a:lnTo>
                  <a:pt x="11461" y="213453"/>
                </a:lnTo>
                <a:cubicBezTo>
                  <a:pt x="11461" y="235419"/>
                  <a:pt x="29607" y="253565"/>
                  <a:pt x="51573" y="253565"/>
                </a:cubicBezTo>
                <a:lnTo>
                  <a:pt x="213931" y="253565"/>
                </a:lnTo>
                <a:cubicBezTo>
                  <a:pt x="235897" y="253565"/>
                  <a:pt x="254043" y="235419"/>
                  <a:pt x="254043" y="213453"/>
                </a:cubicBezTo>
                <a:lnTo>
                  <a:pt x="254043" y="51095"/>
                </a:lnTo>
                <a:cubicBezTo>
                  <a:pt x="254043" y="29129"/>
                  <a:pt x="235897" y="10983"/>
                  <a:pt x="213931" y="10983"/>
                </a:cubicBezTo>
                <a:lnTo>
                  <a:pt x="51573" y="10983"/>
                </a:lnTo>
                <a:close/>
              </a:path>
            </a:pathLst>
          </a:custGeom>
          <a:solidFill>
            <a:schemeClr val="bg2"/>
          </a:solidFill>
          <a:ln w="47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1" name="Freeform: Shape 100">
            <a:extLst>
              <a:ext uri="{FF2B5EF4-FFF2-40B4-BE49-F238E27FC236}">
                <a16:creationId xmlns:a16="http://schemas.microsoft.com/office/drawing/2014/main" id="{57EF4496-E20D-4ECD-BE97-2D0A4B5A6B64}"/>
              </a:ext>
            </a:extLst>
          </p:cNvPr>
          <p:cNvSpPr/>
          <p:nvPr/>
        </p:nvSpPr>
        <p:spPr>
          <a:xfrm rot="5400000">
            <a:off x="5636736" y="1029176"/>
            <a:ext cx="264555" cy="264548"/>
          </a:xfrm>
          <a:custGeom>
            <a:avLst/>
            <a:gdLst>
              <a:gd name="connsiteX0" fmla="*/ 213453 w 264555"/>
              <a:gd name="connsiteY0" fmla="*/ 264548 h 264548"/>
              <a:gd name="connsiteX1" fmla="*/ 51095 w 264555"/>
              <a:gd name="connsiteY1" fmla="*/ 264548 h 264548"/>
              <a:gd name="connsiteX2" fmla="*/ 0 w 264555"/>
              <a:gd name="connsiteY2" fmla="*/ 213453 h 264548"/>
              <a:gd name="connsiteX3" fmla="*/ 0 w 264555"/>
              <a:gd name="connsiteY3" fmla="*/ 51095 h 264548"/>
              <a:gd name="connsiteX4" fmla="*/ 51095 w 264555"/>
              <a:gd name="connsiteY4" fmla="*/ 0 h 264548"/>
              <a:gd name="connsiteX5" fmla="*/ 213453 w 264555"/>
              <a:gd name="connsiteY5" fmla="*/ 0 h 264548"/>
              <a:gd name="connsiteX6" fmla="*/ 264548 w 264555"/>
              <a:gd name="connsiteY6" fmla="*/ 51095 h 264548"/>
              <a:gd name="connsiteX7" fmla="*/ 264548 w 264555"/>
              <a:gd name="connsiteY7" fmla="*/ 213453 h 264548"/>
              <a:gd name="connsiteX8" fmla="*/ 213453 w 264555"/>
              <a:gd name="connsiteY8" fmla="*/ 264548 h 264548"/>
              <a:gd name="connsiteX9" fmla="*/ 51573 w 264555"/>
              <a:gd name="connsiteY9" fmla="*/ 10983 h 264548"/>
              <a:gd name="connsiteX10" fmla="*/ 11461 w 264555"/>
              <a:gd name="connsiteY10" fmla="*/ 51095 h 264548"/>
              <a:gd name="connsiteX11" fmla="*/ 11461 w 264555"/>
              <a:gd name="connsiteY11" fmla="*/ 213453 h 264548"/>
              <a:gd name="connsiteX12" fmla="*/ 51573 w 264555"/>
              <a:gd name="connsiteY12" fmla="*/ 253565 h 264548"/>
              <a:gd name="connsiteX13" fmla="*/ 213931 w 264555"/>
              <a:gd name="connsiteY13" fmla="*/ 253565 h 264548"/>
              <a:gd name="connsiteX14" fmla="*/ 254043 w 264555"/>
              <a:gd name="connsiteY14" fmla="*/ 213453 h 264548"/>
              <a:gd name="connsiteX15" fmla="*/ 254043 w 264555"/>
              <a:gd name="connsiteY15" fmla="*/ 51095 h 264548"/>
              <a:gd name="connsiteX16" fmla="*/ 213931 w 264555"/>
              <a:gd name="connsiteY16" fmla="*/ 10983 h 264548"/>
              <a:gd name="connsiteX17" fmla="*/ 51573 w 264555"/>
              <a:gd name="connsiteY17" fmla="*/ 10983 h 26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4555" h="264548">
                <a:moveTo>
                  <a:pt x="213453" y="264548"/>
                </a:moveTo>
                <a:lnTo>
                  <a:pt x="51095" y="264548"/>
                </a:lnTo>
                <a:cubicBezTo>
                  <a:pt x="22921" y="264548"/>
                  <a:pt x="0" y="241627"/>
                  <a:pt x="0" y="213453"/>
                </a:cubicBezTo>
                <a:lnTo>
                  <a:pt x="0" y="51095"/>
                </a:lnTo>
                <a:cubicBezTo>
                  <a:pt x="0" y="22921"/>
                  <a:pt x="22921" y="0"/>
                  <a:pt x="51095" y="0"/>
                </a:cubicBezTo>
                <a:lnTo>
                  <a:pt x="213453" y="0"/>
                </a:lnTo>
                <a:cubicBezTo>
                  <a:pt x="241627" y="0"/>
                  <a:pt x="264548" y="22921"/>
                  <a:pt x="264548" y="51095"/>
                </a:cubicBezTo>
                <a:lnTo>
                  <a:pt x="264548" y="213453"/>
                </a:lnTo>
                <a:cubicBezTo>
                  <a:pt x="265026" y="241627"/>
                  <a:pt x="241627" y="264548"/>
                  <a:pt x="213453" y="264548"/>
                </a:cubicBezTo>
                <a:close/>
                <a:moveTo>
                  <a:pt x="51573" y="10983"/>
                </a:moveTo>
                <a:cubicBezTo>
                  <a:pt x="29607" y="10983"/>
                  <a:pt x="11461" y="29129"/>
                  <a:pt x="11461" y="51095"/>
                </a:cubicBezTo>
                <a:lnTo>
                  <a:pt x="11461" y="213453"/>
                </a:lnTo>
                <a:cubicBezTo>
                  <a:pt x="11461" y="235419"/>
                  <a:pt x="29607" y="253565"/>
                  <a:pt x="51573" y="253565"/>
                </a:cubicBezTo>
                <a:lnTo>
                  <a:pt x="213931" y="253565"/>
                </a:lnTo>
                <a:cubicBezTo>
                  <a:pt x="235897" y="253565"/>
                  <a:pt x="254043" y="235419"/>
                  <a:pt x="254043" y="213453"/>
                </a:cubicBezTo>
                <a:lnTo>
                  <a:pt x="254043" y="51095"/>
                </a:lnTo>
                <a:cubicBezTo>
                  <a:pt x="254043" y="29129"/>
                  <a:pt x="235897" y="10983"/>
                  <a:pt x="213931" y="10983"/>
                </a:cubicBezTo>
                <a:lnTo>
                  <a:pt x="51573" y="10983"/>
                </a:lnTo>
                <a:close/>
              </a:path>
            </a:pathLst>
          </a:custGeom>
          <a:solidFill>
            <a:schemeClr val="bg2"/>
          </a:solidFill>
          <a:ln w="47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2" name="Freeform: Shape 101">
            <a:extLst>
              <a:ext uri="{FF2B5EF4-FFF2-40B4-BE49-F238E27FC236}">
                <a16:creationId xmlns:a16="http://schemas.microsoft.com/office/drawing/2014/main" id="{B6E05B4B-D085-4B9C-8DA4-38D1C4AE162B}"/>
              </a:ext>
            </a:extLst>
          </p:cNvPr>
          <p:cNvSpPr/>
          <p:nvPr/>
        </p:nvSpPr>
        <p:spPr>
          <a:xfrm rot="5400000">
            <a:off x="5636739" y="588894"/>
            <a:ext cx="264548" cy="264548"/>
          </a:xfrm>
          <a:custGeom>
            <a:avLst/>
            <a:gdLst>
              <a:gd name="connsiteX0" fmla="*/ 213453 w 264548"/>
              <a:gd name="connsiteY0" fmla="*/ 264548 h 264548"/>
              <a:gd name="connsiteX1" fmla="*/ 51095 w 264548"/>
              <a:gd name="connsiteY1" fmla="*/ 264548 h 264548"/>
              <a:gd name="connsiteX2" fmla="*/ 0 w 264548"/>
              <a:gd name="connsiteY2" fmla="*/ 213453 h 264548"/>
              <a:gd name="connsiteX3" fmla="*/ 0 w 264548"/>
              <a:gd name="connsiteY3" fmla="*/ 51095 h 264548"/>
              <a:gd name="connsiteX4" fmla="*/ 51095 w 264548"/>
              <a:gd name="connsiteY4" fmla="*/ 0 h 264548"/>
              <a:gd name="connsiteX5" fmla="*/ 213453 w 264548"/>
              <a:gd name="connsiteY5" fmla="*/ 0 h 264548"/>
              <a:gd name="connsiteX6" fmla="*/ 264549 w 264548"/>
              <a:gd name="connsiteY6" fmla="*/ 51095 h 264548"/>
              <a:gd name="connsiteX7" fmla="*/ 264549 w 264548"/>
              <a:gd name="connsiteY7" fmla="*/ 213453 h 264548"/>
              <a:gd name="connsiteX8" fmla="*/ 213453 w 264548"/>
              <a:gd name="connsiteY8" fmla="*/ 264548 h 264548"/>
              <a:gd name="connsiteX9" fmla="*/ 51095 w 264548"/>
              <a:gd name="connsiteY9" fmla="*/ 10983 h 264548"/>
              <a:gd name="connsiteX10" fmla="*/ 10983 w 264548"/>
              <a:gd name="connsiteY10" fmla="*/ 51095 h 264548"/>
              <a:gd name="connsiteX11" fmla="*/ 10983 w 264548"/>
              <a:gd name="connsiteY11" fmla="*/ 213453 h 264548"/>
              <a:gd name="connsiteX12" fmla="*/ 51095 w 264548"/>
              <a:gd name="connsiteY12" fmla="*/ 253565 h 264548"/>
              <a:gd name="connsiteX13" fmla="*/ 213453 w 264548"/>
              <a:gd name="connsiteY13" fmla="*/ 253565 h 264548"/>
              <a:gd name="connsiteX14" fmla="*/ 253566 w 264548"/>
              <a:gd name="connsiteY14" fmla="*/ 213453 h 264548"/>
              <a:gd name="connsiteX15" fmla="*/ 253566 w 264548"/>
              <a:gd name="connsiteY15" fmla="*/ 51095 h 264548"/>
              <a:gd name="connsiteX16" fmla="*/ 213453 w 264548"/>
              <a:gd name="connsiteY16" fmla="*/ 10983 h 264548"/>
              <a:gd name="connsiteX17" fmla="*/ 51095 w 264548"/>
              <a:gd name="connsiteY17" fmla="*/ 10983 h 26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4548" h="264548">
                <a:moveTo>
                  <a:pt x="213453" y="264548"/>
                </a:moveTo>
                <a:lnTo>
                  <a:pt x="51095" y="264548"/>
                </a:lnTo>
                <a:cubicBezTo>
                  <a:pt x="22921" y="264548"/>
                  <a:pt x="0" y="241627"/>
                  <a:pt x="0" y="213453"/>
                </a:cubicBezTo>
                <a:lnTo>
                  <a:pt x="0" y="51095"/>
                </a:lnTo>
                <a:cubicBezTo>
                  <a:pt x="0" y="22921"/>
                  <a:pt x="22921" y="0"/>
                  <a:pt x="51095" y="0"/>
                </a:cubicBezTo>
                <a:lnTo>
                  <a:pt x="213453" y="0"/>
                </a:lnTo>
                <a:cubicBezTo>
                  <a:pt x="241627" y="0"/>
                  <a:pt x="264549" y="22921"/>
                  <a:pt x="264549" y="51095"/>
                </a:cubicBezTo>
                <a:lnTo>
                  <a:pt x="264549" y="213453"/>
                </a:lnTo>
                <a:cubicBezTo>
                  <a:pt x="264549" y="241627"/>
                  <a:pt x="241627" y="264548"/>
                  <a:pt x="213453" y="264548"/>
                </a:cubicBezTo>
                <a:close/>
                <a:moveTo>
                  <a:pt x="51095" y="10983"/>
                </a:moveTo>
                <a:cubicBezTo>
                  <a:pt x="29129" y="10983"/>
                  <a:pt x="10983" y="29129"/>
                  <a:pt x="10983" y="51095"/>
                </a:cubicBezTo>
                <a:lnTo>
                  <a:pt x="10983" y="213453"/>
                </a:lnTo>
                <a:cubicBezTo>
                  <a:pt x="10983" y="235419"/>
                  <a:pt x="29129" y="253565"/>
                  <a:pt x="51095" y="253565"/>
                </a:cubicBezTo>
                <a:lnTo>
                  <a:pt x="213453" y="253565"/>
                </a:lnTo>
                <a:cubicBezTo>
                  <a:pt x="235420" y="253565"/>
                  <a:pt x="253566" y="235419"/>
                  <a:pt x="253566" y="213453"/>
                </a:cubicBezTo>
                <a:lnTo>
                  <a:pt x="253566" y="51095"/>
                </a:lnTo>
                <a:cubicBezTo>
                  <a:pt x="253566" y="29129"/>
                  <a:pt x="235420" y="10983"/>
                  <a:pt x="213453" y="10983"/>
                </a:cubicBezTo>
                <a:lnTo>
                  <a:pt x="51095" y="10983"/>
                </a:lnTo>
                <a:close/>
              </a:path>
            </a:pathLst>
          </a:custGeom>
          <a:solidFill>
            <a:schemeClr val="bg2"/>
          </a:solidFill>
          <a:ln w="47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pic>
        <p:nvPicPr>
          <p:cNvPr id="262" name="Picture 261" descr="A picture containing holding, racket, woman, man&#10;&#10;Description automatically generated">
            <a:extLst>
              <a:ext uri="{FF2B5EF4-FFF2-40B4-BE49-F238E27FC236}">
                <a16:creationId xmlns:a16="http://schemas.microsoft.com/office/drawing/2014/main" id="{B3B9937D-96E0-4447-BC98-AE49F122A046}"/>
              </a:ext>
            </a:extLst>
          </p:cNvPr>
          <p:cNvPicPr>
            <a:picLocks noChangeAspect="1"/>
          </p:cNvPicPr>
          <p:nvPr/>
        </p:nvPicPr>
        <p:blipFill rotWithShape="1">
          <a:blip r:embed="rId11" cstate="screen">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6805757" y="1334817"/>
            <a:ext cx="540477" cy="1178146"/>
          </a:xfrm>
          <a:custGeom>
            <a:avLst/>
            <a:gdLst>
              <a:gd name="connsiteX0" fmla="*/ 411328 w 540477"/>
              <a:gd name="connsiteY0" fmla="*/ 2366 h 1178146"/>
              <a:gd name="connsiteX1" fmla="*/ 540477 w 540477"/>
              <a:gd name="connsiteY1" fmla="*/ 106495 h 1178146"/>
              <a:gd name="connsiteX2" fmla="*/ 540477 w 540477"/>
              <a:gd name="connsiteY2" fmla="*/ 1071651 h 1178146"/>
              <a:gd name="connsiteX3" fmla="*/ 411229 w 540477"/>
              <a:gd name="connsiteY3" fmla="*/ 1175781 h 1178146"/>
              <a:gd name="connsiteX4" fmla="*/ 8365 w 540477"/>
              <a:gd name="connsiteY4" fmla="*/ 885996 h 1178146"/>
              <a:gd name="connsiteX5" fmla="*/ 0 w 540477"/>
              <a:gd name="connsiteY5" fmla="*/ 868276 h 1178146"/>
              <a:gd name="connsiteX6" fmla="*/ 0 w 540477"/>
              <a:gd name="connsiteY6" fmla="*/ 309946 h 1178146"/>
              <a:gd name="connsiteX7" fmla="*/ 8370 w 540477"/>
              <a:gd name="connsiteY7" fmla="*/ 292220 h 1178146"/>
              <a:gd name="connsiteX8" fmla="*/ 411328 w 540477"/>
              <a:gd name="connsiteY8" fmla="*/ 2366 h 117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0477" h="1178146">
                <a:moveTo>
                  <a:pt x="411328" y="2366"/>
                </a:moveTo>
                <a:cubicBezTo>
                  <a:pt x="477781" y="-11677"/>
                  <a:pt x="540477" y="38559"/>
                  <a:pt x="540477" y="106495"/>
                </a:cubicBezTo>
                <a:lnTo>
                  <a:pt x="540477" y="1071651"/>
                </a:lnTo>
                <a:cubicBezTo>
                  <a:pt x="540477" y="1139588"/>
                  <a:pt x="477781" y="1189823"/>
                  <a:pt x="411229" y="1175781"/>
                </a:cubicBezTo>
                <a:cubicBezTo>
                  <a:pt x="238729" y="1139501"/>
                  <a:pt x="93231" y="1031913"/>
                  <a:pt x="8365" y="885996"/>
                </a:cubicBezTo>
                <a:lnTo>
                  <a:pt x="0" y="868276"/>
                </a:lnTo>
                <a:lnTo>
                  <a:pt x="0" y="309946"/>
                </a:lnTo>
                <a:lnTo>
                  <a:pt x="8370" y="292220"/>
                </a:lnTo>
                <a:cubicBezTo>
                  <a:pt x="93244" y="146318"/>
                  <a:pt x="238766" y="38707"/>
                  <a:pt x="411328" y="2366"/>
                </a:cubicBezTo>
                <a:close/>
              </a:path>
            </a:pathLst>
          </a:custGeom>
        </p:spPr>
      </p:pic>
      <p:sp>
        <p:nvSpPr>
          <p:cNvPr id="224" name="Oval 223">
            <a:extLst>
              <a:ext uri="{FF2B5EF4-FFF2-40B4-BE49-F238E27FC236}">
                <a16:creationId xmlns:a16="http://schemas.microsoft.com/office/drawing/2014/main" id="{361B094D-85B5-4E6E-BB88-00A8F2F90716}"/>
              </a:ext>
            </a:extLst>
          </p:cNvPr>
          <p:cNvSpPr/>
          <p:nvPr/>
        </p:nvSpPr>
        <p:spPr>
          <a:xfrm rot="6261276">
            <a:off x="8310032" y="3152770"/>
            <a:ext cx="72019" cy="72019"/>
          </a:xfrm>
          <a:prstGeom prst="ellipse">
            <a:avLst/>
          </a:prstGeom>
          <a:no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Oval 224">
            <a:extLst>
              <a:ext uri="{FF2B5EF4-FFF2-40B4-BE49-F238E27FC236}">
                <a16:creationId xmlns:a16="http://schemas.microsoft.com/office/drawing/2014/main" id="{E1661D10-3240-49B2-A30B-2235A578631A}"/>
              </a:ext>
            </a:extLst>
          </p:cNvPr>
          <p:cNvSpPr/>
          <p:nvPr/>
        </p:nvSpPr>
        <p:spPr>
          <a:xfrm rot="6261276">
            <a:off x="8099307" y="3307416"/>
            <a:ext cx="72019" cy="72019"/>
          </a:xfrm>
          <a:prstGeom prst="ellipse">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Oval 225">
            <a:extLst>
              <a:ext uri="{FF2B5EF4-FFF2-40B4-BE49-F238E27FC236}">
                <a16:creationId xmlns:a16="http://schemas.microsoft.com/office/drawing/2014/main" id="{FED7CF31-3CA5-4BE7-A90E-838EF8892F06}"/>
              </a:ext>
            </a:extLst>
          </p:cNvPr>
          <p:cNvSpPr/>
          <p:nvPr/>
        </p:nvSpPr>
        <p:spPr>
          <a:xfrm rot="6261276">
            <a:off x="7934954" y="3044721"/>
            <a:ext cx="72019" cy="72019"/>
          </a:xfrm>
          <a:prstGeom prst="ellipse">
            <a:avLst/>
          </a:pr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Oval 226">
            <a:extLst>
              <a:ext uri="{FF2B5EF4-FFF2-40B4-BE49-F238E27FC236}">
                <a16:creationId xmlns:a16="http://schemas.microsoft.com/office/drawing/2014/main" id="{27B6A4E2-3365-4378-AD5F-86596C9E7880}"/>
              </a:ext>
            </a:extLst>
          </p:cNvPr>
          <p:cNvSpPr/>
          <p:nvPr/>
        </p:nvSpPr>
        <p:spPr>
          <a:xfrm rot="6261276">
            <a:off x="8118240" y="2838992"/>
            <a:ext cx="72019" cy="72019"/>
          </a:xfrm>
          <a:prstGeom prst="ellipse">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Oval 227">
            <a:extLst>
              <a:ext uri="{FF2B5EF4-FFF2-40B4-BE49-F238E27FC236}">
                <a16:creationId xmlns:a16="http://schemas.microsoft.com/office/drawing/2014/main" id="{4861BA36-46CE-494F-A7EC-CAF58EE7F30C}"/>
              </a:ext>
            </a:extLst>
          </p:cNvPr>
          <p:cNvSpPr/>
          <p:nvPr/>
        </p:nvSpPr>
        <p:spPr>
          <a:xfrm rot="6261276">
            <a:off x="8352900" y="2884901"/>
            <a:ext cx="72019" cy="72019"/>
          </a:xfrm>
          <a:prstGeom prst="ellipse">
            <a:avLst/>
          </a:prstGeom>
          <a:no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Oval 228">
            <a:extLst>
              <a:ext uri="{FF2B5EF4-FFF2-40B4-BE49-F238E27FC236}">
                <a16:creationId xmlns:a16="http://schemas.microsoft.com/office/drawing/2014/main" id="{C8F644FF-8F3D-4A8B-AA20-9EA35BD7E789}"/>
              </a:ext>
            </a:extLst>
          </p:cNvPr>
          <p:cNvSpPr/>
          <p:nvPr/>
        </p:nvSpPr>
        <p:spPr>
          <a:xfrm rot="6261276">
            <a:off x="7715648" y="3360387"/>
            <a:ext cx="72019" cy="72019"/>
          </a:xfrm>
          <a:prstGeom prst="ellipse">
            <a:avLst/>
          </a:prstGeom>
          <a:no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0" name="Oval 229">
            <a:extLst>
              <a:ext uri="{FF2B5EF4-FFF2-40B4-BE49-F238E27FC236}">
                <a16:creationId xmlns:a16="http://schemas.microsoft.com/office/drawing/2014/main" id="{C96399C7-2BD3-451E-BDB4-EF8877AAEA97}"/>
              </a:ext>
            </a:extLst>
          </p:cNvPr>
          <p:cNvSpPr/>
          <p:nvPr/>
        </p:nvSpPr>
        <p:spPr>
          <a:xfrm rot="6261276">
            <a:off x="7741761" y="2972554"/>
            <a:ext cx="72019" cy="72019"/>
          </a:xfrm>
          <a:prstGeom prst="ellipse">
            <a:avLst/>
          </a:pr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Oval 230">
            <a:extLst>
              <a:ext uri="{FF2B5EF4-FFF2-40B4-BE49-F238E27FC236}">
                <a16:creationId xmlns:a16="http://schemas.microsoft.com/office/drawing/2014/main" id="{F6604DE4-79A8-40BB-9DCF-9C0F806CD1B8}"/>
              </a:ext>
            </a:extLst>
          </p:cNvPr>
          <p:cNvSpPr/>
          <p:nvPr/>
        </p:nvSpPr>
        <p:spPr>
          <a:xfrm rot="6261276">
            <a:off x="7310769" y="3363430"/>
            <a:ext cx="72019" cy="72019"/>
          </a:xfrm>
          <a:prstGeom prst="ellipse">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Oval 245">
            <a:extLst>
              <a:ext uri="{FF2B5EF4-FFF2-40B4-BE49-F238E27FC236}">
                <a16:creationId xmlns:a16="http://schemas.microsoft.com/office/drawing/2014/main" id="{50CCCAA0-3A5C-4E4B-844E-6D4E13F5AF9B}"/>
              </a:ext>
            </a:extLst>
          </p:cNvPr>
          <p:cNvSpPr/>
          <p:nvPr/>
        </p:nvSpPr>
        <p:spPr>
          <a:xfrm rot="6261276">
            <a:off x="7330578" y="3854632"/>
            <a:ext cx="72019" cy="72019"/>
          </a:xfrm>
          <a:prstGeom prst="ellipse">
            <a:avLst/>
          </a:prstGeom>
          <a:no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Oval 246">
            <a:extLst>
              <a:ext uri="{FF2B5EF4-FFF2-40B4-BE49-F238E27FC236}">
                <a16:creationId xmlns:a16="http://schemas.microsoft.com/office/drawing/2014/main" id="{D5521D01-0F88-4351-90F7-4B55C30340E9}"/>
              </a:ext>
            </a:extLst>
          </p:cNvPr>
          <p:cNvSpPr/>
          <p:nvPr/>
        </p:nvSpPr>
        <p:spPr>
          <a:xfrm rot="6261276">
            <a:off x="7722866" y="3559373"/>
            <a:ext cx="72019" cy="72019"/>
          </a:xfrm>
          <a:prstGeom prst="ellipse">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Oval 247">
            <a:extLst>
              <a:ext uri="{FF2B5EF4-FFF2-40B4-BE49-F238E27FC236}">
                <a16:creationId xmlns:a16="http://schemas.microsoft.com/office/drawing/2014/main" id="{1D0EC6D5-3EB2-4C5F-B49B-CA073E6C9A88}"/>
              </a:ext>
            </a:extLst>
          </p:cNvPr>
          <p:cNvSpPr/>
          <p:nvPr/>
        </p:nvSpPr>
        <p:spPr>
          <a:xfrm rot="6261276">
            <a:off x="8119989" y="3698217"/>
            <a:ext cx="72019" cy="72019"/>
          </a:xfrm>
          <a:prstGeom prst="ellipse">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Isosceles Triangle 49">
            <a:extLst>
              <a:ext uri="{FF2B5EF4-FFF2-40B4-BE49-F238E27FC236}">
                <a16:creationId xmlns:a16="http://schemas.microsoft.com/office/drawing/2014/main" id="{5762C04A-152E-488C-B0F0-3F6E04FE7BDE}"/>
              </a:ext>
            </a:extLst>
          </p:cNvPr>
          <p:cNvSpPr>
            <a:spLocks/>
          </p:cNvSpPr>
          <p:nvPr/>
        </p:nvSpPr>
        <p:spPr>
          <a:xfrm rot="5400000">
            <a:off x="4671613" y="1178709"/>
            <a:ext cx="1397234" cy="1278067"/>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74BF4B">
              <a:alpha val="77000"/>
            </a:srgbClr>
          </a:solidFill>
          <a:ln w="25400" cap="flat" cmpd="sng" algn="ctr">
            <a:noFill/>
            <a:prstDash val="solid"/>
          </a:ln>
          <a:effectLst/>
        </p:spPr>
        <p:txBody>
          <a:bodyPr rtlCol="0" anchor="t"/>
          <a:lstStyle/>
          <a:p>
            <a:pPr defTabSz="914400" fontAlgn="auto">
              <a:spcBef>
                <a:spcPts val="0"/>
              </a:spcBef>
              <a:spcAft>
                <a:spcPts val="0"/>
              </a:spcAft>
            </a:pPr>
            <a:endParaRPr lang="en-US" sz="1050" kern="0">
              <a:solidFill>
                <a:srgbClr val="1E4471"/>
              </a:solidFill>
              <a:latin typeface="CiscoSansTT ExtraLight"/>
              <a:ea typeface="ＭＳ Ｐゴシック" charset="0"/>
            </a:endParaRPr>
          </a:p>
        </p:txBody>
      </p:sp>
      <p:pic>
        <p:nvPicPr>
          <p:cNvPr id="92" name="Picture 91" descr="A picture containing toy, plane, photo, black&#10;&#10;Description automatically generated">
            <a:extLst>
              <a:ext uri="{FF2B5EF4-FFF2-40B4-BE49-F238E27FC236}">
                <a16:creationId xmlns:a16="http://schemas.microsoft.com/office/drawing/2014/main" id="{72951ECD-C556-4919-8F4B-2B3B14CEA9C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724486" y="1174216"/>
            <a:ext cx="2027706" cy="1140585"/>
          </a:xfrm>
          <a:prstGeom prst="rect">
            <a:avLst/>
          </a:prstGeom>
        </p:spPr>
      </p:pic>
      <p:sp>
        <p:nvSpPr>
          <p:cNvPr id="103" name="Freeform: Shape 102">
            <a:extLst>
              <a:ext uri="{FF2B5EF4-FFF2-40B4-BE49-F238E27FC236}">
                <a16:creationId xmlns:a16="http://schemas.microsoft.com/office/drawing/2014/main" id="{EDDBE8CC-6D81-4C24-A7F5-09BD0D679FA5}"/>
              </a:ext>
            </a:extLst>
          </p:cNvPr>
          <p:cNvSpPr/>
          <p:nvPr/>
        </p:nvSpPr>
        <p:spPr>
          <a:xfrm rot="5400000">
            <a:off x="5238961" y="1443185"/>
            <a:ext cx="264548" cy="264548"/>
          </a:xfrm>
          <a:custGeom>
            <a:avLst/>
            <a:gdLst>
              <a:gd name="connsiteX0" fmla="*/ 213453 w 264548"/>
              <a:gd name="connsiteY0" fmla="*/ 264548 h 264548"/>
              <a:gd name="connsiteX1" fmla="*/ 51095 w 264548"/>
              <a:gd name="connsiteY1" fmla="*/ 264548 h 264548"/>
              <a:gd name="connsiteX2" fmla="*/ 0 w 264548"/>
              <a:gd name="connsiteY2" fmla="*/ 213453 h 264548"/>
              <a:gd name="connsiteX3" fmla="*/ 0 w 264548"/>
              <a:gd name="connsiteY3" fmla="*/ 51095 h 264548"/>
              <a:gd name="connsiteX4" fmla="*/ 51095 w 264548"/>
              <a:gd name="connsiteY4" fmla="*/ 0 h 264548"/>
              <a:gd name="connsiteX5" fmla="*/ 213453 w 264548"/>
              <a:gd name="connsiteY5" fmla="*/ 0 h 264548"/>
              <a:gd name="connsiteX6" fmla="*/ 264549 w 264548"/>
              <a:gd name="connsiteY6" fmla="*/ 51095 h 264548"/>
              <a:gd name="connsiteX7" fmla="*/ 264549 w 264548"/>
              <a:gd name="connsiteY7" fmla="*/ 213453 h 264548"/>
              <a:gd name="connsiteX8" fmla="*/ 213453 w 264548"/>
              <a:gd name="connsiteY8" fmla="*/ 264548 h 264548"/>
              <a:gd name="connsiteX9" fmla="*/ 51095 w 264548"/>
              <a:gd name="connsiteY9" fmla="*/ 10983 h 264548"/>
              <a:gd name="connsiteX10" fmla="*/ 10983 w 264548"/>
              <a:gd name="connsiteY10" fmla="*/ 51095 h 264548"/>
              <a:gd name="connsiteX11" fmla="*/ 10983 w 264548"/>
              <a:gd name="connsiteY11" fmla="*/ 213453 h 264548"/>
              <a:gd name="connsiteX12" fmla="*/ 51095 w 264548"/>
              <a:gd name="connsiteY12" fmla="*/ 253565 h 264548"/>
              <a:gd name="connsiteX13" fmla="*/ 213453 w 264548"/>
              <a:gd name="connsiteY13" fmla="*/ 253565 h 264548"/>
              <a:gd name="connsiteX14" fmla="*/ 253565 w 264548"/>
              <a:gd name="connsiteY14" fmla="*/ 213453 h 264548"/>
              <a:gd name="connsiteX15" fmla="*/ 253565 w 264548"/>
              <a:gd name="connsiteY15" fmla="*/ 51095 h 264548"/>
              <a:gd name="connsiteX16" fmla="*/ 213453 w 264548"/>
              <a:gd name="connsiteY16" fmla="*/ 10983 h 264548"/>
              <a:gd name="connsiteX17" fmla="*/ 51095 w 264548"/>
              <a:gd name="connsiteY17" fmla="*/ 10983 h 26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4548" h="264548">
                <a:moveTo>
                  <a:pt x="213453" y="264548"/>
                </a:moveTo>
                <a:lnTo>
                  <a:pt x="51095" y="264548"/>
                </a:lnTo>
                <a:cubicBezTo>
                  <a:pt x="22921" y="264548"/>
                  <a:pt x="0" y="241627"/>
                  <a:pt x="0" y="213453"/>
                </a:cubicBezTo>
                <a:lnTo>
                  <a:pt x="0" y="51095"/>
                </a:lnTo>
                <a:cubicBezTo>
                  <a:pt x="0" y="22921"/>
                  <a:pt x="22921" y="0"/>
                  <a:pt x="51095" y="0"/>
                </a:cubicBezTo>
                <a:lnTo>
                  <a:pt x="213453" y="0"/>
                </a:lnTo>
                <a:cubicBezTo>
                  <a:pt x="241627" y="0"/>
                  <a:pt x="264549" y="22921"/>
                  <a:pt x="264549" y="51095"/>
                </a:cubicBezTo>
                <a:lnTo>
                  <a:pt x="264549" y="213453"/>
                </a:lnTo>
                <a:cubicBezTo>
                  <a:pt x="264549" y="241627"/>
                  <a:pt x="241627" y="264548"/>
                  <a:pt x="213453" y="264548"/>
                </a:cubicBezTo>
                <a:close/>
                <a:moveTo>
                  <a:pt x="51095" y="10983"/>
                </a:moveTo>
                <a:cubicBezTo>
                  <a:pt x="29129" y="10983"/>
                  <a:pt x="10983" y="29129"/>
                  <a:pt x="10983" y="51095"/>
                </a:cubicBezTo>
                <a:lnTo>
                  <a:pt x="10983" y="213453"/>
                </a:lnTo>
                <a:cubicBezTo>
                  <a:pt x="10983" y="235419"/>
                  <a:pt x="29129" y="253565"/>
                  <a:pt x="51095" y="253565"/>
                </a:cubicBezTo>
                <a:lnTo>
                  <a:pt x="213453" y="253565"/>
                </a:lnTo>
                <a:cubicBezTo>
                  <a:pt x="235420" y="253565"/>
                  <a:pt x="253565" y="235419"/>
                  <a:pt x="253565" y="213453"/>
                </a:cubicBezTo>
                <a:lnTo>
                  <a:pt x="253565" y="51095"/>
                </a:lnTo>
                <a:cubicBezTo>
                  <a:pt x="253565" y="29129"/>
                  <a:pt x="235420" y="10983"/>
                  <a:pt x="213453" y="10983"/>
                </a:cubicBezTo>
                <a:lnTo>
                  <a:pt x="51095" y="10983"/>
                </a:lnTo>
                <a:close/>
              </a:path>
            </a:pathLst>
          </a:custGeom>
          <a:solidFill>
            <a:schemeClr val="bg2"/>
          </a:solidFill>
          <a:ln w="47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3" name="Oval 2">
            <a:extLst>
              <a:ext uri="{FF2B5EF4-FFF2-40B4-BE49-F238E27FC236}">
                <a16:creationId xmlns:a16="http://schemas.microsoft.com/office/drawing/2014/main" id="{1581340E-D5F9-495A-B64F-A0C5FD007D75}"/>
              </a:ext>
            </a:extLst>
          </p:cNvPr>
          <p:cNvSpPr/>
          <p:nvPr/>
        </p:nvSpPr>
        <p:spPr>
          <a:xfrm>
            <a:off x="4039537" y="908272"/>
            <a:ext cx="72019" cy="72019"/>
          </a:xfrm>
          <a:prstGeom prst="ellipse">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Oval 181">
            <a:extLst>
              <a:ext uri="{FF2B5EF4-FFF2-40B4-BE49-F238E27FC236}">
                <a16:creationId xmlns:a16="http://schemas.microsoft.com/office/drawing/2014/main" id="{C2E66F36-9E3B-421E-BD98-F94D45AB2D43}"/>
              </a:ext>
            </a:extLst>
          </p:cNvPr>
          <p:cNvSpPr/>
          <p:nvPr/>
        </p:nvSpPr>
        <p:spPr>
          <a:xfrm>
            <a:off x="4241599" y="1074078"/>
            <a:ext cx="72019" cy="72019"/>
          </a:xfrm>
          <a:prstGeom prst="ellipse">
            <a:avLst/>
          </a:prstGeom>
          <a:no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Oval 209">
            <a:extLst>
              <a:ext uri="{FF2B5EF4-FFF2-40B4-BE49-F238E27FC236}">
                <a16:creationId xmlns:a16="http://schemas.microsoft.com/office/drawing/2014/main" id="{48284A00-1B60-45BC-AB2D-AE9DF4DAEA3F}"/>
              </a:ext>
            </a:extLst>
          </p:cNvPr>
          <p:cNvSpPr/>
          <p:nvPr/>
        </p:nvSpPr>
        <p:spPr>
          <a:xfrm>
            <a:off x="4027852" y="1298428"/>
            <a:ext cx="72019" cy="72019"/>
          </a:xfrm>
          <a:prstGeom prst="ellipse">
            <a:avLst/>
          </a:pr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Oval 215">
            <a:extLst>
              <a:ext uri="{FF2B5EF4-FFF2-40B4-BE49-F238E27FC236}">
                <a16:creationId xmlns:a16="http://schemas.microsoft.com/office/drawing/2014/main" id="{4BCF9306-7E7C-4097-A8A3-F01DFE47C24D}"/>
              </a:ext>
            </a:extLst>
          </p:cNvPr>
          <p:cNvSpPr/>
          <p:nvPr/>
        </p:nvSpPr>
        <p:spPr>
          <a:xfrm>
            <a:off x="3783105" y="1171869"/>
            <a:ext cx="72019" cy="72019"/>
          </a:xfrm>
          <a:prstGeom prst="ellipse">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Oval 216">
            <a:extLst>
              <a:ext uri="{FF2B5EF4-FFF2-40B4-BE49-F238E27FC236}">
                <a16:creationId xmlns:a16="http://schemas.microsoft.com/office/drawing/2014/main" id="{EAA9E566-7CEA-4821-A2C7-183B05022D37}"/>
              </a:ext>
            </a:extLst>
          </p:cNvPr>
          <p:cNvSpPr/>
          <p:nvPr/>
        </p:nvSpPr>
        <p:spPr>
          <a:xfrm>
            <a:off x="3769403" y="933153"/>
            <a:ext cx="72019" cy="72019"/>
          </a:xfrm>
          <a:prstGeom prst="ellipse">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Oval 217">
            <a:extLst>
              <a:ext uri="{FF2B5EF4-FFF2-40B4-BE49-F238E27FC236}">
                <a16:creationId xmlns:a16="http://schemas.microsoft.com/office/drawing/2014/main" id="{72FD7225-0DDB-4135-9087-8C8395339AB0}"/>
              </a:ext>
            </a:extLst>
          </p:cNvPr>
          <p:cNvSpPr/>
          <p:nvPr/>
        </p:nvSpPr>
        <p:spPr>
          <a:xfrm>
            <a:off x="4388034" y="1432626"/>
            <a:ext cx="72019" cy="72019"/>
          </a:xfrm>
          <a:prstGeom prst="ellipse">
            <a:avLst/>
          </a:prstGeom>
          <a:no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Oval 218">
            <a:extLst>
              <a:ext uri="{FF2B5EF4-FFF2-40B4-BE49-F238E27FC236}">
                <a16:creationId xmlns:a16="http://schemas.microsoft.com/office/drawing/2014/main" id="{77DB98AF-3363-4187-9CA8-F2582DF088C4}"/>
              </a:ext>
            </a:extLst>
          </p:cNvPr>
          <p:cNvSpPr/>
          <p:nvPr/>
        </p:nvSpPr>
        <p:spPr>
          <a:xfrm>
            <a:off x="4005835" y="1503481"/>
            <a:ext cx="72019" cy="72019"/>
          </a:xfrm>
          <a:prstGeom prst="ellipse">
            <a:avLst/>
          </a:prstGeom>
          <a:solidFill>
            <a:schemeClr val="accent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Oval 219">
            <a:extLst>
              <a:ext uri="{FF2B5EF4-FFF2-40B4-BE49-F238E27FC236}">
                <a16:creationId xmlns:a16="http://schemas.microsoft.com/office/drawing/2014/main" id="{46A46E6D-01AB-4575-B64A-F71EB94A0FFC}"/>
              </a:ext>
            </a:extLst>
          </p:cNvPr>
          <p:cNvSpPr/>
          <p:nvPr/>
        </p:nvSpPr>
        <p:spPr>
          <a:xfrm>
            <a:off x="4491360" y="1824110"/>
            <a:ext cx="72019" cy="72019"/>
          </a:xfrm>
          <a:prstGeom prst="ellipse">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Oval 220">
            <a:extLst>
              <a:ext uri="{FF2B5EF4-FFF2-40B4-BE49-F238E27FC236}">
                <a16:creationId xmlns:a16="http://schemas.microsoft.com/office/drawing/2014/main" id="{59873F8B-8969-41CF-BFFD-2BE352376617}"/>
              </a:ext>
            </a:extLst>
          </p:cNvPr>
          <p:cNvSpPr/>
          <p:nvPr/>
        </p:nvSpPr>
        <p:spPr>
          <a:xfrm>
            <a:off x="4962316" y="1683140"/>
            <a:ext cx="72019" cy="72019"/>
          </a:xfrm>
          <a:prstGeom prst="ellipse">
            <a:avLst/>
          </a:prstGeom>
          <a:no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Oval 221">
            <a:extLst>
              <a:ext uri="{FF2B5EF4-FFF2-40B4-BE49-F238E27FC236}">
                <a16:creationId xmlns:a16="http://schemas.microsoft.com/office/drawing/2014/main" id="{C03A76AE-8903-4DA2-9053-555E04712CE5}"/>
              </a:ext>
            </a:extLst>
          </p:cNvPr>
          <p:cNvSpPr/>
          <p:nvPr/>
        </p:nvSpPr>
        <p:spPr>
          <a:xfrm>
            <a:off x="4579018" y="1376300"/>
            <a:ext cx="72019" cy="72019"/>
          </a:xfrm>
          <a:prstGeom prst="ellipse">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Oval 222">
            <a:extLst>
              <a:ext uri="{FF2B5EF4-FFF2-40B4-BE49-F238E27FC236}">
                <a16:creationId xmlns:a16="http://schemas.microsoft.com/office/drawing/2014/main" id="{32DF07F9-EE28-446A-8C84-0D4E9A6F0605}"/>
              </a:ext>
            </a:extLst>
          </p:cNvPr>
          <p:cNvSpPr/>
          <p:nvPr/>
        </p:nvSpPr>
        <p:spPr>
          <a:xfrm>
            <a:off x="4615071" y="957153"/>
            <a:ext cx="72019" cy="72019"/>
          </a:xfrm>
          <a:prstGeom prst="ellipse">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7509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Graphic 16">
            <a:extLst>
              <a:ext uri="{FF2B5EF4-FFF2-40B4-BE49-F238E27FC236}">
                <a16:creationId xmlns:a16="http://schemas.microsoft.com/office/drawing/2014/main" id="{06A66EE8-AF90-4487-8FE2-2C1078CDA54C}"/>
              </a:ext>
            </a:extLst>
          </p:cNvPr>
          <p:cNvGrpSpPr/>
          <p:nvPr/>
        </p:nvGrpSpPr>
        <p:grpSpPr>
          <a:xfrm>
            <a:off x="1804713" y="1884572"/>
            <a:ext cx="1099012" cy="1099082"/>
            <a:chOff x="5129732" y="630816"/>
            <a:chExt cx="2575092" cy="2575259"/>
          </a:xfrm>
          <a:solidFill>
            <a:schemeClr val="accent4"/>
          </a:solidFill>
        </p:grpSpPr>
        <p:sp>
          <p:nvSpPr>
            <p:cNvPr id="59" name="Freeform: Shape 58">
              <a:extLst>
                <a:ext uri="{FF2B5EF4-FFF2-40B4-BE49-F238E27FC236}">
                  <a16:creationId xmlns:a16="http://schemas.microsoft.com/office/drawing/2014/main" id="{46229A42-7062-491A-899F-9802552219CE}"/>
                </a:ext>
              </a:extLst>
            </p:cNvPr>
            <p:cNvSpPr/>
            <p:nvPr/>
          </p:nvSpPr>
          <p:spPr>
            <a:xfrm>
              <a:off x="5196425" y="1491836"/>
              <a:ext cx="1693422" cy="1630849"/>
            </a:xfrm>
            <a:custGeom>
              <a:avLst/>
              <a:gdLst>
                <a:gd name="connsiteX0" fmla="*/ 1687607 w 1693422"/>
                <a:gd name="connsiteY0" fmla="*/ 1598267 h 1630849"/>
                <a:gd name="connsiteX1" fmla="*/ 32091 w 1693422"/>
                <a:gd name="connsiteY1" fmla="*/ 5318 h 1630849"/>
                <a:gd name="connsiteX2" fmla="*/ 5318 w 1693422"/>
                <a:gd name="connsiteY2" fmla="*/ 5845 h 1630849"/>
                <a:gd name="connsiteX3" fmla="*/ 5845 w 1693422"/>
                <a:gd name="connsiteY3" fmla="*/ 32618 h 1630849"/>
                <a:gd name="connsiteX4" fmla="*/ 1661362 w 1693422"/>
                <a:gd name="connsiteY4" fmla="*/ 1625568 h 1630849"/>
                <a:gd name="connsiteX5" fmla="*/ 1688182 w 1693422"/>
                <a:gd name="connsiteY5" fmla="*/ 1625040 h 1630849"/>
                <a:gd name="connsiteX6" fmla="*/ 1687607 w 1693422"/>
                <a:gd name="connsiteY6" fmla="*/ 1598267 h 1630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3422" h="1630849">
                  <a:moveTo>
                    <a:pt x="1687607" y="1598267"/>
                  </a:moveTo>
                  <a:lnTo>
                    <a:pt x="32091" y="5318"/>
                  </a:lnTo>
                  <a:cubicBezTo>
                    <a:pt x="24558" y="-1975"/>
                    <a:pt x="12515" y="-1736"/>
                    <a:pt x="5318" y="5845"/>
                  </a:cubicBezTo>
                  <a:cubicBezTo>
                    <a:pt x="-1976" y="13378"/>
                    <a:pt x="-1735" y="25421"/>
                    <a:pt x="5845" y="32618"/>
                  </a:cubicBezTo>
                  <a:lnTo>
                    <a:pt x="1661362" y="1625568"/>
                  </a:lnTo>
                  <a:cubicBezTo>
                    <a:pt x="1668942" y="1632813"/>
                    <a:pt x="1680937" y="1632573"/>
                    <a:pt x="1688182" y="1625040"/>
                  </a:cubicBezTo>
                  <a:cubicBezTo>
                    <a:pt x="1695380" y="1617508"/>
                    <a:pt x="1695139" y="1605512"/>
                    <a:pt x="1687607" y="1598267"/>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0" name="Freeform: Shape 59">
              <a:extLst>
                <a:ext uri="{FF2B5EF4-FFF2-40B4-BE49-F238E27FC236}">
                  <a16:creationId xmlns:a16="http://schemas.microsoft.com/office/drawing/2014/main" id="{3FD9B88C-5F21-4163-9259-DF19D91E5B53}"/>
                </a:ext>
              </a:extLst>
            </p:cNvPr>
            <p:cNvSpPr/>
            <p:nvPr/>
          </p:nvSpPr>
          <p:spPr>
            <a:xfrm>
              <a:off x="5244201" y="1371441"/>
              <a:ext cx="1764151" cy="1698885"/>
            </a:xfrm>
            <a:custGeom>
              <a:avLst/>
              <a:gdLst>
                <a:gd name="connsiteX0" fmla="*/ 1758342 w 1764151"/>
                <a:gd name="connsiteY0" fmla="*/ 1666267 h 1698885"/>
                <a:gd name="connsiteX1" fmla="*/ 32055 w 1764151"/>
                <a:gd name="connsiteY1" fmla="*/ 5282 h 1698885"/>
                <a:gd name="connsiteX2" fmla="*/ 5282 w 1764151"/>
                <a:gd name="connsiteY2" fmla="*/ 5809 h 1698885"/>
                <a:gd name="connsiteX3" fmla="*/ 5809 w 1764151"/>
                <a:gd name="connsiteY3" fmla="*/ 32582 h 1698885"/>
                <a:gd name="connsiteX4" fmla="*/ 1732049 w 1764151"/>
                <a:gd name="connsiteY4" fmla="*/ 1693568 h 1698885"/>
                <a:gd name="connsiteX5" fmla="*/ 1758870 w 1764151"/>
                <a:gd name="connsiteY5" fmla="*/ 1693041 h 1698885"/>
                <a:gd name="connsiteX6" fmla="*/ 1758342 w 1764151"/>
                <a:gd name="connsiteY6" fmla="*/ 1666267 h 1698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4151" h="1698885">
                  <a:moveTo>
                    <a:pt x="1758342" y="1666267"/>
                  </a:moveTo>
                  <a:lnTo>
                    <a:pt x="32055" y="5282"/>
                  </a:lnTo>
                  <a:cubicBezTo>
                    <a:pt x="24522" y="-1963"/>
                    <a:pt x="12527" y="-1724"/>
                    <a:pt x="5282" y="5809"/>
                  </a:cubicBezTo>
                  <a:cubicBezTo>
                    <a:pt x="-1963" y="13342"/>
                    <a:pt x="-1724" y="25385"/>
                    <a:pt x="5809" y="32582"/>
                  </a:cubicBezTo>
                  <a:lnTo>
                    <a:pt x="1732049" y="1693568"/>
                  </a:lnTo>
                  <a:cubicBezTo>
                    <a:pt x="1739630" y="1700861"/>
                    <a:pt x="1751625" y="1700622"/>
                    <a:pt x="1758870" y="1693041"/>
                  </a:cubicBezTo>
                  <a:cubicBezTo>
                    <a:pt x="1766114" y="1685508"/>
                    <a:pt x="1765875" y="1673512"/>
                    <a:pt x="1758342" y="1666267"/>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1" name="Freeform: Shape 60">
              <a:extLst>
                <a:ext uri="{FF2B5EF4-FFF2-40B4-BE49-F238E27FC236}">
                  <a16:creationId xmlns:a16="http://schemas.microsoft.com/office/drawing/2014/main" id="{867C6CC3-3678-4140-9B7C-8C6581F69D4E}"/>
                </a:ext>
              </a:extLst>
            </p:cNvPr>
            <p:cNvSpPr/>
            <p:nvPr/>
          </p:nvSpPr>
          <p:spPr>
            <a:xfrm>
              <a:off x="5301826" y="1260474"/>
              <a:ext cx="1815202" cy="1747969"/>
            </a:xfrm>
            <a:custGeom>
              <a:avLst/>
              <a:gdLst>
                <a:gd name="connsiteX0" fmla="*/ 1809393 w 1815202"/>
                <a:gd name="connsiteY0" fmla="*/ 1715388 h 1747969"/>
                <a:gd name="connsiteX1" fmla="*/ 32103 w 1815202"/>
                <a:gd name="connsiteY1" fmla="*/ 5318 h 1747969"/>
                <a:gd name="connsiteX2" fmla="*/ 5282 w 1815202"/>
                <a:gd name="connsiteY2" fmla="*/ 5845 h 1747969"/>
                <a:gd name="connsiteX3" fmla="*/ 5809 w 1815202"/>
                <a:gd name="connsiteY3" fmla="*/ 32618 h 1747969"/>
                <a:gd name="connsiteX4" fmla="*/ 1783100 w 1815202"/>
                <a:gd name="connsiteY4" fmla="*/ 1742688 h 1747969"/>
                <a:gd name="connsiteX5" fmla="*/ 1809921 w 1815202"/>
                <a:gd name="connsiteY5" fmla="*/ 1742160 h 1747969"/>
                <a:gd name="connsiteX6" fmla="*/ 1809393 w 1815202"/>
                <a:gd name="connsiteY6" fmla="*/ 1715388 h 174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202" h="1747969">
                  <a:moveTo>
                    <a:pt x="1809393" y="1715388"/>
                  </a:moveTo>
                  <a:lnTo>
                    <a:pt x="32103" y="5318"/>
                  </a:lnTo>
                  <a:cubicBezTo>
                    <a:pt x="24522" y="-1975"/>
                    <a:pt x="12526" y="-1736"/>
                    <a:pt x="5282" y="5845"/>
                  </a:cubicBezTo>
                  <a:cubicBezTo>
                    <a:pt x="-1963" y="13378"/>
                    <a:pt x="-1724" y="25373"/>
                    <a:pt x="5809" y="32618"/>
                  </a:cubicBezTo>
                  <a:lnTo>
                    <a:pt x="1783100" y="1742688"/>
                  </a:lnTo>
                  <a:cubicBezTo>
                    <a:pt x="1790680" y="1749933"/>
                    <a:pt x="1802676" y="1749693"/>
                    <a:pt x="1809921" y="1742160"/>
                  </a:cubicBezTo>
                  <a:cubicBezTo>
                    <a:pt x="1817166" y="1734627"/>
                    <a:pt x="1816926" y="1722632"/>
                    <a:pt x="1809393" y="1715388"/>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2" name="Freeform: Shape 61">
              <a:extLst>
                <a:ext uri="{FF2B5EF4-FFF2-40B4-BE49-F238E27FC236}">
                  <a16:creationId xmlns:a16="http://schemas.microsoft.com/office/drawing/2014/main" id="{2984379E-A0E6-4F0C-AB93-65775FF8E7E7}"/>
                </a:ext>
              </a:extLst>
            </p:cNvPr>
            <p:cNvSpPr/>
            <p:nvPr/>
          </p:nvSpPr>
          <p:spPr>
            <a:xfrm>
              <a:off x="5159756" y="1622954"/>
              <a:ext cx="1600513" cy="1541426"/>
            </a:xfrm>
            <a:custGeom>
              <a:avLst/>
              <a:gdLst>
                <a:gd name="connsiteX0" fmla="*/ 1594681 w 1600513"/>
                <a:gd name="connsiteY0" fmla="*/ 1508844 h 1541426"/>
                <a:gd name="connsiteX1" fmla="*/ 32055 w 1600513"/>
                <a:gd name="connsiteY1" fmla="*/ 5282 h 1541426"/>
                <a:gd name="connsiteX2" fmla="*/ 5281 w 1600513"/>
                <a:gd name="connsiteY2" fmla="*/ 5809 h 1541426"/>
                <a:gd name="connsiteX3" fmla="*/ 5809 w 1600513"/>
                <a:gd name="connsiteY3" fmla="*/ 32582 h 1541426"/>
                <a:gd name="connsiteX4" fmla="*/ 1568483 w 1600513"/>
                <a:gd name="connsiteY4" fmla="*/ 1536145 h 1541426"/>
                <a:gd name="connsiteX5" fmla="*/ 1595256 w 1600513"/>
                <a:gd name="connsiteY5" fmla="*/ 1535617 h 1541426"/>
                <a:gd name="connsiteX6" fmla="*/ 1594681 w 1600513"/>
                <a:gd name="connsiteY6" fmla="*/ 1508844 h 1541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0513" h="1541426">
                  <a:moveTo>
                    <a:pt x="1594681" y="1508844"/>
                  </a:moveTo>
                  <a:lnTo>
                    <a:pt x="32055" y="5282"/>
                  </a:lnTo>
                  <a:cubicBezTo>
                    <a:pt x="24522" y="-1964"/>
                    <a:pt x="12526" y="-1724"/>
                    <a:pt x="5281" y="5809"/>
                  </a:cubicBezTo>
                  <a:cubicBezTo>
                    <a:pt x="-1963" y="13342"/>
                    <a:pt x="-1724" y="25337"/>
                    <a:pt x="5809" y="32582"/>
                  </a:cubicBezTo>
                  <a:lnTo>
                    <a:pt x="1568483" y="1536145"/>
                  </a:lnTo>
                  <a:cubicBezTo>
                    <a:pt x="1576016" y="1543390"/>
                    <a:pt x="1588011" y="1543150"/>
                    <a:pt x="1595256" y="1535617"/>
                  </a:cubicBezTo>
                  <a:cubicBezTo>
                    <a:pt x="1602453" y="1528084"/>
                    <a:pt x="1602261" y="1516137"/>
                    <a:pt x="1594681" y="1508844"/>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3" name="Freeform: Shape 62">
              <a:extLst>
                <a:ext uri="{FF2B5EF4-FFF2-40B4-BE49-F238E27FC236}">
                  <a16:creationId xmlns:a16="http://schemas.microsoft.com/office/drawing/2014/main" id="{B9FFF5A0-6988-4C0F-8B89-B2545AF270A7}"/>
                </a:ext>
              </a:extLst>
            </p:cNvPr>
            <p:cNvSpPr/>
            <p:nvPr/>
          </p:nvSpPr>
          <p:spPr>
            <a:xfrm>
              <a:off x="5410981" y="2696756"/>
              <a:ext cx="266634" cy="257998"/>
            </a:xfrm>
            <a:custGeom>
              <a:avLst/>
              <a:gdLst>
                <a:gd name="connsiteX0" fmla="*/ 260825 w 266634"/>
                <a:gd name="connsiteY0" fmla="*/ 225368 h 257998"/>
                <a:gd name="connsiteX1" fmla="*/ 32055 w 266634"/>
                <a:gd name="connsiteY1" fmla="*/ 5282 h 257998"/>
                <a:gd name="connsiteX2" fmla="*/ 5282 w 266634"/>
                <a:gd name="connsiteY2" fmla="*/ 5809 h 257998"/>
                <a:gd name="connsiteX3" fmla="*/ 5809 w 266634"/>
                <a:gd name="connsiteY3" fmla="*/ 32631 h 257998"/>
                <a:gd name="connsiteX4" fmla="*/ 234580 w 266634"/>
                <a:gd name="connsiteY4" fmla="*/ 252717 h 257998"/>
                <a:gd name="connsiteX5" fmla="*/ 261353 w 266634"/>
                <a:gd name="connsiteY5" fmla="*/ 252189 h 257998"/>
                <a:gd name="connsiteX6" fmla="*/ 260825 w 266634"/>
                <a:gd name="connsiteY6" fmla="*/ 225368 h 2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634" h="257998">
                  <a:moveTo>
                    <a:pt x="260825" y="225368"/>
                  </a:moveTo>
                  <a:lnTo>
                    <a:pt x="32055" y="5282"/>
                  </a:lnTo>
                  <a:cubicBezTo>
                    <a:pt x="24522" y="-1963"/>
                    <a:pt x="12527" y="-1724"/>
                    <a:pt x="5282" y="5809"/>
                  </a:cubicBezTo>
                  <a:cubicBezTo>
                    <a:pt x="-1964" y="13342"/>
                    <a:pt x="-1723" y="25337"/>
                    <a:pt x="5809" y="32631"/>
                  </a:cubicBezTo>
                  <a:lnTo>
                    <a:pt x="234580" y="252717"/>
                  </a:lnTo>
                  <a:cubicBezTo>
                    <a:pt x="242113" y="259961"/>
                    <a:pt x="254108" y="259722"/>
                    <a:pt x="261353" y="252189"/>
                  </a:cubicBezTo>
                  <a:cubicBezTo>
                    <a:pt x="268598" y="244608"/>
                    <a:pt x="268359" y="232613"/>
                    <a:pt x="260825" y="225368"/>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4" name="Freeform: Shape 63">
              <a:extLst>
                <a:ext uri="{FF2B5EF4-FFF2-40B4-BE49-F238E27FC236}">
                  <a16:creationId xmlns:a16="http://schemas.microsoft.com/office/drawing/2014/main" id="{94E45190-434B-43CC-9D33-CB221587D2F1}"/>
                </a:ext>
              </a:extLst>
            </p:cNvPr>
            <p:cNvSpPr/>
            <p:nvPr/>
          </p:nvSpPr>
          <p:spPr>
            <a:xfrm>
              <a:off x="5205301" y="2332441"/>
              <a:ext cx="844228" cy="813755"/>
            </a:xfrm>
            <a:custGeom>
              <a:avLst/>
              <a:gdLst>
                <a:gd name="connsiteX0" fmla="*/ 838401 w 844228"/>
                <a:gd name="connsiteY0" fmla="*/ 781125 h 813755"/>
                <a:gd name="connsiteX1" fmla="*/ 32091 w 844228"/>
                <a:gd name="connsiteY1" fmla="*/ 5282 h 813755"/>
                <a:gd name="connsiteX2" fmla="*/ 5317 w 844228"/>
                <a:gd name="connsiteY2" fmla="*/ 5809 h 813755"/>
                <a:gd name="connsiteX3" fmla="*/ 5845 w 844228"/>
                <a:gd name="connsiteY3" fmla="*/ 32630 h 813755"/>
                <a:gd name="connsiteX4" fmla="*/ 812156 w 844228"/>
                <a:gd name="connsiteY4" fmla="*/ 808474 h 813755"/>
                <a:gd name="connsiteX5" fmla="*/ 838929 w 844228"/>
                <a:gd name="connsiteY5" fmla="*/ 807946 h 813755"/>
                <a:gd name="connsiteX6" fmla="*/ 838401 w 844228"/>
                <a:gd name="connsiteY6" fmla="*/ 781125 h 813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228" h="813755">
                  <a:moveTo>
                    <a:pt x="838401" y="781125"/>
                  </a:moveTo>
                  <a:lnTo>
                    <a:pt x="32091" y="5282"/>
                  </a:lnTo>
                  <a:cubicBezTo>
                    <a:pt x="24558" y="-1963"/>
                    <a:pt x="12514" y="-1724"/>
                    <a:pt x="5317" y="5809"/>
                  </a:cubicBezTo>
                  <a:cubicBezTo>
                    <a:pt x="-1975" y="13342"/>
                    <a:pt x="-1736" y="25385"/>
                    <a:pt x="5845" y="32630"/>
                  </a:cubicBezTo>
                  <a:lnTo>
                    <a:pt x="812156" y="808474"/>
                  </a:lnTo>
                  <a:cubicBezTo>
                    <a:pt x="819689" y="815719"/>
                    <a:pt x="831684" y="815479"/>
                    <a:pt x="838929" y="807946"/>
                  </a:cubicBezTo>
                  <a:cubicBezTo>
                    <a:pt x="846174" y="800365"/>
                    <a:pt x="845983" y="788418"/>
                    <a:pt x="838401" y="781125"/>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5" name="Freeform: Shape 64">
              <a:extLst>
                <a:ext uri="{FF2B5EF4-FFF2-40B4-BE49-F238E27FC236}">
                  <a16:creationId xmlns:a16="http://schemas.microsoft.com/office/drawing/2014/main" id="{FFD4CF6E-3543-491A-80E6-73F250A491C2}"/>
                </a:ext>
              </a:extLst>
            </p:cNvPr>
            <p:cNvSpPr/>
            <p:nvPr/>
          </p:nvSpPr>
          <p:spPr>
            <a:xfrm>
              <a:off x="5136341" y="1766848"/>
              <a:ext cx="1481018" cy="1426465"/>
            </a:xfrm>
            <a:custGeom>
              <a:avLst/>
              <a:gdLst>
                <a:gd name="connsiteX0" fmla="*/ 1475209 w 1481018"/>
                <a:gd name="connsiteY0" fmla="*/ 1393883 h 1426465"/>
                <a:gd name="connsiteX1" fmla="*/ 32055 w 1481018"/>
                <a:gd name="connsiteY1" fmla="*/ 5282 h 1426465"/>
                <a:gd name="connsiteX2" fmla="*/ 5281 w 1481018"/>
                <a:gd name="connsiteY2" fmla="*/ 5809 h 1426465"/>
                <a:gd name="connsiteX3" fmla="*/ 5809 w 1481018"/>
                <a:gd name="connsiteY3" fmla="*/ 32630 h 1426465"/>
                <a:gd name="connsiteX4" fmla="*/ 1448964 w 1481018"/>
                <a:gd name="connsiteY4" fmla="*/ 1421184 h 1426465"/>
                <a:gd name="connsiteX5" fmla="*/ 1475737 w 1481018"/>
                <a:gd name="connsiteY5" fmla="*/ 1420656 h 1426465"/>
                <a:gd name="connsiteX6" fmla="*/ 1475209 w 1481018"/>
                <a:gd name="connsiteY6" fmla="*/ 1393883 h 142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1018" h="1426465">
                  <a:moveTo>
                    <a:pt x="1475209" y="1393883"/>
                  </a:moveTo>
                  <a:lnTo>
                    <a:pt x="32055" y="5282"/>
                  </a:lnTo>
                  <a:cubicBezTo>
                    <a:pt x="24522" y="-1963"/>
                    <a:pt x="12526" y="-1724"/>
                    <a:pt x="5281" y="5809"/>
                  </a:cubicBezTo>
                  <a:cubicBezTo>
                    <a:pt x="-1963" y="13342"/>
                    <a:pt x="-1724" y="25337"/>
                    <a:pt x="5809" y="32630"/>
                  </a:cubicBezTo>
                  <a:lnTo>
                    <a:pt x="1448964" y="1421184"/>
                  </a:lnTo>
                  <a:cubicBezTo>
                    <a:pt x="1456497" y="1428429"/>
                    <a:pt x="1468492" y="1428189"/>
                    <a:pt x="1475737" y="1420656"/>
                  </a:cubicBezTo>
                  <a:cubicBezTo>
                    <a:pt x="1482982" y="1413123"/>
                    <a:pt x="1482743" y="1401176"/>
                    <a:pt x="1475209" y="1393883"/>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6" name="Freeform: Shape 65">
              <a:extLst>
                <a:ext uri="{FF2B5EF4-FFF2-40B4-BE49-F238E27FC236}">
                  <a16:creationId xmlns:a16="http://schemas.microsoft.com/office/drawing/2014/main" id="{2302BD5D-ADD0-4E4C-9B9A-0718126FA6BF}"/>
                </a:ext>
              </a:extLst>
            </p:cNvPr>
            <p:cNvSpPr/>
            <p:nvPr/>
          </p:nvSpPr>
          <p:spPr>
            <a:xfrm>
              <a:off x="5146909" y="2109860"/>
              <a:ext cx="1127343" cy="1086092"/>
            </a:xfrm>
            <a:custGeom>
              <a:avLst/>
              <a:gdLst>
                <a:gd name="connsiteX0" fmla="*/ 1121534 w 1127343"/>
                <a:gd name="connsiteY0" fmla="*/ 1053510 h 1086092"/>
                <a:gd name="connsiteX1" fmla="*/ 32091 w 1127343"/>
                <a:gd name="connsiteY1" fmla="*/ 5282 h 1086092"/>
                <a:gd name="connsiteX2" fmla="*/ 5318 w 1127343"/>
                <a:gd name="connsiteY2" fmla="*/ 5809 h 1086092"/>
                <a:gd name="connsiteX3" fmla="*/ 5845 w 1127343"/>
                <a:gd name="connsiteY3" fmla="*/ 32583 h 1086092"/>
                <a:gd name="connsiteX4" fmla="*/ 1095240 w 1127343"/>
                <a:gd name="connsiteY4" fmla="*/ 1080810 h 1086092"/>
                <a:gd name="connsiteX5" fmla="*/ 1122062 w 1127343"/>
                <a:gd name="connsiteY5" fmla="*/ 1080283 h 1086092"/>
                <a:gd name="connsiteX6" fmla="*/ 1121534 w 1127343"/>
                <a:gd name="connsiteY6" fmla="*/ 1053510 h 108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343" h="1086092">
                  <a:moveTo>
                    <a:pt x="1121534" y="1053510"/>
                  </a:moveTo>
                  <a:lnTo>
                    <a:pt x="32091" y="5282"/>
                  </a:lnTo>
                  <a:cubicBezTo>
                    <a:pt x="24558" y="-1963"/>
                    <a:pt x="12515" y="-1724"/>
                    <a:pt x="5318" y="5809"/>
                  </a:cubicBezTo>
                  <a:cubicBezTo>
                    <a:pt x="-1976" y="13342"/>
                    <a:pt x="-1735" y="25337"/>
                    <a:pt x="5845" y="32583"/>
                  </a:cubicBezTo>
                  <a:lnTo>
                    <a:pt x="1095240" y="1080810"/>
                  </a:lnTo>
                  <a:cubicBezTo>
                    <a:pt x="1102822" y="1088056"/>
                    <a:pt x="1114817" y="1087816"/>
                    <a:pt x="1122062" y="1080283"/>
                  </a:cubicBezTo>
                  <a:cubicBezTo>
                    <a:pt x="1129306" y="1072750"/>
                    <a:pt x="1129067" y="1060755"/>
                    <a:pt x="1121534" y="1053510"/>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7" name="Freeform: Shape 66">
              <a:extLst>
                <a:ext uri="{FF2B5EF4-FFF2-40B4-BE49-F238E27FC236}">
                  <a16:creationId xmlns:a16="http://schemas.microsoft.com/office/drawing/2014/main" id="{245FA6DE-D81C-435D-A6FC-CDF987C53816}"/>
                </a:ext>
              </a:extLst>
            </p:cNvPr>
            <p:cNvSpPr/>
            <p:nvPr/>
          </p:nvSpPr>
          <p:spPr>
            <a:xfrm>
              <a:off x="5129732" y="1926910"/>
              <a:ext cx="1327973" cy="1279165"/>
            </a:xfrm>
            <a:custGeom>
              <a:avLst/>
              <a:gdLst>
                <a:gd name="connsiteX0" fmla="*/ 1322140 w 1327973"/>
                <a:gd name="connsiteY0" fmla="*/ 1246583 h 1279165"/>
                <a:gd name="connsiteX1" fmla="*/ 32091 w 1327973"/>
                <a:gd name="connsiteY1" fmla="*/ 5282 h 1279165"/>
                <a:gd name="connsiteX2" fmla="*/ 5317 w 1327973"/>
                <a:gd name="connsiteY2" fmla="*/ 5809 h 1279165"/>
                <a:gd name="connsiteX3" fmla="*/ 5845 w 1327973"/>
                <a:gd name="connsiteY3" fmla="*/ 32582 h 1279165"/>
                <a:gd name="connsiteX4" fmla="*/ 1295942 w 1327973"/>
                <a:gd name="connsiteY4" fmla="*/ 1273884 h 1279165"/>
                <a:gd name="connsiteX5" fmla="*/ 1322716 w 1327973"/>
                <a:gd name="connsiteY5" fmla="*/ 1273356 h 1279165"/>
                <a:gd name="connsiteX6" fmla="*/ 1322140 w 1327973"/>
                <a:gd name="connsiteY6" fmla="*/ 1246583 h 127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7973" h="1279165">
                  <a:moveTo>
                    <a:pt x="1322140" y="1246583"/>
                  </a:moveTo>
                  <a:lnTo>
                    <a:pt x="32091" y="5282"/>
                  </a:lnTo>
                  <a:cubicBezTo>
                    <a:pt x="24558" y="-1963"/>
                    <a:pt x="12562" y="-1724"/>
                    <a:pt x="5317" y="5809"/>
                  </a:cubicBezTo>
                  <a:cubicBezTo>
                    <a:pt x="-1975" y="13342"/>
                    <a:pt x="-1736" y="25337"/>
                    <a:pt x="5845" y="32582"/>
                  </a:cubicBezTo>
                  <a:lnTo>
                    <a:pt x="1295942" y="1273884"/>
                  </a:lnTo>
                  <a:cubicBezTo>
                    <a:pt x="1303476" y="1281129"/>
                    <a:pt x="1315471" y="1280889"/>
                    <a:pt x="1322716" y="1273356"/>
                  </a:cubicBezTo>
                  <a:cubicBezTo>
                    <a:pt x="1329913" y="1265823"/>
                    <a:pt x="1329721" y="1253828"/>
                    <a:pt x="1322140" y="1246583"/>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8" name="Freeform: Shape 67">
              <a:extLst>
                <a:ext uri="{FF2B5EF4-FFF2-40B4-BE49-F238E27FC236}">
                  <a16:creationId xmlns:a16="http://schemas.microsoft.com/office/drawing/2014/main" id="{AD7E06C1-FBAE-48BC-8283-F1BDAD63A7BD}"/>
                </a:ext>
              </a:extLst>
            </p:cNvPr>
            <p:cNvSpPr/>
            <p:nvPr/>
          </p:nvSpPr>
          <p:spPr>
            <a:xfrm>
              <a:off x="5368423" y="1158168"/>
              <a:ext cx="1848303" cy="1779792"/>
            </a:xfrm>
            <a:custGeom>
              <a:avLst/>
              <a:gdLst>
                <a:gd name="connsiteX0" fmla="*/ 1842451 w 1848303"/>
                <a:gd name="connsiteY0" fmla="*/ 1747211 h 1779792"/>
                <a:gd name="connsiteX1" fmla="*/ 32055 w 1848303"/>
                <a:gd name="connsiteY1" fmla="*/ 5282 h 1779792"/>
                <a:gd name="connsiteX2" fmla="*/ 5282 w 1848303"/>
                <a:gd name="connsiteY2" fmla="*/ 5809 h 1779792"/>
                <a:gd name="connsiteX3" fmla="*/ 5809 w 1848303"/>
                <a:gd name="connsiteY3" fmla="*/ 32582 h 1779792"/>
                <a:gd name="connsiteX4" fmla="*/ 1816206 w 1848303"/>
                <a:gd name="connsiteY4" fmla="*/ 1774511 h 1779792"/>
                <a:gd name="connsiteX5" fmla="*/ 1843027 w 1848303"/>
                <a:gd name="connsiteY5" fmla="*/ 1773983 h 1779792"/>
                <a:gd name="connsiteX6" fmla="*/ 1842451 w 1848303"/>
                <a:gd name="connsiteY6" fmla="*/ 1747211 h 177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8303" h="1779792">
                  <a:moveTo>
                    <a:pt x="1842451" y="1747211"/>
                  </a:moveTo>
                  <a:lnTo>
                    <a:pt x="32055" y="5282"/>
                  </a:lnTo>
                  <a:cubicBezTo>
                    <a:pt x="24522" y="-1963"/>
                    <a:pt x="12479" y="-1724"/>
                    <a:pt x="5282" y="5809"/>
                  </a:cubicBezTo>
                  <a:cubicBezTo>
                    <a:pt x="-1963" y="13342"/>
                    <a:pt x="-1724" y="25337"/>
                    <a:pt x="5809" y="32582"/>
                  </a:cubicBezTo>
                  <a:lnTo>
                    <a:pt x="1816206" y="1774511"/>
                  </a:lnTo>
                  <a:cubicBezTo>
                    <a:pt x="1823739" y="1781756"/>
                    <a:pt x="1835782" y="1781516"/>
                    <a:pt x="1843027" y="1773983"/>
                  </a:cubicBezTo>
                  <a:cubicBezTo>
                    <a:pt x="1850272" y="1766451"/>
                    <a:pt x="1850032" y="1754456"/>
                    <a:pt x="1842451" y="1747211"/>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9" name="Freeform: Shape 68">
              <a:extLst>
                <a:ext uri="{FF2B5EF4-FFF2-40B4-BE49-F238E27FC236}">
                  <a16:creationId xmlns:a16="http://schemas.microsoft.com/office/drawing/2014/main" id="{3916BF41-663F-459D-A6CF-6DA46919F6B0}"/>
                </a:ext>
              </a:extLst>
            </p:cNvPr>
            <p:cNvSpPr/>
            <p:nvPr/>
          </p:nvSpPr>
          <p:spPr>
            <a:xfrm>
              <a:off x="5443416" y="1063851"/>
              <a:ext cx="1864574" cy="1795554"/>
            </a:xfrm>
            <a:custGeom>
              <a:avLst/>
              <a:gdLst>
                <a:gd name="connsiteX0" fmla="*/ 1858765 w 1864574"/>
                <a:gd name="connsiteY0" fmla="*/ 1762936 h 1795554"/>
                <a:gd name="connsiteX1" fmla="*/ 32055 w 1864574"/>
                <a:gd name="connsiteY1" fmla="*/ 5318 h 1795554"/>
                <a:gd name="connsiteX2" fmla="*/ 5282 w 1864574"/>
                <a:gd name="connsiteY2" fmla="*/ 5845 h 1795554"/>
                <a:gd name="connsiteX3" fmla="*/ 5809 w 1864574"/>
                <a:gd name="connsiteY3" fmla="*/ 32618 h 1795554"/>
                <a:gd name="connsiteX4" fmla="*/ 1832472 w 1864574"/>
                <a:gd name="connsiteY4" fmla="*/ 1790237 h 1795554"/>
                <a:gd name="connsiteX5" fmla="*/ 1859293 w 1864574"/>
                <a:gd name="connsiteY5" fmla="*/ 1789709 h 1795554"/>
                <a:gd name="connsiteX6" fmla="*/ 1858765 w 1864574"/>
                <a:gd name="connsiteY6" fmla="*/ 1762936 h 179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4574" h="1795554">
                  <a:moveTo>
                    <a:pt x="1858765" y="1762936"/>
                  </a:moveTo>
                  <a:lnTo>
                    <a:pt x="32055" y="5318"/>
                  </a:lnTo>
                  <a:cubicBezTo>
                    <a:pt x="24522" y="-1975"/>
                    <a:pt x="12527" y="-1736"/>
                    <a:pt x="5282" y="5845"/>
                  </a:cubicBezTo>
                  <a:cubicBezTo>
                    <a:pt x="-1964" y="13378"/>
                    <a:pt x="-1723" y="25373"/>
                    <a:pt x="5809" y="32618"/>
                  </a:cubicBezTo>
                  <a:lnTo>
                    <a:pt x="1832472" y="1790237"/>
                  </a:lnTo>
                  <a:cubicBezTo>
                    <a:pt x="1840053" y="1797530"/>
                    <a:pt x="1852048" y="1797290"/>
                    <a:pt x="1859293" y="1789709"/>
                  </a:cubicBezTo>
                  <a:cubicBezTo>
                    <a:pt x="1866538" y="1782176"/>
                    <a:pt x="1866298" y="1770181"/>
                    <a:pt x="1858765" y="1762936"/>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0" name="Freeform: Shape 69">
              <a:extLst>
                <a:ext uri="{FF2B5EF4-FFF2-40B4-BE49-F238E27FC236}">
                  <a16:creationId xmlns:a16="http://schemas.microsoft.com/office/drawing/2014/main" id="{43AA0D51-A0B6-4C55-ACB2-A579D996C7D0}"/>
                </a:ext>
              </a:extLst>
            </p:cNvPr>
            <p:cNvSpPr/>
            <p:nvPr/>
          </p:nvSpPr>
          <p:spPr>
            <a:xfrm>
              <a:off x="6784996" y="690695"/>
              <a:ext cx="844210" cy="813707"/>
            </a:xfrm>
            <a:custGeom>
              <a:avLst/>
              <a:gdLst>
                <a:gd name="connsiteX0" fmla="*/ 5809 w 844210"/>
                <a:gd name="connsiteY0" fmla="*/ 32582 h 813707"/>
                <a:gd name="connsiteX1" fmla="*/ 812120 w 844210"/>
                <a:gd name="connsiteY1" fmla="*/ 808426 h 813707"/>
                <a:gd name="connsiteX2" fmla="*/ 838893 w 844210"/>
                <a:gd name="connsiteY2" fmla="*/ 807898 h 813707"/>
                <a:gd name="connsiteX3" fmla="*/ 838365 w 844210"/>
                <a:gd name="connsiteY3" fmla="*/ 781125 h 813707"/>
                <a:gd name="connsiteX4" fmla="*/ 32055 w 844210"/>
                <a:gd name="connsiteY4" fmla="*/ 5282 h 813707"/>
                <a:gd name="connsiteX5" fmla="*/ 5282 w 844210"/>
                <a:gd name="connsiteY5" fmla="*/ 5809 h 813707"/>
                <a:gd name="connsiteX6" fmla="*/ 5809 w 844210"/>
                <a:gd name="connsiteY6" fmla="*/ 32582 h 81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210" h="813707">
                  <a:moveTo>
                    <a:pt x="5809" y="32582"/>
                  </a:moveTo>
                  <a:lnTo>
                    <a:pt x="812120" y="808426"/>
                  </a:lnTo>
                  <a:cubicBezTo>
                    <a:pt x="819654" y="815671"/>
                    <a:pt x="831696" y="815431"/>
                    <a:pt x="838893" y="807898"/>
                  </a:cubicBezTo>
                  <a:cubicBezTo>
                    <a:pt x="846186" y="800365"/>
                    <a:pt x="845947" y="788322"/>
                    <a:pt x="838365" y="781125"/>
                  </a:cubicBezTo>
                  <a:lnTo>
                    <a:pt x="32055" y="5282"/>
                  </a:lnTo>
                  <a:cubicBezTo>
                    <a:pt x="24522" y="-1963"/>
                    <a:pt x="12527" y="-1724"/>
                    <a:pt x="5282" y="5809"/>
                  </a:cubicBezTo>
                  <a:cubicBezTo>
                    <a:pt x="-1964" y="13342"/>
                    <a:pt x="-1723" y="25337"/>
                    <a:pt x="5809" y="32582"/>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1" name="Freeform: Shape 70">
              <a:extLst>
                <a:ext uri="{FF2B5EF4-FFF2-40B4-BE49-F238E27FC236}">
                  <a16:creationId xmlns:a16="http://schemas.microsoft.com/office/drawing/2014/main" id="{5755C956-231E-4698-B92F-7CEEA1FF4777}"/>
                </a:ext>
              </a:extLst>
            </p:cNvPr>
            <p:cNvSpPr/>
            <p:nvPr/>
          </p:nvSpPr>
          <p:spPr>
            <a:xfrm>
              <a:off x="7156892" y="882137"/>
              <a:ext cx="266634" cy="257998"/>
            </a:xfrm>
            <a:custGeom>
              <a:avLst/>
              <a:gdLst>
                <a:gd name="connsiteX0" fmla="*/ 5809 w 266634"/>
                <a:gd name="connsiteY0" fmla="*/ 32630 h 257998"/>
                <a:gd name="connsiteX1" fmla="*/ 234580 w 266634"/>
                <a:gd name="connsiteY1" fmla="*/ 252717 h 257998"/>
                <a:gd name="connsiteX2" fmla="*/ 261353 w 266634"/>
                <a:gd name="connsiteY2" fmla="*/ 252189 h 257998"/>
                <a:gd name="connsiteX3" fmla="*/ 260825 w 266634"/>
                <a:gd name="connsiteY3" fmla="*/ 225368 h 257998"/>
                <a:gd name="connsiteX4" fmla="*/ 32055 w 266634"/>
                <a:gd name="connsiteY4" fmla="*/ 5282 h 257998"/>
                <a:gd name="connsiteX5" fmla="*/ 5282 w 266634"/>
                <a:gd name="connsiteY5" fmla="*/ 5809 h 257998"/>
                <a:gd name="connsiteX6" fmla="*/ 5809 w 266634"/>
                <a:gd name="connsiteY6" fmla="*/ 32630 h 2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634" h="257998">
                  <a:moveTo>
                    <a:pt x="5809" y="32630"/>
                  </a:moveTo>
                  <a:lnTo>
                    <a:pt x="234580" y="252717"/>
                  </a:lnTo>
                  <a:cubicBezTo>
                    <a:pt x="242113" y="259962"/>
                    <a:pt x="254108" y="259722"/>
                    <a:pt x="261353" y="252189"/>
                  </a:cubicBezTo>
                  <a:cubicBezTo>
                    <a:pt x="268598" y="244656"/>
                    <a:pt x="268359" y="232661"/>
                    <a:pt x="260825" y="225368"/>
                  </a:cubicBezTo>
                  <a:lnTo>
                    <a:pt x="32055" y="5282"/>
                  </a:lnTo>
                  <a:cubicBezTo>
                    <a:pt x="24522" y="-1963"/>
                    <a:pt x="12527" y="-1724"/>
                    <a:pt x="5282" y="5809"/>
                  </a:cubicBezTo>
                  <a:cubicBezTo>
                    <a:pt x="-1964" y="13390"/>
                    <a:pt x="-1723" y="25385"/>
                    <a:pt x="5809" y="32630"/>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2" name="Freeform: Shape 71">
              <a:extLst>
                <a:ext uri="{FF2B5EF4-FFF2-40B4-BE49-F238E27FC236}">
                  <a16:creationId xmlns:a16="http://schemas.microsoft.com/office/drawing/2014/main" id="{8CB6FA60-1116-4908-A877-92857380F8F6}"/>
                </a:ext>
              </a:extLst>
            </p:cNvPr>
            <p:cNvSpPr/>
            <p:nvPr/>
          </p:nvSpPr>
          <p:spPr>
            <a:xfrm>
              <a:off x="6217148" y="643530"/>
              <a:ext cx="1481018" cy="1426465"/>
            </a:xfrm>
            <a:custGeom>
              <a:avLst/>
              <a:gdLst>
                <a:gd name="connsiteX0" fmla="*/ 5809 w 1481018"/>
                <a:gd name="connsiteY0" fmla="*/ 32630 h 1426465"/>
                <a:gd name="connsiteX1" fmla="*/ 1448964 w 1481018"/>
                <a:gd name="connsiteY1" fmla="*/ 1421184 h 1426465"/>
                <a:gd name="connsiteX2" fmla="*/ 1475737 w 1481018"/>
                <a:gd name="connsiteY2" fmla="*/ 1420656 h 1426465"/>
                <a:gd name="connsiteX3" fmla="*/ 1475209 w 1481018"/>
                <a:gd name="connsiteY3" fmla="*/ 1393883 h 1426465"/>
                <a:gd name="connsiteX4" fmla="*/ 32055 w 1481018"/>
                <a:gd name="connsiteY4" fmla="*/ 5282 h 1426465"/>
                <a:gd name="connsiteX5" fmla="*/ 5282 w 1481018"/>
                <a:gd name="connsiteY5" fmla="*/ 5809 h 1426465"/>
                <a:gd name="connsiteX6" fmla="*/ 5809 w 1481018"/>
                <a:gd name="connsiteY6" fmla="*/ 32630 h 142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1018" h="1426465">
                  <a:moveTo>
                    <a:pt x="5809" y="32630"/>
                  </a:moveTo>
                  <a:lnTo>
                    <a:pt x="1448964" y="1421184"/>
                  </a:lnTo>
                  <a:cubicBezTo>
                    <a:pt x="1456497" y="1428429"/>
                    <a:pt x="1468492" y="1428189"/>
                    <a:pt x="1475737" y="1420656"/>
                  </a:cubicBezTo>
                  <a:cubicBezTo>
                    <a:pt x="1482982" y="1413123"/>
                    <a:pt x="1482743" y="1401128"/>
                    <a:pt x="1475209" y="1393883"/>
                  </a:cubicBezTo>
                  <a:lnTo>
                    <a:pt x="32055" y="5282"/>
                  </a:lnTo>
                  <a:cubicBezTo>
                    <a:pt x="24522" y="-1963"/>
                    <a:pt x="12527" y="-1724"/>
                    <a:pt x="5282" y="5809"/>
                  </a:cubicBezTo>
                  <a:cubicBezTo>
                    <a:pt x="-1964" y="13342"/>
                    <a:pt x="-1723" y="25337"/>
                    <a:pt x="5809" y="32630"/>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3" name="Freeform: Shape 72">
              <a:extLst>
                <a:ext uri="{FF2B5EF4-FFF2-40B4-BE49-F238E27FC236}">
                  <a16:creationId xmlns:a16="http://schemas.microsoft.com/office/drawing/2014/main" id="{71E0BF7C-0CA7-4E63-A20D-26E39759CC40}"/>
                </a:ext>
              </a:extLst>
            </p:cNvPr>
            <p:cNvSpPr/>
            <p:nvPr/>
          </p:nvSpPr>
          <p:spPr>
            <a:xfrm>
              <a:off x="6376827" y="630816"/>
              <a:ext cx="1327997" cy="1279165"/>
            </a:xfrm>
            <a:custGeom>
              <a:avLst/>
              <a:gdLst>
                <a:gd name="connsiteX0" fmla="*/ 5809 w 1327997"/>
                <a:gd name="connsiteY0" fmla="*/ 32582 h 1279165"/>
                <a:gd name="connsiteX1" fmla="*/ 1295907 w 1327997"/>
                <a:gd name="connsiteY1" fmla="*/ 1273884 h 1279165"/>
                <a:gd name="connsiteX2" fmla="*/ 1322679 w 1327997"/>
                <a:gd name="connsiteY2" fmla="*/ 1273356 h 1279165"/>
                <a:gd name="connsiteX3" fmla="*/ 1322152 w 1327997"/>
                <a:gd name="connsiteY3" fmla="*/ 1246583 h 1279165"/>
                <a:gd name="connsiteX4" fmla="*/ 32054 w 1327997"/>
                <a:gd name="connsiteY4" fmla="*/ 5282 h 1279165"/>
                <a:gd name="connsiteX5" fmla="*/ 5282 w 1327997"/>
                <a:gd name="connsiteY5" fmla="*/ 5809 h 1279165"/>
                <a:gd name="connsiteX6" fmla="*/ 5809 w 1327997"/>
                <a:gd name="connsiteY6" fmla="*/ 32582 h 127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7997" h="1279165">
                  <a:moveTo>
                    <a:pt x="5809" y="32582"/>
                  </a:moveTo>
                  <a:lnTo>
                    <a:pt x="1295907" y="1273884"/>
                  </a:lnTo>
                  <a:cubicBezTo>
                    <a:pt x="1303439" y="1281129"/>
                    <a:pt x="1315434" y="1280889"/>
                    <a:pt x="1322679" y="1273356"/>
                  </a:cubicBezTo>
                  <a:cubicBezTo>
                    <a:pt x="1329973" y="1265823"/>
                    <a:pt x="1329733" y="1253828"/>
                    <a:pt x="1322152" y="1246583"/>
                  </a:cubicBezTo>
                  <a:lnTo>
                    <a:pt x="32054" y="5282"/>
                  </a:lnTo>
                  <a:cubicBezTo>
                    <a:pt x="24522" y="-1963"/>
                    <a:pt x="12527" y="-1724"/>
                    <a:pt x="5282" y="5809"/>
                  </a:cubicBezTo>
                  <a:cubicBezTo>
                    <a:pt x="-1964" y="13342"/>
                    <a:pt x="-1723" y="25289"/>
                    <a:pt x="5809" y="32582"/>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4" name="Freeform: Shape 73">
              <a:extLst>
                <a:ext uri="{FF2B5EF4-FFF2-40B4-BE49-F238E27FC236}">
                  <a16:creationId xmlns:a16="http://schemas.microsoft.com/office/drawing/2014/main" id="{12A88E23-5889-46B8-8301-2A75CD304CE9}"/>
                </a:ext>
              </a:extLst>
            </p:cNvPr>
            <p:cNvSpPr/>
            <p:nvPr/>
          </p:nvSpPr>
          <p:spPr>
            <a:xfrm>
              <a:off x="6560268" y="640939"/>
              <a:ext cx="1127379" cy="1086092"/>
            </a:xfrm>
            <a:custGeom>
              <a:avLst/>
              <a:gdLst>
                <a:gd name="connsiteX0" fmla="*/ 5845 w 1127379"/>
                <a:gd name="connsiteY0" fmla="*/ 32582 h 1086092"/>
                <a:gd name="connsiteX1" fmla="*/ 1095289 w 1127379"/>
                <a:gd name="connsiteY1" fmla="*/ 1080810 h 1086092"/>
                <a:gd name="connsiteX2" fmla="*/ 1122062 w 1127379"/>
                <a:gd name="connsiteY2" fmla="*/ 1080283 h 1086092"/>
                <a:gd name="connsiteX3" fmla="*/ 1121534 w 1127379"/>
                <a:gd name="connsiteY3" fmla="*/ 1053510 h 1086092"/>
                <a:gd name="connsiteX4" fmla="*/ 32138 w 1127379"/>
                <a:gd name="connsiteY4" fmla="*/ 5282 h 1086092"/>
                <a:gd name="connsiteX5" fmla="*/ 5318 w 1127379"/>
                <a:gd name="connsiteY5" fmla="*/ 5809 h 1086092"/>
                <a:gd name="connsiteX6" fmla="*/ 5845 w 1127379"/>
                <a:gd name="connsiteY6" fmla="*/ 32582 h 108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7379" h="1086092">
                  <a:moveTo>
                    <a:pt x="5845" y="32582"/>
                  </a:moveTo>
                  <a:lnTo>
                    <a:pt x="1095289" y="1080810"/>
                  </a:lnTo>
                  <a:cubicBezTo>
                    <a:pt x="1102821" y="1088056"/>
                    <a:pt x="1114865" y="1087816"/>
                    <a:pt x="1122062" y="1080283"/>
                  </a:cubicBezTo>
                  <a:cubicBezTo>
                    <a:pt x="1129355" y="1072750"/>
                    <a:pt x="1129115" y="1060755"/>
                    <a:pt x="1121534" y="1053510"/>
                  </a:cubicBezTo>
                  <a:lnTo>
                    <a:pt x="32138" y="5282"/>
                  </a:lnTo>
                  <a:cubicBezTo>
                    <a:pt x="24558" y="-1963"/>
                    <a:pt x="12563" y="-1724"/>
                    <a:pt x="5318" y="5809"/>
                  </a:cubicBezTo>
                  <a:cubicBezTo>
                    <a:pt x="-1976" y="13342"/>
                    <a:pt x="-1735" y="25289"/>
                    <a:pt x="5845" y="32582"/>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5" name="Freeform: Shape 74">
              <a:extLst>
                <a:ext uri="{FF2B5EF4-FFF2-40B4-BE49-F238E27FC236}">
                  <a16:creationId xmlns:a16="http://schemas.microsoft.com/office/drawing/2014/main" id="{D6B9258B-7921-4E40-8F1E-6CBF412508FF}"/>
                </a:ext>
              </a:extLst>
            </p:cNvPr>
            <p:cNvSpPr/>
            <p:nvPr/>
          </p:nvSpPr>
          <p:spPr>
            <a:xfrm>
              <a:off x="6074262" y="672463"/>
              <a:ext cx="1600538" cy="1541426"/>
            </a:xfrm>
            <a:custGeom>
              <a:avLst/>
              <a:gdLst>
                <a:gd name="connsiteX0" fmla="*/ 5810 w 1600538"/>
                <a:gd name="connsiteY0" fmla="*/ 32582 h 1541426"/>
                <a:gd name="connsiteX1" fmla="*/ 1568484 w 1600538"/>
                <a:gd name="connsiteY1" fmla="*/ 1536145 h 1541426"/>
                <a:gd name="connsiteX2" fmla="*/ 1595256 w 1600538"/>
                <a:gd name="connsiteY2" fmla="*/ 1535617 h 1541426"/>
                <a:gd name="connsiteX3" fmla="*/ 1594729 w 1600538"/>
                <a:gd name="connsiteY3" fmla="*/ 1508844 h 1541426"/>
                <a:gd name="connsiteX4" fmla="*/ 32055 w 1600538"/>
                <a:gd name="connsiteY4" fmla="*/ 5282 h 1541426"/>
                <a:gd name="connsiteX5" fmla="*/ 5281 w 1600538"/>
                <a:gd name="connsiteY5" fmla="*/ 5809 h 1541426"/>
                <a:gd name="connsiteX6" fmla="*/ 5810 w 1600538"/>
                <a:gd name="connsiteY6" fmla="*/ 32582 h 1541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0538" h="1541426">
                  <a:moveTo>
                    <a:pt x="5810" y="32582"/>
                  </a:moveTo>
                  <a:lnTo>
                    <a:pt x="1568484" y="1536145"/>
                  </a:lnTo>
                  <a:cubicBezTo>
                    <a:pt x="1576016" y="1543390"/>
                    <a:pt x="1588011" y="1543150"/>
                    <a:pt x="1595256" y="1535617"/>
                  </a:cubicBezTo>
                  <a:cubicBezTo>
                    <a:pt x="1602502" y="1528084"/>
                    <a:pt x="1602262" y="1516089"/>
                    <a:pt x="1594729" y="1508844"/>
                  </a:cubicBezTo>
                  <a:lnTo>
                    <a:pt x="32055" y="5282"/>
                  </a:lnTo>
                  <a:cubicBezTo>
                    <a:pt x="24522" y="-1963"/>
                    <a:pt x="12527" y="-1724"/>
                    <a:pt x="5281" y="5809"/>
                  </a:cubicBezTo>
                  <a:cubicBezTo>
                    <a:pt x="-1964" y="13342"/>
                    <a:pt x="-1723" y="25337"/>
                    <a:pt x="5810" y="32582"/>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6" name="Freeform: Shape 75">
              <a:extLst>
                <a:ext uri="{FF2B5EF4-FFF2-40B4-BE49-F238E27FC236}">
                  <a16:creationId xmlns:a16="http://schemas.microsoft.com/office/drawing/2014/main" id="{399B2C2D-A3E8-4A3D-9055-48A3A450ACC0}"/>
                </a:ext>
              </a:extLst>
            </p:cNvPr>
            <p:cNvSpPr/>
            <p:nvPr/>
          </p:nvSpPr>
          <p:spPr>
            <a:xfrm>
              <a:off x="5526518" y="977486"/>
              <a:ext cx="1864574" cy="1795554"/>
            </a:xfrm>
            <a:custGeom>
              <a:avLst/>
              <a:gdLst>
                <a:gd name="connsiteX0" fmla="*/ 5809 w 1864574"/>
                <a:gd name="connsiteY0" fmla="*/ 32618 h 1795554"/>
                <a:gd name="connsiteX1" fmla="*/ 1832520 w 1864574"/>
                <a:gd name="connsiteY1" fmla="*/ 1790237 h 1795554"/>
                <a:gd name="connsiteX2" fmla="*/ 1859292 w 1864574"/>
                <a:gd name="connsiteY2" fmla="*/ 1789709 h 1795554"/>
                <a:gd name="connsiteX3" fmla="*/ 1858765 w 1864574"/>
                <a:gd name="connsiteY3" fmla="*/ 1762936 h 1795554"/>
                <a:gd name="connsiteX4" fmla="*/ 32103 w 1864574"/>
                <a:gd name="connsiteY4" fmla="*/ 5318 h 1795554"/>
                <a:gd name="connsiteX5" fmla="*/ 5282 w 1864574"/>
                <a:gd name="connsiteY5" fmla="*/ 5845 h 1795554"/>
                <a:gd name="connsiteX6" fmla="*/ 5809 w 1864574"/>
                <a:gd name="connsiteY6" fmla="*/ 32618 h 179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4574" h="1795554">
                  <a:moveTo>
                    <a:pt x="5809" y="32618"/>
                  </a:moveTo>
                  <a:lnTo>
                    <a:pt x="1832520" y="1790237"/>
                  </a:lnTo>
                  <a:cubicBezTo>
                    <a:pt x="1840052" y="1797530"/>
                    <a:pt x="1852047" y="1797290"/>
                    <a:pt x="1859292" y="1789709"/>
                  </a:cubicBezTo>
                  <a:cubicBezTo>
                    <a:pt x="1866538" y="1782176"/>
                    <a:pt x="1866298" y="1770181"/>
                    <a:pt x="1858765" y="1762936"/>
                  </a:cubicBezTo>
                  <a:lnTo>
                    <a:pt x="32103" y="5318"/>
                  </a:lnTo>
                  <a:cubicBezTo>
                    <a:pt x="24522" y="-1975"/>
                    <a:pt x="12527" y="-1736"/>
                    <a:pt x="5282" y="5845"/>
                  </a:cubicBezTo>
                  <a:cubicBezTo>
                    <a:pt x="-1963" y="13378"/>
                    <a:pt x="-1724" y="25325"/>
                    <a:pt x="5809" y="32618"/>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7" name="Freeform: Shape 76">
              <a:extLst>
                <a:ext uri="{FF2B5EF4-FFF2-40B4-BE49-F238E27FC236}">
                  <a16:creationId xmlns:a16="http://schemas.microsoft.com/office/drawing/2014/main" id="{98CAB93B-3D88-4090-875F-CC583AE57E8E}"/>
                </a:ext>
              </a:extLst>
            </p:cNvPr>
            <p:cNvSpPr/>
            <p:nvPr/>
          </p:nvSpPr>
          <p:spPr>
            <a:xfrm>
              <a:off x="5617801" y="898930"/>
              <a:ext cx="1848284" cy="1779792"/>
            </a:xfrm>
            <a:custGeom>
              <a:avLst/>
              <a:gdLst>
                <a:gd name="connsiteX0" fmla="*/ 5833 w 1848284"/>
                <a:gd name="connsiteY0" fmla="*/ 32582 h 1779792"/>
                <a:gd name="connsiteX1" fmla="*/ 1816230 w 1848284"/>
                <a:gd name="connsiteY1" fmla="*/ 1774511 h 1779792"/>
                <a:gd name="connsiteX2" fmla="*/ 1843003 w 1848284"/>
                <a:gd name="connsiteY2" fmla="*/ 1773984 h 1779792"/>
                <a:gd name="connsiteX3" fmla="*/ 1842475 w 1848284"/>
                <a:gd name="connsiteY3" fmla="*/ 1747210 h 1779792"/>
                <a:gd name="connsiteX4" fmla="*/ 32079 w 1848284"/>
                <a:gd name="connsiteY4" fmla="*/ 5282 h 1779792"/>
                <a:gd name="connsiteX5" fmla="*/ 5258 w 1848284"/>
                <a:gd name="connsiteY5" fmla="*/ 5809 h 1779792"/>
                <a:gd name="connsiteX6" fmla="*/ 5833 w 1848284"/>
                <a:gd name="connsiteY6" fmla="*/ 32582 h 177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8284" h="1779792">
                  <a:moveTo>
                    <a:pt x="5833" y="32582"/>
                  </a:moveTo>
                  <a:lnTo>
                    <a:pt x="1816230" y="1774511"/>
                  </a:lnTo>
                  <a:cubicBezTo>
                    <a:pt x="1823763" y="1781756"/>
                    <a:pt x="1835806" y="1781517"/>
                    <a:pt x="1843003" y="1773984"/>
                  </a:cubicBezTo>
                  <a:cubicBezTo>
                    <a:pt x="1850248" y="1766451"/>
                    <a:pt x="1850009" y="1754456"/>
                    <a:pt x="1842475" y="1747210"/>
                  </a:cubicBezTo>
                  <a:lnTo>
                    <a:pt x="32079" y="5282"/>
                  </a:lnTo>
                  <a:cubicBezTo>
                    <a:pt x="24545" y="-1963"/>
                    <a:pt x="12502" y="-1724"/>
                    <a:pt x="5258" y="5809"/>
                  </a:cubicBezTo>
                  <a:cubicBezTo>
                    <a:pt x="-1939" y="13342"/>
                    <a:pt x="-1748" y="25337"/>
                    <a:pt x="5833" y="32582"/>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8" name="Freeform: Shape 77">
              <a:extLst>
                <a:ext uri="{FF2B5EF4-FFF2-40B4-BE49-F238E27FC236}">
                  <a16:creationId xmlns:a16="http://schemas.microsoft.com/office/drawing/2014/main" id="{F0CF85F8-6337-444D-9852-63B51FEF8795}"/>
                </a:ext>
              </a:extLst>
            </p:cNvPr>
            <p:cNvSpPr/>
            <p:nvPr/>
          </p:nvSpPr>
          <p:spPr>
            <a:xfrm>
              <a:off x="5944661" y="714205"/>
              <a:ext cx="1693422" cy="1630849"/>
            </a:xfrm>
            <a:custGeom>
              <a:avLst/>
              <a:gdLst>
                <a:gd name="connsiteX0" fmla="*/ 5816 w 1693422"/>
                <a:gd name="connsiteY0" fmla="*/ 32582 h 1630849"/>
                <a:gd name="connsiteX1" fmla="*/ 1661332 w 1693422"/>
                <a:gd name="connsiteY1" fmla="*/ 1625532 h 1630849"/>
                <a:gd name="connsiteX2" fmla="*/ 1688105 w 1693422"/>
                <a:gd name="connsiteY2" fmla="*/ 1625004 h 1630849"/>
                <a:gd name="connsiteX3" fmla="*/ 1687577 w 1693422"/>
                <a:gd name="connsiteY3" fmla="*/ 1598231 h 1630849"/>
                <a:gd name="connsiteX4" fmla="*/ 32061 w 1693422"/>
                <a:gd name="connsiteY4" fmla="*/ 5282 h 1630849"/>
                <a:gd name="connsiteX5" fmla="*/ 5240 w 1693422"/>
                <a:gd name="connsiteY5" fmla="*/ 5809 h 1630849"/>
                <a:gd name="connsiteX6" fmla="*/ 5816 w 1693422"/>
                <a:gd name="connsiteY6" fmla="*/ 32582 h 1630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3422" h="1630849">
                  <a:moveTo>
                    <a:pt x="5816" y="32582"/>
                  </a:moveTo>
                  <a:lnTo>
                    <a:pt x="1661332" y="1625532"/>
                  </a:lnTo>
                  <a:cubicBezTo>
                    <a:pt x="1668865" y="1632825"/>
                    <a:pt x="1680908" y="1632585"/>
                    <a:pt x="1688105" y="1625004"/>
                  </a:cubicBezTo>
                  <a:cubicBezTo>
                    <a:pt x="1695398" y="1617471"/>
                    <a:pt x="1695158" y="1605428"/>
                    <a:pt x="1687577" y="1598231"/>
                  </a:cubicBezTo>
                  <a:lnTo>
                    <a:pt x="32061" y="5282"/>
                  </a:lnTo>
                  <a:cubicBezTo>
                    <a:pt x="24480" y="-1963"/>
                    <a:pt x="12485" y="-1724"/>
                    <a:pt x="5240" y="5809"/>
                  </a:cubicBezTo>
                  <a:cubicBezTo>
                    <a:pt x="-1957" y="13342"/>
                    <a:pt x="-1717" y="25337"/>
                    <a:pt x="5816" y="32582"/>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9" name="Freeform: Shape 78">
              <a:extLst>
                <a:ext uri="{FF2B5EF4-FFF2-40B4-BE49-F238E27FC236}">
                  <a16:creationId xmlns:a16="http://schemas.microsoft.com/office/drawing/2014/main" id="{BB5C22A2-B170-4DE0-B83B-5996C036776F}"/>
                </a:ext>
              </a:extLst>
            </p:cNvPr>
            <p:cNvSpPr/>
            <p:nvPr/>
          </p:nvSpPr>
          <p:spPr>
            <a:xfrm>
              <a:off x="5717505" y="828447"/>
              <a:ext cx="1815177" cy="1747969"/>
            </a:xfrm>
            <a:custGeom>
              <a:avLst/>
              <a:gdLst>
                <a:gd name="connsiteX0" fmla="*/ 5784 w 1815177"/>
                <a:gd name="connsiteY0" fmla="*/ 32582 h 1747969"/>
                <a:gd name="connsiteX1" fmla="*/ 1783075 w 1815177"/>
                <a:gd name="connsiteY1" fmla="*/ 1742652 h 1747969"/>
                <a:gd name="connsiteX2" fmla="*/ 1809896 w 1815177"/>
                <a:gd name="connsiteY2" fmla="*/ 1742124 h 1747969"/>
                <a:gd name="connsiteX3" fmla="*/ 1809368 w 1815177"/>
                <a:gd name="connsiteY3" fmla="*/ 1715351 h 1747969"/>
                <a:gd name="connsiteX4" fmla="*/ 32126 w 1815177"/>
                <a:gd name="connsiteY4" fmla="*/ 5282 h 1747969"/>
                <a:gd name="connsiteX5" fmla="*/ 5305 w 1815177"/>
                <a:gd name="connsiteY5" fmla="*/ 5809 h 1747969"/>
                <a:gd name="connsiteX6" fmla="*/ 5784 w 1815177"/>
                <a:gd name="connsiteY6" fmla="*/ 32582 h 1747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177" h="1747969">
                  <a:moveTo>
                    <a:pt x="5784" y="32582"/>
                  </a:moveTo>
                  <a:lnTo>
                    <a:pt x="1783075" y="1742652"/>
                  </a:lnTo>
                  <a:cubicBezTo>
                    <a:pt x="1790656" y="1749945"/>
                    <a:pt x="1802651" y="1749705"/>
                    <a:pt x="1809896" y="1742124"/>
                  </a:cubicBezTo>
                  <a:cubicBezTo>
                    <a:pt x="1817141" y="1734592"/>
                    <a:pt x="1816901" y="1722596"/>
                    <a:pt x="1809368" y="1715351"/>
                  </a:cubicBezTo>
                  <a:lnTo>
                    <a:pt x="32126" y="5282"/>
                  </a:lnTo>
                  <a:cubicBezTo>
                    <a:pt x="24545" y="-1963"/>
                    <a:pt x="12550" y="-1724"/>
                    <a:pt x="5305" y="5809"/>
                  </a:cubicBezTo>
                  <a:cubicBezTo>
                    <a:pt x="-1940" y="13342"/>
                    <a:pt x="-1748" y="25289"/>
                    <a:pt x="5784" y="32582"/>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0" name="Freeform: Shape 79">
              <a:extLst>
                <a:ext uri="{FF2B5EF4-FFF2-40B4-BE49-F238E27FC236}">
                  <a16:creationId xmlns:a16="http://schemas.microsoft.com/office/drawing/2014/main" id="{E3F563EB-4373-4639-AB6B-F50EB30B9B97}"/>
                </a:ext>
              </a:extLst>
            </p:cNvPr>
            <p:cNvSpPr/>
            <p:nvPr/>
          </p:nvSpPr>
          <p:spPr>
            <a:xfrm>
              <a:off x="5826149" y="766582"/>
              <a:ext cx="1764109" cy="1698868"/>
            </a:xfrm>
            <a:custGeom>
              <a:avLst/>
              <a:gdLst>
                <a:gd name="connsiteX0" fmla="*/ 5816 w 1764109"/>
                <a:gd name="connsiteY0" fmla="*/ 32601 h 1698868"/>
                <a:gd name="connsiteX1" fmla="*/ 1732055 w 1764109"/>
                <a:gd name="connsiteY1" fmla="*/ 1693587 h 1698868"/>
                <a:gd name="connsiteX2" fmla="*/ 1758828 w 1764109"/>
                <a:gd name="connsiteY2" fmla="*/ 1693059 h 1698868"/>
                <a:gd name="connsiteX3" fmla="*/ 1758300 w 1764109"/>
                <a:gd name="connsiteY3" fmla="*/ 1666286 h 1698868"/>
                <a:gd name="connsiteX4" fmla="*/ 32061 w 1764109"/>
                <a:gd name="connsiteY4" fmla="*/ 5300 h 1698868"/>
                <a:gd name="connsiteX5" fmla="*/ 5240 w 1764109"/>
                <a:gd name="connsiteY5" fmla="*/ 5828 h 1698868"/>
                <a:gd name="connsiteX6" fmla="*/ 5816 w 1764109"/>
                <a:gd name="connsiteY6" fmla="*/ 32601 h 1698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4109" h="1698868">
                  <a:moveTo>
                    <a:pt x="5816" y="32601"/>
                  </a:moveTo>
                  <a:lnTo>
                    <a:pt x="1732055" y="1693587"/>
                  </a:lnTo>
                  <a:cubicBezTo>
                    <a:pt x="1739588" y="1700832"/>
                    <a:pt x="1751583" y="1700592"/>
                    <a:pt x="1758828" y="1693059"/>
                  </a:cubicBezTo>
                  <a:cubicBezTo>
                    <a:pt x="1766073" y="1685526"/>
                    <a:pt x="1765834" y="1673483"/>
                    <a:pt x="1758300" y="1666286"/>
                  </a:cubicBezTo>
                  <a:lnTo>
                    <a:pt x="32061" y="5300"/>
                  </a:lnTo>
                  <a:cubicBezTo>
                    <a:pt x="24480" y="-1993"/>
                    <a:pt x="12485" y="-1705"/>
                    <a:pt x="5240" y="5828"/>
                  </a:cubicBezTo>
                  <a:cubicBezTo>
                    <a:pt x="-1957" y="13361"/>
                    <a:pt x="-1717" y="25356"/>
                    <a:pt x="5816" y="32601"/>
                  </a:cubicBezTo>
                </a:path>
              </a:pathLst>
            </a:custGeom>
            <a:grp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35" name="Freeform: Shape 34">
            <a:extLst>
              <a:ext uri="{FF2B5EF4-FFF2-40B4-BE49-F238E27FC236}">
                <a16:creationId xmlns:a16="http://schemas.microsoft.com/office/drawing/2014/main" id="{3351FB14-A457-473E-8650-614833B4C2AD}"/>
              </a:ext>
            </a:extLst>
          </p:cNvPr>
          <p:cNvSpPr/>
          <p:nvPr/>
        </p:nvSpPr>
        <p:spPr>
          <a:xfrm>
            <a:off x="1439017" y="2249880"/>
            <a:ext cx="1228272" cy="1228271"/>
          </a:xfrm>
          <a:custGeom>
            <a:avLst/>
            <a:gdLst>
              <a:gd name="connsiteX0" fmla="*/ 3141730 w 3141730"/>
              <a:gd name="connsiteY0" fmla="*/ 1570865 h 3141730"/>
              <a:gd name="connsiteX1" fmla="*/ 1570865 w 3141730"/>
              <a:gd name="connsiteY1" fmla="*/ 3141731 h 3141730"/>
              <a:gd name="connsiteX2" fmla="*/ -1 w 3141730"/>
              <a:gd name="connsiteY2" fmla="*/ 1570865 h 3141730"/>
              <a:gd name="connsiteX3" fmla="*/ 1570865 w 3141730"/>
              <a:gd name="connsiteY3" fmla="*/ 0 h 3141730"/>
              <a:gd name="connsiteX4" fmla="*/ 3141730 w 3141730"/>
              <a:gd name="connsiteY4" fmla="*/ 1570865 h 314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1730" h="3141730">
                <a:moveTo>
                  <a:pt x="3141730" y="1570865"/>
                </a:moveTo>
                <a:cubicBezTo>
                  <a:pt x="3141730" y="2438430"/>
                  <a:pt x="2438430" y="3141731"/>
                  <a:pt x="1570865" y="3141731"/>
                </a:cubicBezTo>
                <a:cubicBezTo>
                  <a:pt x="703300" y="3141731"/>
                  <a:pt x="-1" y="2438430"/>
                  <a:pt x="-1" y="1570865"/>
                </a:cubicBezTo>
                <a:cubicBezTo>
                  <a:pt x="-1" y="703300"/>
                  <a:pt x="703300" y="0"/>
                  <a:pt x="1570865" y="0"/>
                </a:cubicBezTo>
                <a:cubicBezTo>
                  <a:pt x="2438430" y="0"/>
                  <a:pt x="3141730" y="703300"/>
                  <a:pt x="3141730" y="1570865"/>
                </a:cubicBezTo>
                <a:close/>
              </a:path>
            </a:pathLst>
          </a:custGeom>
          <a:solidFill>
            <a:srgbClr val="6CBE4C"/>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pic>
        <p:nvPicPr>
          <p:cNvPr id="20" name="Picture 19" descr="Smoke coming from it&#10;&#10;Description automatically generated">
            <a:extLst>
              <a:ext uri="{FF2B5EF4-FFF2-40B4-BE49-F238E27FC236}">
                <a16:creationId xmlns:a16="http://schemas.microsoft.com/office/drawing/2014/main" id="{17766FE1-D70E-457D-8C13-6E547AD51E3D}"/>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a:stretch/>
        </p:blipFill>
        <p:spPr>
          <a:xfrm rot="18000000">
            <a:off x="924856" y="2250136"/>
            <a:ext cx="2182968" cy="1189533"/>
          </a:xfrm>
          <a:prstGeom prst="rect">
            <a:avLst/>
          </a:prstGeom>
        </p:spPr>
      </p:pic>
      <p:sp>
        <p:nvSpPr>
          <p:cNvPr id="22" name="Freeform: Shape 21">
            <a:extLst>
              <a:ext uri="{FF2B5EF4-FFF2-40B4-BE49-F238E27FC236}">
                <a16:creationId xmlns:a16="http://schemas.microsoft.com/office/drawing/2014/main" id="{EE10E853-3BAC-43B3-A59A-B8AC625BFC75}"/>
              </a:ext>
            </a:extLst>
          </p:cNvPr>
          <p:cNvSpPr/>
          <p:nvPr/>
        </p:nvSpPr>
        <p:spPr>
          <a:xfrm rot="19884748">
            <a:off x="1184236" y="2128274"/>
            <a:ext cx="527583" cy="986970"/>
          </a:xfrm>
          <a:custGeom>
            <a:avLst/>
            <a:gdLst>
              <a:gd name="connsiteX0" fmla="*/ 0 w 656476"/>
              <a:gd name="connsiteY0" fmla="*/ 44270 h 1228097"/>
              <a:gd name="connsiteX1" fmla="*/ 0 w 656476"/>
              <a:gd name="connsiteY1" fmla="*/ 1183829 h 1228097"/>
              <a:gd name="connsiteX2" fmla="*/ 75455 w 656476"/>
              <a:gd name="connsiteY2" fmla="*/ 1215075 h 1228097"/>
              <a:gd name="connsiteX3" fmla="*/ 643521 w 656476"/>
              <a:gd name="connsiteY3" fmla="*/ 647009 h 1228097"/>
              <a:gd name="connsiteX4" fmla="*/ 643627 w 656476"/>
              <a:gd name="connsiteY4" fmla="*/ 584622 h 1228097"/>
              <a:gd name="connsiteX5" fmla="*/ 75560 w 656476"/>
              <a:gd name="connsiteY5" fmla="*/ 13130 h 1228097"/>
              <a:gd name="connsiteX6" fmla="*/ 0 w 656476"/>
              <a:gd name="connsiteY6" fmla="*/ 44270 h 122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476" h="1228097">
                <a:moveTo>
                  <a:pt x="0" y="44270"/>
                </a:moveTo>
                <a:lnTo>
                  <a:pt x="0" y="1183829"/>
                </a:lnTo>
                <a:cubicBezTo>
                  <a:pt x="0" y="1223190"/>
                  <a:pt x="47581" y="1242896"/>
                  <a:pt x="75455" y="1215075"/>
                </a:cubicBezTo>
                <a:lnTo>
                  <a:pt x="643521" y="647009"/>
                </a:lnTo>
                <a:cubicBezTo>
                  <a:pt x="660751" y="629778"/>
                  <a:pt x="660804" y="601852"/>
                  <a:pt x="643627" y="584622"/>
                </a:cubicBezTo>
                <a:lnTo>
                  <a:pt x="75560" y="13130"/>
                </a:lnTo>
                <a:cubicBezTo>
                  <a:pt x="47739" y="-14849"/>
                  <a:pt x="0" y="4857"/>
                  <a:pt x="0" y="44270"/>
                </a:cubicBezTo>
                <a:close/>
              </a:path>
            </a:pathLst>
          </a:custGeom>
          <a:solidFill>
            <a:srgbClr val="21BDEA"/>
          </a:solidFill>
          <a:ln w="5266"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pic>
        <p:nvPicPr>
          <p:cNvPr id="19" name="Picture 18" descr="A picture containing person, sport, game, standing&#10;&#10;Description automatically generated">
            <a:extLst>
              <a:ext uri="{FF2B5EF4-FFF2-40B4-BE49-F238E27FC236}">
                <a16:creationId xmlns:a16="http://schemas.microsoft.com/office/drawing/2014/main" id="{EE33382F-B174-4574-A127-EABAE5A633D0}"/>
              </a:ext>
            </a:extLst>
          </p:cNvPr>
          <p:cNvPicPr>
            <a:picLocks noChangeAspect="1"/>
          </p:cNvPicPr>
          <p:nvPr/>
        </p:nvPicPr>
        <p:blipFill>
          <a:blip r:embed="rId4" cstate="screen">
            <a:alphaModFix/>
            <a:extLst>
              <a:ext uri="{28A0092B-C50C-407E-A947-70E740481C1C}">
                <a14:useLocalDpi xmlns:a14="http://schemas.microsoft.com/office/drawing/2010/main"/>
              </a:ext>
            </a:extLst>
          </a:blip>
          <a:stretch>
            <a:fillRect/>
          </a:stretch>
        </p:blipFill>
        <p:spPr>
          <a:xfrm>
            <a:off x="1193386" y="2122018"/>
            <a:ext cx="915201" cy="1386182"/>
          </a:xfrm>
          <a:prstGeom prst="rect">
            <a:avLst/>
          </a:prstGeom>
        </p:spPr>
      </p:pic>
      <p:pic>
        <p:nvPicPr>
          <p:cNvPr id="34" name="Picture 33" descr="A picture containing person, sport, game, standing&#10;&#10;Description automatically generated">
            <a:extLst>
              <a:ext uri="{FF2B5EF4-FFF2-40B4-BE49-F238E27FC236}">
                <a16:creationId xmlns:a16="http://schemas.microsoft.com/office/drawing/2014/main" id="{46708213-6AF9-4A6C-8A28-4781F6A588EE}"/>
              </a:ext>
            </a:extLst>
          </p:cNvPr>
          <p:cNvPicPr>
            <a:picLocks noChangeAspect="1"/>
          </p:cNvPicPr>
          <p:nvPr/>
        </p:nvPicPr>
        <p:blipFill>
          <a:blip r:embed="rId5" cstate="screen">
            <a:alphaModFix/>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a:xfrm>
            <a:off x="1193386" y="2340959"/>
            <a:ext cx="491262" cy="827630"/>
          </a:xfrm>
          <a:custGeom>
            <a:avLst/>
            <a:gdLst>
              <a:gd name="connsiteX0" fmla="*/ 0 w 649920"/>
              <a:gd name="connsiteY0" fmla="*/ 0 h 1094922"/>
              <a:gd name="connsiteX1" fmla="*/ 616352 w 649920"/>
              <a:gd name="connsiteY1" fmla="*/ 183563 h 1094922"/>
              <a:gd name="connsiteX2" fmla="*/ 647992 w 649920"/>
              <a:gd name="connsiteY2" fmla="*/ 241861 h 1094922"/>
              <a:gd name="connsiteX3" fmla="*/ 406653 w 649920"/>
              <a:gd name="connsiteY3" fmla="*/ 1061202 h 1094922"/>
              <a:gd name="connsiteX4" fmla="*/ 320313 w 649920"/>
              <a:gd name="connsiteY4" fmla="*/ 1070418 h 1094922"/>
              <a:gd name="connsiteX5" fmla="*/ 0 w 649920"/>
              <a:gd name="connsiteY5" fmla="*/ 482618 h 1094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9920" h="1094922">
                <a:moveTo>
                  <a:pt x="0" y="0"/>
                </a:moveTo>
                <a:lnTo>
                  <a:pt x="616352" y="183563"/>
                </a:lnTo>
                <a:cubicBezTo>
                  <a:pt x="641154" y="190910"/>
                  <a:pt x="655312" y="217009"/>
                  <a:pt x="647992" y="241861"/>
                </a:cubicBezTo>
                <a:lnTo>
                  <a:pt x="406653" y="1061202"/>
                </a:lnTo>
                <a:cubicBezTo>
                  <a:pt x="394784" y="1101356"/>
                  <a:pt x="340338" y="1107165"/>
                  <a:pt x="320313" y="1070418"/>
                </a:cubicBezTo>
                <a:lnTo>
                  <a:pt x="0" y="482618"/>
                </a:lnTo>
                <a:close/>
              </a:path>
            </a:pathLst>
          </a:custGeom>
        </p:spPr>
      </p:pic>
      <p:grpSp>
        <p:nvGrpSpPr>
          <p:cNvPr id="37" name="Graphic 6">
            <a:extLst>
              <a:ext uri="{FF2B5EF4-FFF2-40B4-BE49-F238E27FC236}">
                <a16:creationId xmlns:a16="http://schemas.microsoft.com/office/drawing/2014/main" id="{850A3D1B-E372-4642-BF48-509780A56367}"/>
              </a:ext>
            </a:extLst>
          </p:cNvPr>
          <p:cNvGrpSpPr/>
          <p:nvPr/>
        </p:nvGrpSpPr>
        <p:grpSpPr>
          <a:xfrm>
            <a:off x="1938181" y="2666723"/>
            <a:ext cx="71388" cy="71388"/>
            <a:chOff x="4687034" y="2111775"/>
            <a:chExt cx="94443" cy="94443"/>
          </a:xfrm>
          <a:solidFill>
            <a:schemeClr val="accent1"/>
          </a:solidFill>
        </p:grpSpPr>
        <p:sp>
          <p:nvSpPr>
            <p:cNvPr id="56" name="Freeform: Shape 55">
              <a:extLst>
                <a:ext uri="{FF2B5EF4-FFF2-40B4-BE49-F238E27FC236}">
                  <a16:creationId xmlns:a16="http://schemas.microsoft.com/office/drawing/2014/main" id="{B300C96A-E882-46E1-8724-B9B679B9B637}"/>
                </a:ext>
              </a:extLst>
            </p:cNvPr>
            <p:cNvSpPr/>
            <p:nvPr/>
          </p:nvSpPr>
          <p:spPr>
            <a:xfrm>
              <a:off x="4687034" y="2112863"/>
              <a:ext cx="94443" cy="92268"/>
            </a:xfrm>
            <a:custGeom>
              <a:avLst/>
              <a:gdLst>
                <a:gd name="connsiteX0" fmla="*/ 3945 w 94443"/>
                <a:gd name="connsiteY0" fmla="*/ 4256 h 92268"/>
                <a:gd name="connsiteX1" fmla="*/ 3945 w 94443"/>
                <a:gd name="connsiteY1" fmla="*/ 4256 h 92268"/>
                <a:gd name="connsiteX2" fmla="*/ 23835 w 94443"/>
                <a:gd name="connsiteY2" fmla="*/ 3945 h 92268"/>
                <a:gd name="connsiteX3" fmla="*/ 90188 w 94443"/>
                <a:gd name="connsiteY3" fmla="*/ 68122 h 92268"/>
                <a:gd name="connsiteX4" fmla="*/ 90499 w 94443"/>
                <a:gd name="connsiteY4" fmla="*/ 88013 h 92268"/>
                <a:gd name="connsiteX5" fmla="*/ 90499 w 94443"/>
                <a:gd name="connsiteY5" fmla="*/ 88013 h 92268"/>
                <a:gd name="connsiteX6" fmla="*/ 70609 w 94443"/>
                <a:gd name="connsiteY6" fmla="*/ 88323 h 92268"/>
                <a:gd name="connsiteX7" fmla="*/ 4256 w 94443"/>
                <a:gd name="connsiteY7" fmla="*/ 24146 h 92268"/>
                <a:gd name="connsiteX8" fmla="*/ 3945 w 94443"/>
                <a:gd name="connsiteY8" fmla="*/ 4256 h 92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43" h="92268">
                  <a:moveTo>
                    <a:pt x="3945" y="4256"/>
                  </a:moveTo>
                  <a:lnTo>
                    <a:pt x="3945" y="4256"/>
                  </a:lnTo>
                  <a:cubicBezTo>
                    <a:pt x="9332" y="-1287"/>
                    <a:pt x="18293" y="-1442"/>
                    <a:pt x="23835" y="3945"/>
                  </a:cubicBezTo>
                  <a:lnTo>
                    <a:pt x="90188" y="68122"/>
                  </a:lnTo>
                  <a:cubicBezTo>
                    <a:pt x="95730" y="73509"/>
                    <a:pt x="95885" y="82470"/>
                    <a:pt x="90499" y="88013"/>
                  </a:cubicBezTo>
                  <a:lnTo>
                    <a:pt x="90499" y="88013"/>
                  </a:lnTo>
                  <a:cubicBezTo>
                    <a:pt x="85112" y="93555"/>
                    <a:pt x="76151" y="93710"/>
                    <a:pt x="70609" y="88323"/>
                  </a:cubicBezTo>
                  <a:lnTo>
                    <a:pt x="4256" y="24146"/>
                  </a:lnTo>
                  <a:cubicBezTo>
                    <a:pt x="-1287" y="18811"/>
                    <a:pt x="-1442" y="9850"/>
                    <a:pt x="3945" y="4256"/>
                  </a:cubicBezTo>
                  <a:close/>
                </a:path>
              </a:pathLst>
            </a:custGeom>
            <a:grp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7" name="Freeform: Shape 56">
              <a:extLst>
                <a:ext uri="{FF2B5EF4-FFF2-40B4-BE49-F238E27FC236}">
                  <a16:creationId xmlns:a16="http://schemas.microsoft.com/office/drawing/2014/main" id="{74480B42-43B6-4BEC-97FA-9A5682376253}"/>
                </a:ext>
              </a:extLst>
            </p:cNvPr>
            <p:cNvSpPr/>
            <p:nvPr/>
          </p:nvSpPr>
          <p:spPr>
            <a:xfrm>
              <a:off x="4688173" y="2111775"/>
              <a:ext cx="92268" cy="94443"/>
            </a:xfrm>
            <a:custGeom>
              <a:avLst/>
              <a:gdLst>
                <a:gd name="connsiteX0" fmla="*/ 88012 w 92268"/>
                <a:gd name="connsiteY0" fmla="*/ 3945 h 94443"/>
                <a:gd name="connsiteX1" fmla="*/ 88012 w 92268"/>
                <a:gd name="connsiteY1" fmla="*/ 3945 h 94443"/>
                <a:gd name="connsiteX2" fmla="*/ 88323 w 92268"/>
                <a:gd name="connsiteY2" fmla="*/ 23835 h 94443"/>
                <a:gd name="connsiteX3" fmla="*/ 24146 w 92268"/>
                <a:gd name="connsiteY3" fmla="*/ 90188 h 94443"/>
                <a:gd name="connsiteX4" fmla="*/ 4256 w 92268"/>
                <a:gd name="connsiteY4" fmla="*/ 90499 h 94443"/>
                <a:gd name="connsiteX5" fmla="*/ 4256 w 92268"/>
                <a:gd name="connsiteY5" fmla="*/ 90499 h 94443"/>
                <a:gd name="connsiteX6" fmla="*/ 3945 w 92268"/>
                <a:gd name="connsiteY6" fmla="*/ 70608 h 94443"/>
                <a:gd name="connsiteX7" fmla="*/ 68122 w 92268"/>
                <a:gd name="connsiteY7" fmla="*/ 4256 h 94443"/>
                <a:gd name="connsiteX8" fmla="*/ 88012 w 92268"/>
                <a:gd name="connsiteY8" fmla="*/ 3945 h 9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268" h="94443">
                  <a:moveTo>
                    <a:pt x="88012" y="3945"/>
                  </a:moveTo>
                  <a:lnTo>
                    <a:pt x="88012" y="3945"/>
                  </a:lnTo>
                  <a:cubicBezTo>
                    <a:pt x="93555" y="9332"/>
                    <a:pt x="93710" y="18293"/>
                    <a:pt x="88323" y="23835"/>
                  </a:cubicBezTo>
                  <a:lnTo>
                    <a:pt x="24146" y="90188"/>
                  </a:lnTo>
                  <a:cubicBezTo>
                    <a:pt x="18759" y="95730"/>
                    <a:pt x="9798" y="95886"/>
                    <a:pt x="4256" y="90499"/>
                  </a:cubicBezTo>
                  <a:lnTo>
                    <a:pt x="4256" y="90499"/>
                  </a:lnTo>
                  <a:cubicBezTo>
                    <a:pt x="-1287" y="85112"/>
                    <a:pt x="-1442" y="76151"/>
                    <a:pt x="3945" y="70608"/>
                  </a:cubicBezTo>
                  <a:lnTo>
                    <a:pt x="68122" y="4256"/>
                  </a:lnTo>
                  <a:cubicBezTo>
                    <a:pt x="73457" y="-1287"/>
                    <a:pt x="82418" y="-1442"/>
                    <a:pt x="88012" y="3945"/>
                  </a:cubicBezTo>
                  <a:close/>
                </a:path>
              </a:pathLst>
            </a:custGeom>
            <a:grp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38" name="Graphic 6">
            <a:extLst>
              <a:ext uri="{FF2B5EF4-FFF2-40B4-BE49-F238E27FC236}">
                <a16:creationId xmlns:a16="http://schemas.microsoft.com/office/drawing/2014/main" id="{F5180D21-4182-4F92-8FBF-F59B2625F260}"/>
              </a:ext>
            </a:extLst>
          </p:cNvPr>
          <p:cNvGrpSpPr/>
          <p:nvPr/>
        </p:nvGrpSpPr>
        <p:grpSpPr>
          <a:xfrm>
            <a:off x="1015451" y="2694897"/>
            <a:ext cx="71373" cy="71388"/>
            <a:chOff x="4276195" y="1739713"/>
            <a:chExt cx="94423" cy="94443"/>
          </a:xfrm>
          <a:solidFill>
            <a:schemeClr val="accent2"/>
          </a:solidFill>
        </p:grpSpPr>
        <p:sp>
          <p:nvSpPr>
            <p:cNvPr id="54" name="Freeform: Shape 53">
              <a:extLst>
                <a:ext uri="{FF2B5EF4-FFF2-40B4-BE49-F238E27FC236}">
                  <a16:creationId xmlns:a16="http://schemas.microsoft.com/office/drawing/2014/main" id="{F8618C51-47BD-4E70-A58D-099917F68181}"/>
                </a:ext>
              </a:extLst>
            </p:cNvPr>
            <p:cNvSpPr/>
            <p:nvPr/>
          </p:nvSpPr>
          <p:spPr>
            <a:xfrm>
              <a:off x="4276195" y="1740801"/>
              <a:ext cx="94423" cy="92268"/>
            </a:xfrm>
            <a:prstGeom prst="roundRect">
              <a:avLst/>
            </a:prstGeom>
            <a:grp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 name="Freeform: Shape 54">
              <a:extLst>
                <a:ext uri="{FF2B5EF4-FFF2-40B4-BE49-F238E27FC236}">
                  <a16:creationId xmlns:a16="http://schemas.microsoft.com/office/drawing/2014/main" id="{C1CBD8DA-1B7B-44E6-87AB-C08B367D0014}"/>
                </a:ext>
              </a:extLst>
            </p:cNvPr>
            <p:cNvSpPr/>
            <p:nvPr/>
          </p:nvSpPr>
          <p:spPr>
            <a:xfrm>
              <a:off x="4277315" y="1739713"/>
              <a:ext cx="92268" cy="94443"/>
            </a:xfrm>
            <a:prstGeom prst="roundRect">
              <a:avLst/>
            </a:prstGeom>
            <a:grp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39" name="Graphic 6">
            <a:extLst>
              <a:ext uri="{FF2B5EF4-FFF2-40B4-BE49-F238E27FC236}">
                <a16:creationId xmlns:a16="http://schemas.microsoft.com/office/drawing/2014/main" id="{5CAC1A01-CE23-4C2A-B21B-EA50B4C4A4D2}"/>
              </a:ext>
            </a:extLst>
          </p:cNvPr>
          <p:cNvGrpSpPr/>
          <p:nvPr/>
        </p:nvGrpSpPr>
        <p:grpSpPr>
          <a:xfrm>
            <a:off x="1187971" y="1970886"/>
            <a:ext cx="71388" cy="71388"/>
            <a:chOff x="4893343" y="1555831"/>
            <a:chExt cx="94443" cy="94443"/>
          </a:xfrm>
          <a:solidFill>
            <a:schemeClr val="accent2"/>
          </a:solidFill>
        </p:grpSpPr>
        <p:sp>
          <p:nvSpPr>
            <p:cNvPr id="52" name="Freeform: Shape 51">
              <a:extLst>
                <a:ext uri="{FF2B5EF4-FFF2-40B4-BE49-F238E27FC236}">
                  <a16:creationId xmlns:a16="http://schemas.microsoft.com/office/drawing/2014/main" id="{C6C8F210-BC1D-4C3E-BD0C-939B9063925E}"/>
                </a:ext>
              </a:extLst>
            </p:cNvPr>
            <p:cNvSpPr/>
            <p:nvPr/>
          </p:nvSpPr>
          <p:spPr>
            <a:xfrm>
              <a:off x="4893343" y="1556919"/>
              <a:ext cx="94443" cy="92268"/>
            </a:xfrm>
            <a:prstGeom prst="ellipse">
              <a:avLst/>
            </a:prstGeom>
            <a:grp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3" name="Freeform: Shape 52">
              <a:extLst>
                <a:ext uri="{FF2B5EF4-FFF2-40B4-BE49-F238E27FC236}">
                  <a16:creationId xmlns:a16="http://schemas.microsoft.com/office/drawing/2014/main" id="{B4C7A144-1091-4887-B905-2A8712309FB8}"/>
                </a:ext>
              </a:extLst>
            </p:cNvPr>
            <p:cNvSpPr/>
            <p:nvPr/>
          </p:nvSpPr>
          <p:spPr>
            <a:xfrm>
              <a:off x="4894431" y="1555831"/>
              <a:ext cx="92268" cy="94443"/>
            </a:xfrm>
            <a:prstGeom prst="ellipse">
              <a:avLst/>
            </a:prstGeom>
            <a:grp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40" name="Graphic 6">
            <a:extLst>
              <a:ext uri="{FF2B5EF4-FFF2-40B4-BE49-F238E27FC236}">
                <a16:creationId xmlns:a16="http://schemas.microsoft.com/office/drawing/2014/main" id="{A43E39DE-B277-44EB-9291-DBB491F75F47}"/>
              </a:ext>
            </a:extLst>
          </p:cNvPr>
          <p:cNvGrpSpPr/>
          <p:nvPr/>
        </p:nvGrpSpPr>
        <p:grpSpPr>
          <a:xfrm>
            <a:off x="2168302" y="2399709"/>
            <a:ext cx="71388" cy="71388"/>
            <a:chOff x="5304202" y="1190917"/>
            <a:chExt cx="94443" cy="94443"/>
          </a:xfrm>
          <a:solidFill>
            <a:schemeClr val="accent4"/>
          </a:solidFill>
        </p:grpSpPr>
        <p:sp>
          <p:nvSpPr>
            <p:cNvPr id="50" name="Freeform: Shape 49">
              <a:extLst>
                <a:ext uri="{FF2B5EF4-FFF2-40B4-BE49-F238E27FC236}">
                  <a16:creationId xmlns:a16="http://schemas.microsoft.com/office/drawing/2014/main" id="{A531E017-C699-4012-A505-0C4FC665F2D8}"/>
                </a:ext>
              </a:extLst>
            </p:cNvPr>
            <p:cNvSpPr/>
            <p:nvPr/>
          </p:nvSpPr>
          <p:spPr>
            <a:xfrm>
              <a:off x="5304202" y="1192057"/>
              <a:ext cx="94443" cy="92268"/>
            </a:xfrm>
            <a:prstGeom prst="roundRect">
              <a:avLst/>
            </a:prstGeom>
            <a:grp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1" name="Freeform: Shape 50">
              <a:extLst>
                <a:ext uri="{FF2B5EF4-FFF2-40B4-BE49-F238E27FC236}">
                  <a16:creationId xmlns:a16="http://schemas.microsoft.com/office/drawing/2014/main" id="{EA94651C-8B0E-42DB-B844-C8E71EDB638C}"/>
                </a:ext>
              </a:extLst>
            </p:cNvPr>
            <p:cNvSpPr/>
            <p:nvPr/>
          </p:nvSpPr>
          <p:spPr>
            <a:xfrm>
              <a:off x="5305290" y="1190917"/>
              <a:ext cx="92268" cy="94443"/>
            </a:xfrm>
            <a:prstGeom prst="roundRect">
              <a:avLst/>
            </a:prstGeom>
            <a:grp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41" name="Graphic 6">
            <a:extLst>
              <a:ext uri="{FF2B5EF4-FFF2-40B4-BE49-F238E27FC236}">
                <a16:creationId xmlns:a16="http://schemas.microsoft.com/office/drawing/2014/main" id="{B46089A3-0294-4977-8D77-375F8F4852B1}"/>
              </a:ext>
            </a:extLst>
          </p:cNvPr>
          <p:cNvGrpSpPr/>
          <p:nvPr/>
        </p:nvGrpSpPr>
        <p:grpSpPr>
          <a:xfrm>
            <a:off x="1856159" y="1701609"/>
            <a:ext cx="71388" cy="71388"/>
            <a:chOff x="4687914" y="1003099"/>
            <a:chExt cx="94443" cy="94443"/>
          </a:xfrm>
          <a:solidFill>
            <a:schemeClr val="tx2"/>
          </a:solidFill>
        </p:grpSpPr>
        <p:sp>
          <p:nvSpPr>
            <p:cNvPr id="48" name="Freeform: Shape 47">
              <a:extLst>
                <a:ext uri="{FF2B5EF4-FFF2-40B4-BE49-F238E27FC236}">
                  <a16:creationId xmlns:a16="http://schemas.microsoft.com/office/drawing/2014/main" id="{095290D6-5CCF-4A0C-83FC-E787D2EA3380}"/>
                </a:ext>
              </a:extLst>
            </p:cNvPr>
            <p:cNvSpPr/>
            <p:nvPr/>
          </p:nvSpPr>
          <p:spPr>
            <a:xfrm>
              <a:off x="4687914" y="1004239"/>
              <a:ext cx="94443" cy="92268"/>
            </a:xfrm>
            <a:prstGeom prst="ellipse">
              <a:avLst/>
            </a:prstGeom>
            <a:grp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9" name="Freeform: Shape 48">
              <a:extLst>
                <a:ext uri="{FF2B5EF4-FFF2-40B4-BE49-F238E27FC236}">
                  <a16:creationId xmlns:a16="http://schemas.microsoft.com/office/drawing/2014/main" id="{52CBB3FC-2745-4771-9797-ED35B283830B}"/>
                </a:ext>
              </a:extLst>
            </p:cNvPr>
            <p:cNvSpPr/>
            <p:nvPr/>
          </p:nvSpPr>
          <p:spPr>
            <a:xfrm>
              <a:off x="4689054" y="1003099"/>
              <a:ext cx="92268" cy="94443"/>
            </a:xfrm>
            <a:prstGeom prst="ellipse">
              <a:avLst/>
            </a:prstGeom>
            <a:grp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42" name="Graphic 6">
            <a:extLst>
              <a:ext uri="{FF2B5EF4-FFF2-40B4-BE49-F238E27FC236}">
                <a16:creationId xmlns:a16="http://schemas.microsoft.com/office/drawing/2014/main" id="{AF0C6D68-ACEF-44BC-A961-9EB9F5055B68}"/>
              </a:ext>
            </a:extLst>
          </p:cNvPr>
          <p:cNvGrpSpPr/>
          <p:nvPr/>
        </p:nvGrpSpPr>
        <p:grpSpPr>
          <a:xfrm>
            <a:off x="1499580" y="1794457"/>
            <a:ext cx="71388" cy="71388"/>
            <a:chOff x="4274000" y="825900"/>
            <a:chExt cx="94443" cy="94443"/>
          </a:xfrm>
          <a:solidFill>
            <a:schemeClr val="tx2"/>
          </a:solidFill>
        </p:grpSpPr>
        <p:sp>
          <p:nvSpPr>
            <p:cNvPr id="46" name="Freeform: Shape 45">
              <a:extLst>
                <a:ext uri="{FF2B5EF4-FFF2-40B4-BE49-F238E27FC236}">
                  <a16:creationId xmlns:a16="http://schemas.microsoft.com/office/drawing/2014/main" id="{B7784D05-CC3E-4D3D-809F-24D98E0BAF59}"/>
                </a:ext>
              </a:extLst>
            </p:cNvPr>
            <p:cNvSpPr/>
            <p:nvPr/>
          </p:nvSpPr>
          <p:spPr>
            <a:xfrm>
              <a:off x="4274000" y="827039"/>
              <a:ext cx="94443" cy="92268"/>
            </a:xfrm>
            <a:prstGeom prst="ellipse">
              <a:avLst/>
            </a:prstGeom>
            <a:grp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7" name="Freeform: Shape 46">
              <a:extLst>
                <a:ext uri="{FF2B5EF4-FFF2-40B4-BE49-F238E27FC236}">
                  <a16:creationId xmlns:a16="http://schemas.microsoft.com/office/drawing/2014/main" id="{4928C800-1546-4EB1-B9AA-648CD7ACD6E1}"/>
                </a:ext>
              </a:extLst>
            </p:cNvPr>
            <p:cNvSpPr/>
            <p:nvPr/>
          </p:nvSpPr>
          <p:spPr>
            <a:xfrm>
              <a:off x="4275087" y="825900"/>
              <a:ext cx="92268" cy="94443"/>
            </a:xfrm>
            <a:prstGeom prst="ellipse">
              <a:avLst/>
            </a:prstGeom>
            <a:grp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43" name="Graphic 6">
            <a:extLst>
              <a:ext uri="{FF2B5EF4-FFF2-40B4-BE49-F238E27FC236}">
                <a16:creationId xmlns:a16="http://schemas.microsoft.com/office/drawing/2014/main" id="{1AF62B22-0575-444D-8C07-12342FA5965A}"/>
              </a:ext>
            </a:extLst>
          </p:cNvPr>
          <p:cNvGrpSpPr/>
          <p:nvPr/>
        </p:nvGrpSpPr>
        <p:grpSpPr>
          <a:xfrm>
            <a:off x="2719276" y="2620824"/>
            <a:ext cx="71373" cy="71388"/>
            <a:chOff x="5727408" y="2111775"/>
            <a:chExt cx="94423" cy="94443"/>
          </a:xfrm>
          <a:solidFill>
            <a:srgbClr val="E12827"/>
          </a:solidFill>
        </p:grpSpPr>
        <p:sp>
          <p:nvSpPr>
            <p:cNvPr id="44" name="Freeform: Shape 43">
              <a:extLst>
                <a:ext uri="{FF2B5EF4-FFF2-40B4-BE49-F238E27FC236}">
                  <a16:creationId xmlns:a16="http://schemas.microsoft.com/office/drawing/2014/main" id="{78D6ECB6-B1D7-4280-9CB2-02B88E338E33}"/>
                </a:ext>
              </a:extLst>
            </p:cNvPr>
            <p:cNvSpPr/>
            <p:nvPr/>
          </p:nvSpPr>
          <p:spPr>
            <a:xfrm>
              <a:off x="5727408" y="2112863"/>
              <a:ext cx="94423" cy="92268"/>
            </a:xfrm>
            <a:custGeom>
              <a:avLst/>
              <a:gdLst>
                <a:gd name="connsiteX0" fmla="*/ 3925 w 94423"/>
                <a:gd name="connsiteY0" fmla="*/ 4256 h 92268"/>
                <a:gd name="connsiteX1" fmla="*/ 3925 w 94423"/>
                <a:gd name="connsiteY1" fmla="*/ 4256 h 92268"/>
                <a:gd name="connsiteX2" fmla="*/ 23815 w 94423"/>
                <a:gd name="connsiteY2" fmla="*/ 3945 h 92268"/>
                <a:gd name="connsiteX3" fmla="*/ 90168 w 94423"/>
                <a:gd name="connsiteY3" fmla="*/ 68122 h 92268"/>
                <a:gd name="connsiteX4" fmla="*/ 90479 w 94423"/>
                <a:gd name="connsiteY4" fmla="*/ 88013 h 92268"/>
                <a:gd name="connsiteX5" fmla="*/ 90479 w 94423"/>
                <a:gd name="connsiteY5" fmla="*/ 88013 h 92268"/>
                <a:gd name="connsiteX6" fmla="*/ 70589 w 94423"/>
                <a:gd name="connsiteY6" fmla="*/ 88323 h 92268"/>
                <a:gd name="connsiteX7" fmla="*/ 4236 w 94423"/>
                <a:gd name="connsiteY7" fmla="*/ 24146 h 92268"/>
                <a:gd name="connsiteX8" fmla="*/ 3925 w 94423"/>
                <a:gd name="connsiteY8" fmla="*/ 4256 h 92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423" h="92268">
                  <a:moveTo>
                    <a:pt x="3925" y="4256"/>
                  </a:moveTo>
                  <a:lnTo>
                    <a:pt x="3925" y="4256"/>
                  </a:lnTo>
                  <a:cubicBezTo>
                    <a:pt x="9312" y="-1287"/>
                    <a:pt x="18273" y="-1442"/>
                    <a:pt x="23815" y="3945"/>
                  </a:cubicBezTo>
                  <a:lnTo>
                    <a:pt x="90168" y="68122"/>
                  </a:lnTo>
                  <a:cubicBezTo>
                    <a:pt x="95710" y="73509"/>
                    <a:pt x="95866" y="82470"/>
                    <a:pt x="90479" y="88013"/>
                  </a:cubicBezTo>
                  <a:lnTo>
                    <a:pt x="90479" y="88013"/>
                  </a:lnTo>
                  <a:cubicBezTo>
                    <a:pt x="85092" y="93555"/>
                    <a:pt x="76131" y="93710"/>
                    <a:pt x="70589" y="88323"/>
                  </a:cubicBezTo>
                  <a:lnTo>
                    <a:pt x="4236" y="24146"/>
                  </a:lnTo>
                  <a:cubicBezTo>
                    <a:pt x="-1306" y="18811"/>
                    <a:pt x="-1410" y="9850"/>
                    <a:pt x="3925" y="4256"/>
                  </a:cubicBezTo>
                  <a:close/>
                </a:path>
              </a:pathLst>
            </a:custGeom>
            <a:solidFill>
              <a:srgbClr val="E12827"/>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45" name="Freeform: Shape 44">
              <a:extLst>
                <a:ext uri="{FF2B5EF4-FFF2-40B4-BE49-F238E27FC236}">
                  <a16:creationId xmlns:a16="http://schemas.microsoft.com/office/drawing/2014/main" id="{E19804A2-AD83-4091-9001-5E9F9A936502}"/>
                </a:ext>
              </a:extLst>
            </p:cNvPr>
            <p:cNvSpPr/>
            <p:nvPr/>
          </p:nvSpPr>
          <p:spPr>
            <a:xfrm>
              <a:off x="5728528" y="2111775"/>
              <a:ext cx="92268" cy="94443"/>
            </a:xfrm>
            <a:custGeom>
              <a:avLst/>
              <a:gdLst>
                <a:gd name="connsiteX0" fmla="*/ 88013 w 92268"/>
                <a:gd name="connsiteY0" fmla="*/ 3945 h 94443"/>
                <a:gd name="connsiteX1" fmla="*/ 88013 w 92268"/>
                <a:gd name="connsiteY1" fmla="*/ 3945 h 94443"/>
                <a:gd name="connsiteX2" fmla="*/ 88323 w 92268"/>
                <a:gd name="connsiteY2" fmla="*/ 23835 h 94443"/>
                <a:gd name="connsiteX3" fmla="*/ 24146 w 92268"/>
                <a:gd name="connsiteY3" fmla="*/ 90188 h 94443"/>
                <a:gd name="connsiteX4" fmla="*/ 4256 w 92268"/>
                <a:gd name="connsiteY4" fmla="*/ 90499 h 94443"/>
                <a:gd name="connsiteX5" fmla="*/ 4256 w 92268"/>
                <a:gd name="connsiteY5" fmla="*/ 90499 h 94443"/>
                <a:gd name="connsiteX6" fmla="*/ 3945 w 92268"/>
                <a:gd name="connsiteY6" fmla="*/ 70608 h 94443"/>
                <a:gd name="connsiteX7" fmla="*/ 68122 w 92268"/>
                <a:gd name="connsiteY7" fmla="*/ 4256 h 94443"/>
                <a:gd name="connsiteX8" fmla="*/ 88013 w 92268"/>
                <a:gd name="connsiteY8" fmla="*/ 3945 h 94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268" h="94443">
                  <a:moveTo>
                    <a:pt x="88013" y="3945"/>
                  </a:moveTo>
                  <a:lnTo>
                    <a:pt x="88013" y="3945"/>
                  </a:lnTo>
                  <a:cubicBezTo>
                    <a:pt x="93555" y="9332"/>
                    <a:pt x="93710" y="18293"/>
                    <a:pt x="88323" y="23835"/>
                  </a:cubicBezTo>
                  <a:lnTo>
                    <a:pt x="24146" y="90188"/>
                  </a:lnTo>
                  <a:cubicBezTo>
                    <a:pt x="18759" y="95730"/>
                    <a:pt x="9798" y="95886"/>
                    <a:pt x="4256" y="90499"/>
                  </a:cubicBezTo>
                  <a:lnTo>
                    <a:pt x="4256" y="90499"/>
                  </a:lnTo>
                  <a:cubicBezTo>
                    <a:pt x="-1286" y="85112"/>
                    <a:pt x="-1442" y="76151"/>
                    <a:pt x="3945" y="70608"/>
                  </a:cubicBezTo>
                  <a:lnTo>
                    <a:pt x="68122" y="4256"/>
                  </a:lnTo>
                  <a:cubicBezTo>
                    <a:pt x="73457" y="-1287"/>
                    <a:pt x="82418" y="-1442"/>
                    <a:pt x="88013" y="3945"/>
                  </a:cubicBezTo>
                  <a:close/>
                </a:path>
              </a:pathLst>
            </a:custGeom>
            <a:solidFill>
              <a:srgbClr val="E12827"/>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81" name="Freeform: Shape 80">
            <a:extLst>
              <a:ext uri="{FF2B5EF4-FFF2-40B4-BE49-F238E27FC236}">
                <a16:creationId xmlns:a16="http://schemas.microsoft.com/office/drawing/2014/main" id="{0A859BFE-2203-44F2-AAA4-742F60EB6DAE}"/>
              </a:ext>
            </a:extLst>
          </p:cNvPr>
          <p:cNvSpPr/>
          <p:nvPr/>
        </p:nvSpPr>
        <p:spPr>
          <a:xfrm rot="9000000">
            <a:off x="2133646" y="3166046"/>
            <a:ext cx="301891" cy="341154"/>
          </a:xfrm>
          <a:custGeom>
            <a:avLst/>
            <a:gdLst>
              <a:gd name="connsiteX0" fmla="*/ 29269 w 399389"/>
              <a:gd name="connsiteY0" fmla="*/ 451334 h 451333"/>
              <a:gd name="connsiteX1" fmla="*/ 15354 w 399389"/>
              <a:gd name="connsiteY1" fmla="*/ 447591 h 451333"/>
              <a:gd name="connsiteX2" fmla="*/ 1344 w 399389"/>
              <a:gd name="connsiteY2" fmla="*/ 423457 h 451333"/>
              <a:gd name="connsiteX3" fmla="*/ 0 w 399389"/>
              <a:gd name="connsiteY3" fmla="*/ 28051 h 451333"/>
              <a:gd name="connsiteX4" fmla="*/ 13915 w 399389"/>
              <a:gd name="connsiteY4" fmla="*/ 3820 h 451333"/>
              <a:gd name="connsiteX5" fmla="*/ 41887 w 399389"/>
              <a:gd name="connsiteY5" fmla="*/ 3772 h 451333"/>
              <a:gd name="connsiteX6" fmla="*/ 385427 w 399389"/>
              <a:gd name="connsiteY6" fmla="*/ 201692 h 451333"/>
              <a:gd name="connsiteX7" fmla="*/ 399389 w 399389"/>
              <a:gd name="connsiteY7" fmla="*/ 225874 h 451333"/>
              <a:gd name="connsiteX8" fmla="*/ 385427 w 399389"/>
              <a:gd name="connsiteY8" fmla="*/ 250056 h 451333"/>
              <a:gd name="connsiteX9" fmla="*/ 43231 w 399389"/>
              <a:gd name="connsiteY9" fmla="*/ 447543 h 451333"/>
              <a:gd name="connsiteX10" fmla="*/ 29269 w 399389"/>
              <a:gd name="connsiteY10" fmla="*/ 451334 h 451333"/>
              <a:gd name="connsiteX11" fmla="*/ 27877 w 399389"/>
              <a:gd name="connsiteY11" fmla="*/ 14424 h 451333"/>
              <a:gd name="connsiteX12" fmla="*/ 21064 w 399389"/>
              <a:gd name="connsiteY12" fmla="*/ 16295 h 451333"/>
              <a:gd name="connsiteX13" fmla="*/ 14346 w 399389"/>
              <a:gd name="connsiteY13" fmla="*/ 28051 h 451333"/>
              <a:gd name="connsiteX14" fmla="*/ 15690 w 399389"/>
              <a:gd name="connsiteY14" fmla="*/ 423457 h 451333"/>
              <a:gd name="connsiteX15" fmla="*/ 22455 w 399389"/>
              <a:gd name="connsiteY15" fmla="*/ 435116 h 451333"/>
              <a:gd name="connsiteX16" fmla="*/ 35938 w 399389"/>
              <a:gd name="connsiteY16" fmla="*/ 435116 h 451333"/>
              <a:gd name="connsiteX17" fmla="*/ 378134 w 399389"/>
              <a:gd name="connsiteY17" fmla="*/ 237629 h 451333"/>
              <a:gd name="connsiteX18" fmla="*/ 384899 w 399389"/>
              <a:gd name="connsiteY18" fmla="*/ 225922 h 451333"/>
              <a:gd name="connsiteX19" fmla="*/ 378134 w 399389"/>
              <a:gd name="connsiteY19" fmla="*/ 214214 h 451333"/>
              <a:gd name="connsiteX20" fmla="*/ 34594 w 399389"/>
              <a:gd name="connsiteY20" fmla="*/ 16295 h 451333"/>
              <a:gd name="connsiteX21" fmla="*/ 27877 w 399389"/>
              <a:gd name="connsiteY21" fmla="*/ 14424 h 45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9389" h="451333">
                <a:moveTo>
                  <a:pt x="29269" y="451334"/>
                </a:moveTo>
                <a:cubicBezTo>
                  <a:pt x="24471" y="451334"/>
                  <a:pt x="19720" y="450086"/>
                  <a:pt x="15354" y="447591"/>
                </a:cubicBezTo>
                <a:cubicBezTo>
                  <a:pt x="6622" y="442553"/>
                  <a:pt x="1392" y="433581"/>
                  <a:pt x="1344" y="423457"/>
                </a:cubicBezTo>
                <a:lnTo>
                  <a:pt x="0" y="28051"/>
                </a:lnTo>
                <a:cubicBezTo>
                  <a:pt x="-48" y="17927"/>
                  <a:pt x="5182" y="8858"/>
                  <a:pt x="13915" y="3820"/>
                </a:cubicBezTo>
                <a:cubicBezTo>
                  <a:pt x="22647" y="-1265"/>
                  <a:pt x="33107" y="-1265"/>
                  <a:pt x="41887" y="3772"/>
                </a:cubicBezTo>
                <a:lnTo>
                  <a:pt x="385427" y="201692"/>
                </a:lnTo>
                <a:cubicBezTo>
                  <a:pt x="394160" y="206730"/>
                  <a:pt x="399389" y="215798"/>
                  <a:pt x="399389" y="225874"/>
                </a:cubicBezTo>
                <a:cubicBezTo>
                  <a:pt x="399389" y="235950"/>
                  <a:pt x="394160" y="245018"/>
                  <a:pt x="385427" y="250056"/>
                </a:cubicBezTo>
                <a:lnTo>
                  <a:pt x="43231" y="447543"/>
                </a:lnTo>
                <a:cubicBezTo>
                  <a:pt x="38865" y="450086"/>
                  <a:pt x="34067" y="451334"/>
                  <a:pt x="29269" y="451334"/>
                </a:cubicBezTo>
                <a:close/>
                <a:moveTo>
                  <a:pt x="27877" y="14424"/>
                </a:moveTo>
                <a:cubicBezTo>
                  <a:pt x="25526" y="14424"/>
                  <a:pt x="23223" y="15048"/>
                  <a:pt x="21064" y="16295"/>
                </a:cubicBezTo>
                <a:cubicBezTo>
                  <a:pt x="16842" y="18742"/>
                  <a:pt x="14299" y="23156"/>
                  <a:pt x="14346" y="28051"/>
                </a:cubicBezTo>
                <a:lnTo>
                  <a:pt x="15690" y="423457"/>
                </a:lnTo>
                <a:cubicBezTo>
                  <a:pt x="15690" y="428351"/>
                  <a:pt x="18233" y="432717"/>
                  <a:pt x="22455" y="435116"/>
                </a:cubicBezTo>
                <a:cubicBezTo>
                  <a:pt x="26677" y="437515"/>
                  <a:pt x="31715" y="437564"/>
                  <a:pt x="35938" y="435116"/>
                </a:cubicBezTo>
                <a:lnTo>
                  <a:pt x="378134" y="237629"/>
                </a:lnTo>
                <a:cubicBezTo>
                  <a:pt x="382356" y="235182"/>
                  <a:pt x="384899" y="230816"/>
                  <a:pt x="384899" y="225922"/>
                </a:cubicBezTo>
                <a:cubicBezTo>
                  <a:pt x="384899" y="221028"/>
                  <a:pt x="382356" y="216661"/>
                  <a:pt x="378134" y="214214"/>
                </a:cubicBezTo>
                <a:lnTo>
                  <a:pt x="34594" y="16295"/>
                </a:lnTo>
                <a:cubicBezTo>
                  <a:pt x="32531" y="15048"/>
                  <a:pt x="30228" y="14424"/>
                  <a:pt x="27877" y="14424"/>
                </a:cubicBezTo>
                <a:close/>
              </a:path>
            </a:pathLst>
          </a:custGeom>
          <a:solidFill>
            <a:schemeClr val="bg2"/>
          </a:solid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2" name="Freeform: Shape 81">
            <a:extLst>
              <a:ext uri="{FF2B5EF4-FFF2-40B4-BE49-F238E27FC236}">
                <a16:creationId xmlns:a16="http://schemas.microsoft.com/office/drawing/2014/main" id="{B85B1CED-CAFF-448C-BC11-F70DCDECEA18}"/>
              </a:ext>
            </a:extLst>
          </p:cNvPr>
          <p:cNvSpPr/>
          <p:nvPr/>
        </p:nvSpPr>
        <p:spPr>
          <a:xfrm rot="9000000">
            <a:off x="2378564" y="2955694"/>
            <a:ext cx="124112" cy="140254"/>
          </a:xfrm>
          <a:custGeom>
            <a:avLst/>
            <a:gdLst>
              <a:gd name="connsiteX0" fmla="*/ 29269 w 399389"/>
              <a:gd name="connsiteY0" fmla="*/ 451334 h 451333"/>
              <a:gd name="connsiteX1" fmla="*/ 15354 w 399389"/>
              <a:gd name="connsiteY1" fmla="*/ 447591 h 451333"/>
              <a:gd name="connsiteX2" fmla="*/ 1344 w 399389"/>
              <a:gd name="connsiteY2" fmla="*/ 423457 h 451333"/>
              <a:gd name="connsiteX3" fmla="*/ 0 w 399389"/>
              <a:gd name="connsiteY3" fmla="*/ 28051 h 451333"/>
              <a:gd name="connsiteX4" fmla="*/ 13915 w 399389"/>
              <a:gd name="connsiteY4" fmla="*/ 3820 h 451333"/>
              <a:gd name="connsiteX5" fmla="*/ 41887 w 399389"/>
              <a:gd name="connsiteY5" fmla="*/ 3772 h 451333"/>
              <a:gd name="connsiteX6" fmla="*/ 385427 w 399389"/>
              <a:gd name="connsiteY6" fmla="*/ 201692 h 451333"/>
              <a:gd name="connsiteX7" fmla="*/ 399389 w 399389"/>
              <a:gd name="connsiteY7" fmla="*/ 225874 h 451333"/>
              <a:gd name="connsiteX8" fmla="*/ 385427 w 399389"/>
              <a:gd name="connsiteY8" fmla="*/ 250056 h 451333"/>
              <a:gd name="connsiteX9" fmla="*/ 43231 w 399389"/>
              <a:gd name="connsiteY9" fmla="*/ 447543 h 451333"/>
              <a:gd name="connsiteX10" fmla="*/ 29269 w 399389"/>
              <a:gd name="connsiteY10" fmla="*/ 451334 h 451333"/>
              <a:gd name="connsiteX11" fmla="*/ 27877 w 399389"/>
              <a:gd name="connsiteY11" fmla="*/ 14424 h 451333"/>
              <a:gd name="connsiteX12" fmla="*/ 21064 w 399389"/>
              <a:gd name="connsiteY12" fmla="*/ 16295 h 451333"/>
              <a:gd name="connsiteX13" fmla="*/ 14346 w 399389"/>
              <a:gd name="connsiteY13" fmla="*/ 28051 h 451333"/>
              <a:gd name="connsiteX14" fmla="*/ 15690 w 399389"/>
              <a:gd name="connsiteY14" fmla="*/ 423457 h 451333"/>
              <a:gd name="connsiteX15" fmla="*/ 22455 w 399389"/>
              <a:gd name="connsiteY15" fmla="*/ 435116 h 451333"/>
              <a:gd name="connsiteX16" fmla="*/ 35938 w 399389"/>
              <a:gd name="connsiteY16" fmla="*/ 435116 h 451333"/>
              <a:gd name="connsiteX17" fmla="*/ 378134 w 399389"/>
              <a:gd name="connsiteY17" fmla="*/ 237629 h 451333"/>
              <a:gd name="connsiteX18" fmla="*/ 384899 w 399389"/>
              <a:gd name="connsiteY18" fmla="*/ 225922 h 451333"/>
              <a:gd name="connsiteX19" fmla="*/ 378134 w 399389"/>
              <a:gd name="connsiteY19" fmla="*/ 214214 h 451333"/>
              <a:gd name="connsiteX20" fmla="*/ 34594 w 399389"/>
              <a:gd name="connsiteY20" fmla="*/ 16295 h 451333"/>
              <a:gd name="connsiteX21" fmla="*/ 27877 w 399389"/>
              <a:gd name="connsiteY21" fmla="*/ 14424 h 45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9389" h="451333">
                <a:moveTo>
                  <a:pt x="29269" y="451334"/>
                </a:moveTo>
                <a:cubicBezTo>
                  <a:pt x="24471" y="451334"/>
                  <a:pt x="19720" y="450086"/>
                  <a:pt x="15354" y="447591"/>
                </a:cubicBezTo>
                <a:cubicBezTo>
                  <a:pt x="6622" y="442553"/>
                  <a:pt x="1392" y="433581"/>
                  <a:pt x="1344" y="423457"/>
                </a:cubicBezTo>
                <a:lnTo>
                  <a:pt x="0" y="28051"/>
                </a:lnTo>
                <a:cubicBezTo>
                  <a:pt x="-48" y="17927"/>
                  <a:pt x="5182" y="8858"/>
                  <a:pt x="13915" y="3820"/>
                </a:cubicBezTo>
                <a:cubicBezTo>
                  <a:pt x="22647" y="-1265"/>
                  <a:pt x="33107" y="-1265"/>
                  <a:pt x="41887" y="3772"/>
                </a:cubicBezTo>
                <a:lnTo>
                  <a:pt x="385427" y="201692"/>
                </a:lnTo>
                <a:cubicBezTo>
                  <a:pt x="394160" y="206730"/>
                  <a:pt x="399389" y="215798"/>
                  <a:pt x="399389" y="225874"/>
                </a:cubicBezTo>
                <a:cubicBezTo>
                  <a:pt x="399389" y="235950"/>
                  <a:pt x="394160" y="245018"/>
                  <a:pt x="385427" y="250056"/>
                </a:cubicBezTo>
                <a:lnTo>
                  <a:pt x="43231" y="447543"/>
                </a:lnTo>
                <a:cubicBezTo>
                  <a:pt x="38865" y="450086"/>
                  <a:pt x="34067" y="451334"/>
                  <a:pt x="29269" y="451334"/>
                </a:cubicBezTo>
                <a:close/>
                <a:moveTo>
                  <a:pt x="27877" y="14424"/>
                </a:moveTo>
                <a:cubicBezTo>
                  <a:pt x="25526" y="14424"/>
                  <a:pt x="23223" y="15048"/>
                  <a:pt x="21064" y="16295"/>
                </a:cubicBezTo>
                <a:cubicBezTo>
                  <a:pt x="16842" y="18742"/>
                  <a:pt x="14299" y="23156"/>
                  <a:pt x="14346" y="28051"/>
                </a:cubicBezTo>
                <a:lnTo>
                  <a:pt x="15690" y="423457"/>
                </a:lnTo>
                <a:cubicBezTo>
                  <a:pt x="15690" y="428351"/>
                  <a:pt x="18233" y="432717"/>
                  <a:pt x="22455" y="435116"/>
                </a:cubicBezTo>
                <a:cubicBezTo>
                  <a:pt x="26677" y="437515"/>
                  <a:pt x="31715" y="437564"/>
                  <a:pt x="35938" y="435116"/>
                </a:cubicBezTo>
                <a:lnTo>
                  <a:pt x="378134" y="237629"/>
                </a:lnTo>
                <a:cubicBezTo>
                  <a:pt x="382356" y="235182"/>
                  <a:pt x="384899" y="230816"/>
                  <a:pt x="384899" y="225922"/>
                </a:cubicBezTo>
                <a:cubicBezTo>
                  <a:pt x="384899" y="221028"/>
                  <a:pt x="382356" y="216661"/>
                  <a:pt x="378134" y="214214"/>
                </a:cubicBezTo>
                <a:lnTo>
                  <a:pt x="34594" y="16295"/>
                </a:lnTo>
                <a:cubicBezTo>
                  <a:pt x="32531" y="15048"/>
                  <a:pt x="30228" y="14424"/>
                  <a:pt x="27877" y="14424"/>
                </a:cubicBezTo>
                <a:close/>
              </a:path>
            </a:pathLst>
          </a:custGeom>
          <a:solidFill>
            <a:schemeClr val="bg2"/>
          </a:solid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4" name="Freeform: Shape 83">
            <a:extLst>
              <a:ext uri="{FF2B5EF4-FFF2-40B4-BE49-F238E27FC236}">
                <a16:creationId xmlns:a16="http://schemas.microsoft.com/office/drawing/2014/main" id="{A83F8DA5-4CD6-4980-8CF5-92AFD75A973D}"/>
              </a:ext>
            </a:extLst>
          </p:cNvPr>
          <p:cNvSpPr/>
          <p:nvPr/>
        </p:nvSpPr>
        <p:spPr>
          <a:xfrm rot="9000000">
            <a:off x="2060592" y="2882054"/>
            <a:ext cx="124112" cy="140254"/>
          </a:xfrm>
          <a:custGeom>
            <a:avLst/>
            <a:gdLst>
              <a:gd name="connsiteX0" fmla="*/ 29269 w 399389"/>
              <a:gd name="connsiteY0" fmla="*/ 451334 h 451333"/>
              <a:gd name="connsiteX1" fmla="*/ 15354 w 399389"/>
              <a:gd name="connsiteY1" fmla="*/ 447591 h 451333"/>
              <a:gd name="connsiteX2" fmla="*/ 1344 w 399389"/>
              <a:gd name="connsiteY2" fmla="*/ 423457 h 451333"/>
              <a:gd name="connsiteX3" fmla="*/ 0 w 399389"/>
              <a:gd name="connsiteY3" fmla="*/ 28051 h 451333"/>
              <a:gd name="connsiteX4" fmla="*/ 13915 w 399389"/>
              <a:gd name="connsiteY4" fmla="*/ 3820 h 451333"/>
              <a:gd name="connsiteX5" fmla="*/ 41887 w 399389"/>
              <a:gd name="connsiteY5" fmla="*/ 3772 h 451333"/>
              <a:gd name="connsiteX6" fmla="*/ 385427 w 399389"/>
              <a:gd name="connsiteY6" fmla="*/ 201692 h 451333"/>
              <a:gd name="connsiteX7" fmla="*/ 399389 w 399389"/>
              <a:gd name="connsiteY7" fmla="*/ 225874 h 451333"/>
              <a:gd name="connsiteX8" fmla="*/ 385427 w 399389"/>
              <a:gd name="connsiteY8" fmla="*/ 250056 h 451333"/>
              <a:gd name="connsiteX9" fmla="*/ 43231 w 399389"/>
              <a:gd name="connsiteY9" fmla="*/ 447543 h 451333"/>
              <a:gd name="connsiteX10" fmla="*/ 29269 w 399389"/>
              <a:gd name="connsiteY10" fmla="*/ 451334 h 451333"/>
              <a:gd name="connsiteX11" fmla="*/ 27877 w 399389"/>
              <a:gd name="connsiteY11" fmla="*/ 14424 h 451333"/>
              <a:gd name="connsiteX12" fmla="*/ 21064 w 399389"/>
              <a:gd name="connsiteY12" fmla="*/ 16295 h 451333"/>
              <a:gd name="connsiteX13" fmla="*/ 14346 w 399389"/>
              <a:gd name="connsiteY13" fmla="*/ 28051 h 451333"/>
              <a:gd name="connsiteX14" fmla="*/ 15690 w 399389"/>
              <a:gd name="connsiteY14" fmla="*/ 423457 h 451333"/>
              <a:gd name="connsiteX15" fmla="*/ 22455 w 399389"/>
              <a:gd name="connsiteY15" fmla="*/ 435116 h 451333"/>
              <a:gd name="connsiteX16" fmla="*/ 35938 w 399389"/>
              <a:gd name="connsiteY16" fmla="*/ 435116 h 451333"/>
              <a:gd name="connsiteX17" fmla="*/ 378134 w 399389"/>
              <a:gd name="connsiteY17" fmla="*/ 237629 h 451333"/>
              <a:gd name="connsiteX18" fmla="*/ 384899 w 399389"/>
              <a:gd name="connsiteY18" fmla="*/ 225922 h 451333"/>
              <a:gd name="connsiteX19" fmla="*/ 378134 w 399389"/>
              <a:gd name="connsiteY19" fmla="*/ 214214 h 451333"/>
              <a:gd name="connsiteX20" fmla="*/ 34594 w 399389"/>
              <a:gd name="connsiteY20" fmla="*/ 16295 h 451333"/>
              <a:gd name="connsiteX21" fmla="*/ 27877 w 399389"/>
              <a:gd name="connsiteY21" fmla="*/ 14424 h 45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99389" h="451333">
                <a:moveTo>
                  <a:pt x="29269" y="451334"/>
                </a:moveTo>
                <a:cubicBezTo>
                  <a:pt x="24471" y="451334"/>
                  <a:pt x="19720" y="450086"/>
                  <a:pt x="15354" y="447591"/>
                </a:cubicBezTo>
                <a:cubicBezTo>
                  <a:pt x="6622" y="442553"/>
                  <a:pt x="1392" y="433581"/>
                  <a:pt x="1344" y="423457"/>
                </a:cubicBezTo>
                <a:lnTo>
                  <a:pt x="0" y="28051"/>
                </a:lnTo>
                <a:cubicBezTo>
                  <a:pt x="-48" y="17927"/>
                  <a:pt x="5182" y="8858"/>
                  <a:pt x="13915" y="3820"/>
                </a:cubicBezTo>
                <a:cubicBezTo>
                  <a:pt x="22647" y="-1265"/>
                  <a:pt x="33107" y="-1265"/>
                  <a:pt x="41887" y="3772"/>
                </a:cubicBezTo>
                <a:lnTo>
                  <a:pt x="385427" y="201692"/>
                </a:lnTo>
                <a:cubicBezTo>
                  <a:pt x="394160" y="206730"/>
                  <a:pt x="399389" y="215798"/>
                  <a:pt x="399389" y="225874"/>
                </a:cubicBezTo>
                <a:cubicBezTo>
                  <a:pt x="399389" y="235950"/>
                  <a:pt x="394160" y="245018"/>
                  <a:pt x="385427" y="250056"/>
                </a:cubicBezTo>
                <a:lnTo>
                  <a:pt x="43231" y="447543"/>
                </a:lnTo>
                <a:cubicBezTo>
                  <a:pt x="38865" y="450086"/>
                  <a:pt x="34067" y="451334"/>
                  <a:pt x="29269" y="451334"/>
                </a:cubicBezTo>
                <a:close/>
                <a:moveTo>
                  <a:pt x="27877" y="14424"/>
                </a:moveTo>
                <a:cubicBezTo>
                  <a:pt x="25526" y="14424"/>
                  <a:pt x="23223" y="15048"/>
                  <a:pt x="21064" y="16295"/>
                </a:cubicBezTo>
                <a:cubicBezTo>
                  <a:pt x="16842" y="18742"/>
                  <a:pt x="14299" y="23156"/>
                  <a:pt x="14346" y="28051"/>
                </a:cubicBezTo>
                <a:lnTo>
                  <a:pt x="15690" y="423457"/>
                </a:lnTo>
                <a:cubicBezTo>
                  <a:pt x="15690" y="428351"/>
                  <a:pt x="18233" y="432717"/>
                  <a:pt x="22455" y="435116"/>
                </a:cubicBezTo>
                <a:cubicBezTo>
                  <a:pt x="26677" y="437515"/>
                  <a:pt x="31715" y="437564"/>
                  <a:pt x="35938" y="435116"/>
                </a:cubicBezTo>
                <a:lnTo>
                  <a:pt x="378134" y="237629"/>
                </a:lnTo>
                <a:cubicBezTo>
                  <a:pt x="382356" y="235182"/>
                  <a:pt x="384899" y="230816"/>
                  <a:pt x="384899" y="225922"/>
                </a:cubicBezTo>
                <a:cubicBezTo>
                  <a:pt x="384899" y="221028"/>
                  <a:pt x="382356" y="216661"/>
                  <a:pt x="378134" y="214214"/>
                </a:cubicBezTo>
                <a:lnTo>
                  <a:pt x="34594" y="16295"/>
                </a:lnTo>
                <a:cubicBezTo>
                  <a:pt x="32531" y="15048"/>
                  <a:pt x="30228" y="14424"/>
                  <a:pt x="27877" y="14424"/>
                </a:cubicBezTo>
                <a:close/>
              </a:path>
            </a:pathLst>
          </a:custGeom>
          <a:solidFill>
            <a:schemeClr val="tx2"/>
          </a:solidFill>
          <a:ln w="4793"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 name="Title 7">
            <a:extLst>
              <a:ext uri="{FF2B5EF4-FFF2-40B4-BE49-F238E27FC236}">
                <a16:creationId xmlns:a16="http://schemas.microsoft.com/office/drawing/2014/main" id="{7DA4AE9C-98B2-4EDA-AE17-AB9941B05E62}"/>
              </a:ext>
            </a:extLst>
          </p:cNvPr>
          <p:cNvSpPr>
            <a:spLocks noGrp="1"/>
          </p:cNvSpPr>
          <p:nvPr>
            <p:ph type="title"/>
          </p:nvPr>
        </p:nvSpPr>
        <p:spPr/>
        <p:txBody>
          <a:bodyPr/>
          <a:lstStyle/>
          <a:p>
            <a:r>
              <a:rPr lang="en-US"/>
              <a:t>Strengthen readiness with security services that help you respond to any obstacle</a:t>
            </a:r>
          </a:p>
        </p:txBody>
      </p:sp>
      <p:sp>
        <p:nvSpPr>
          <p:cNvPr id="11" name="See once,...">
            <a:extLst>
              <a:ext uri="{FF2B5EF4-FFF2-40B4-BE49-F238E27FC236}">
                <a16:creationId xmlns:a16="http://schemas.microsoft.com/office/drawing/2014/main" id="{13829083-303D-485F-AD72-BB85220D8CD8}"/>
              </a:ext>
            </a:extLst>
          </p:cNvPr>
          <p:cNvSpPr txBox="1">
            <a:spLocks/>
          </p:cNvSpPr>
          <p:nvPr/>
        </p:nvSpPr>
        <p:spPr bwMode="auto">
          <a:xfrm>
            <a:off x="531812" y="3810233"/>
            <a:ext cx="2693457" cy="58169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rPr>
              <a:t>Work collaboratively to </a:t>
            </a:r>
            <a:b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rPr>
            </a:br>
            <a: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rPr>
              <a:t>prepare for and respond</a:t>
            </a:r>
          </a:p>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rPr>
              <a:t>quickly to incidents</a:t>
            </a:r>
          </a:p>
        </p:txBody>
      </p:sp>
      <p:sp>
        <p:nvSpPr>
          <p:cNvPr id="12" name="Security that works...">
            <a:extLst>
              <a:ext uri="{FF2B5EF4-FFF2-40B4-BE49-F238E27FC236}">
                <a16:creationId xmlns:a16="http://schemas.microsoft.com/office/drawing/2014/main" id="{4ECE1DF9-8AE3-42FC-B831-7FA4BE79DFE8}"/>
              </a:ext>
            </a:extLst>
          </p:cNvPr>
          <p:cNvSpPr txBox="1">
            <a:spLocks/>
          </p:cNvSpPr>
          <p:nvPr/>
        </p:nvSpPr>
        <p:spPr bwMode="auto">
          <a:xfrm>
            <a:off x="3225269" y="3810233"/>
            <a:ext cx="2693457" cy="58169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rPr>
              <a:t>Develop tailored </a:t>
            </a:r>
          </a:p>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rPr>
              <a:t>compliance strategies </a:t>
            </a:r>
          </a:p>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rPr>
              <a:t>for your business</a:t>
            </a:r>
          </a:p>
        </p:txBody>
      </p:sp>
      <p:sp>
        <p:nvSpPr>
          <p:cNvPr id="13" name="Better efficacy and...">
            <a:extLst>
              <a:ext uri="{FF2B5EF4-FFF2-40B4-BE49-F238E27FC236}">
                <a16:creationId xmlns:a16="http://schemas.microsoft.com/office/drawing/2014/main" id="{3E50E7B7-B411-4C67-A55F-AB92106A1FE1}"/>
              </a:ext>
            </a:extLst>
          </p:cNvPr>
          <p:cNvSpPr txBox="1">
            <a:spLocks/>
          </p:cNvSpPr>
          <p:nvPr/>
        </p:nvSpPr>
        <p:spPr bwMode="auto">
          <a:xfrm>
            <a:off x="5918726" y="3810233"/>
            <a:ext cx="2693457" cy="58169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none" lIns="0" tIns="0" rIns="0" bIns="0" numCol="1" anchor="t"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rPr>
              <a:t>Leverage help </a:t>
            </a:r>
            <a:b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rPr>
            </a:br>
            <a: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rPr>
              <a:t>integrating security </a:t>
            </a:r>
            <a:b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rPr>
            </a:br>
            <a: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rPr>
              <a:t>technologies</a:t>
            </a:r>
          </a:p>
        </p:txBody>
      </p:sp>
      <p:grpSp>
        <p:nvGrpSpPr>
          <p:cNvPr id="17" name="Group 16">
            <a:extLst>
              <a:ext uri="{FF2B5EF4-FFF2-40B4-BE49-F238E27FC236}">
                <a16:creationId xmlns:a16="http://schemas.microsoft.com/office/drawing/2014/main" id="{DF97E093-111A-46E0-B04F-66162A357977}"/>
              </a:ext>
            </a:extLst>
          </p:cNvPr>
          <p:cNvGrpSpPr/>
          <p:nvPr/>
        </p:nvGrpSpPr>
        <p:grpSpPr>
          <a:xfrm>
            <a:off x="3225269" y="3867632"/>
            <a:ext cx="2693457" cy="432860"/>
            <a:chOff x="3225269" y="4229100"/>
            <a:chExt cx="2693457" cy="746760"/>
          </a:xfrm>
        </p:grpSpPr>
        <p:cxnSp>
          <p:nvCxnSpPr>
            <p:cNvPr id="15" name="Straight Connector 14">
              <a:extLst>
                <a:ext uri="{FF2B5EF4-FFF2-40B4-BE49-F238E27FC236}">
                  <a16:creationId xmlns:a16="http://schemas.microsoft.com/office/drawing/2014/main" id="{8ECCDA7C-D669-4032-B3B9-175524BC88D8}"/>
                </a:ext>
              </a:extLst>
            </p:cNvPr>
            <p:cNvCxnSpPr/>
            <p:nvPr/>
          </p:nvCxnSpPr>
          <p:spPr>
            <a:xfrm>
              <a:off x="3225269" y="4229100"/>
              <a:ext cx="0" cy="746760"/>
            </a:xfrm>
            <a:prstGeom prst="line">
              <a:avLst/>
            </a:prstGeom>
            <a:ln w="6350">
              <a:gradFill flip="none" rotWithShape="1">
                <a:gsLst>
                  <a:gs pos="0">
                    <a:schemeClr val="tx1">
                      <a:lumMod val="75000"/>
                      <a:alpha val="0"/>
                    </a:schemeClr>
                  </a:gs>
                  <a:gs pos="100000">
                    <a:schemeClr val="tx1">
                      <a:lumMod val="75000"/>
                      <a:alpha val="0"/>
                    </a:schemeClr>
                  </a:gs>
                  <a:gs pos="57000">
                    <a:schemeClr val="tx1">
                      <a:lumMod val="7500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0343534-3BA5-453F-BB07-36F01CCBE30D}"/>
                </a:ext>
              </a:extLst>
            </p:cNvPr>
            <p:cNvCxnSpPr/>
            <p:nvPr/>
          </p:nvCxnSpPr>
          <p:spPr>
            <a:xfrm>
              <a:off x="5918726" y="4229100"/>
              <a:ext cx="0" cy="746760"/>
            </a:xfrm>
            <a:prstGeom prst="line">
              <a:avLst/>
            </a:prstGeom>
            <a:ln w="6350">
              <a:gradFill flip="none" rotWithShape="1">
                <a:gsLst>
                  <a:gs pos="0">
                    <a:schemeClr val="tx1">
                      <a:lumMod val="75000"/>
                      <a:alpha val="0"/>
                    </a:schemeClr>
                  </a:gs>
                  <a:gs pos="100000">
                    <a:schemeClr val="tx1">
                      <a:lumMod val="75000"/>
                      <a:alpha val="0"/>
                    </a:schemeClr>
                  </a:gs>
                  <a:gs pos="57000">
                    <a:schemeClr val="tx1">
                      <a:lumMod val="75000"/>
                    </a:schemeClr>
                  </a:gs>
                </a:gsLst>
                <a:lin ang="5400000" scaled="1"/>
                <a:tileRect/>
              </a:gra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478716C5-9252-4621-A87A-AA9D19196DB5}"/>
              </a:ext>
            </a:extLst>
          </p:cNvPr>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marL="0" marR="0" lvl="0" indent="0" algn="l"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20" normalizeH="0" baseline="0" noProof="0">
                <a:ln>
                  <a:noFill/>
                </a:ln>
                <a:solidFill>
                  <a:srgbClr val="9E9EA2"/>
                </a:solidFill>
                <a:effectLst/>
                <a:uLnTx/>
                <a:uFillTx/>
                <a:latin typeface="CiscoSansTT ExtraLight"/>
                <a:ea typeface="ＭＳ Ｐゴシック" charset="0"/>
                <a:cs typeface="CiscoSans Thin"/>
              </a:rPr>
              <a:t>© 2019  Cisco and/or its affiliates. All rights reserved. Cisco Confidential</a:t>
            </a:r>
          </a:p>
        </p:txBody>
      </p:sp>
      <p:grpSp>
        <p:nvGrpSpPr>
          <p:cNvPr id="88" name="Group 87">
            <a:extLst>
              <a:ext uri="{FF2B5EF4-FFF2-40B4-BE49-F238E27FC236}">
                <a16:creationId xmlns:a16="http://schemas.microsoft.com/office/drawing/2014/main" id="{0A0B719B-7F0F-4124-87B1-E97F270B5A71}"/>
              </a:ext>
            </a:extLst>
          </p:cNvPr>
          <p:cNvGrpSpPr/>
          <p:nvPr/>
        </p:nvGrpSpPr>
        <p:grpSpPr>
          <a:xfrm>
            <a:off x="3615369" y="1364774"/>
            <a:ext cx="1913258" cy="2176648"/>
            <a:chOff x="3017165" y="1044417"/>
            <a:chExt cx="2692149" cy="3062766"/>
          </a:xfrm>
        </p:grpSpPr>
        <p:sp>
          <p:nvSpPr>
            <p:cNvPr id="89" name="Freeform: Shape 88">
              <a:extLst>
                <a:ext uri="{FF2B5EF4-FFF2-40B4-BE49-F238E27FC236}">
                  <a16:creationId xmlns:a16="http://schemas.microsoft.com/office/drawing/2014/main" id="{ECA1F03D-6AE7-46CA-86D3-391D6F76C31F}"/>
                </a:ext>
              </a:extLst>
            </p:cNvPr>
            <p:cNvSpPr>
              <a:spLocks/>
            </p:cNvSpPr>
            <p:nvPr/>
          </p:nvSpPr>
          <p:spPr bwMode="auto">
            <a:xfrm>
              <a:off x="3971307" y="2032946"/>
              <a:ext cx="1738007" cy="1743138"/>
            </a:xfrm>
            <a:custGeom>
              <a:avLst/>
              <a:gdLst>
                <a:gd name="connsiteX0" fmla="*/ 684953 w 1369566"/>
                <a:gd name="connsiteY0" fmla="*/ 1145619 h 1373610"/>
                <a:gd name="connsiteX1" fmla="*/ 657790 w 1369566"/>
                <a:gd name="connsiteY1" fmla="*/ 1172844 h 1373610"/>
                <a:gd name="connsiteX2" fmla="*/ 583069 w 1369566"/>
                <a:gd name="connsiteY2" fmla="*/ 1247737 h 1373610"/>
                <a:gd name="connsiteX3" fmla="*/ 574709 w 1369566"/>
                <a:gd name="connsiteY3" fmla="*/ 1256117 h 1373610"/>
                <a:gd name="connsiteX4" fmla="*/ 602833 w 1369566"/>
                <a:gd name="connsiteY4" fmla="*/ 1284318 h 1373610"/>
                <a:gd name="connsiteX5" fmla="*/ 678435 w 1369566"/>
                <a:gd name="connsiteY5" fmla="*/ 1360127 h 1373610"/>
                <a:gd name="connsiteX6" fmla="*/ 685073 w 1369566"/>
                <a:gd name="connsiteY6" fmla="*/ 1366782 h 1373610"/>
                <a:gd name="connsiteX7" fmla="*/ 795270 w 1369566"/>
                <a:gd name="connsiteY7" fmla="*/ 1256237 h 1373610"/>
                <a:gd name="connsiteX8" fmla="*/ 705865 w 1369566"/>
                <a:gd name="connsiteY8" fmla="*/ 1166588 h 1373610"/>
                <a:gd name="connsiteX9" fmla="*/ 798327 w 1369566"/>
                <a:gd name="connsiteY9" fmla="*/ 1031984 h 1373610"/>
                <a:gd name="connsiteX10" fmla="*/ 794389 w 1369566"/>
                <a:gd name="connsiteY10" fmla="*/ 1035931 h 1373610"/>
                <a:gd name="connsiteX11" fmla="*/ 693983 w 1369566"/>
                <a:gd name="connsiteY11" fmla="*/ 1136568 h 1373610"/>
                <a:gd name="connsiteX12" fmla="*/ 688853 w 1369566"/>
                <a:gd name="connsiteY12" fmla="*/ 1141710 h 1373610"/>
                <a:gd name="connsiteX13" fmla="*/ 716878 w 1369566"/>
                <a:gd name="connsiteY13" fmla="*/ 1169800 h 1373610"/>
                <a:gd name="connsiteX14" fmla="*/ 792449 w 1369566"/>
                <a:gd name="connsiteY14" fmla="*/ 1245545 h 1373610"/>
                <a:gd name="connsiteX15" fmla="*/ 799192 w 1369566"/>
                <a:gd name="connsiteY15" fmla="*/ 1252303 h 1373610"/>
                <a:gd name="connsiteX16" fmla="*/ 803118 w 1369566"/>
                <a:gd name="connsiteY16" fmla="*/ 1248364 h 1373610"/>
                <a:gd name="connsiteX17" fmla="*/ 908317 w 1369566"/>
                <a:gd name="connsiteY17" fmla="*/ 1142835 h 1373610"/>
                <a:gd name="connsiteX18" fmla="*/ 908596 w 1369566"/>
                <a:gd name="connsiteY18" fmla="*/ 1142554 h 1373610"/>
                <a:gd name="connsiteX19" fmla="*/ 818576 w 1369566"/>
                <a:gd name="connsiteY19" fmla="*/ 1052288 h 1373610"/>
                <a:gd name="connsiteX20" fmla="*/ 571577 w 1369566"/>
                <a:gd name="connsiteY20" fmla="*/ 1031934 h 1373610"/>
                <a:gd name="connsiteX21" fmla="*/ 545040 w 1369566"/>
                <a:gd name="connsiteY21" fmla="*/ 1058544 h 1373610"/>
                <a:gd name="connsiteX22" fmla="*/ 470351 w 1369566"/>
                <a:gd name="connsiteY22" fmla="*/ 1133437 h 1373610"/>
                <a:gd name="connsiteX23" fmla="*/ 461357 w 1369566"/>
                <a:gd name="connsiteY23" fmla="*/ 1142456 h 1373610"/>
                <a:gd name="connsiteX24" fmla="*/ 478219 w 1369566"/>
                <a:gd name="connsiteY24" fmla="*/ 1159364 h 1373610"/>
                <a:gd name="connsiteX25" fmla="*/ 549802 w 1369566"/>
                <a:gd name="connsiteY25" fmla="*/ 1231143 h 1373610"/>
                <a:gd name="connsiteX26" fmla="*/ 570640 w 1369566"/>
                <a:gd name="connsiteY26" fmla="*/ 1252037 h 1373610"/>
                <a:gd name="connsiteX27" fmla="*/ 680908 w 1369566"/>
                <a:gd name="connsiteY27" fmla="*/ 1141563 h 1373610"/>
                <a:gd name="connsiteX28" fmla="*/ 627793 w 1369566"/>
                <a:gd name="connsiteY28" fmla="*/ 1088303 h 1373610"/>
                <a:gd name="connsiteX29" fmla="*/ 684928 w 1369566"/>
                <a:gd name="connsiteY29" fmla="*/ 918275 h 1373610"/>
                <a:gd name="connsiteX30" fmla="*/ 681581 w 1369566"/>
                <a:gd name="connsiteY30" fmla="*/ 921631 h 1373610"/>
                <a:gd name="connsiteX31" fmla="*/ 581218 w 1369566"/>
                <a:gd name="connsiteY31" fmla="*/ 1022268 h 1373610"/>
                <a:gd name="connsiteX32" fmla="*/ 575452 w 1369566"/>
                <a:gd name="connsiteY32" fmla="*/ 1028049 h 1373610"/>
                <a:gd name="connsiteX33" fmla="*/ 592317 w 1369566"/>
                <a:gd name="connsiteY33" fmla="*/ 1044953 h 1373610"/>
                <a:gd name="connsiteX34" fmla="*/ 663870 w 1369566"/>
                <a:gd name="connsiteY34" fmla="*/ 1116670 h 1373610"/>
                <a:gd name="connsiteX35" fmla="*/ 684808 w 1369566"/>
                <a:gd name="connsiteY35" fmla="*/ 1137656 h 1373610"/>
                <a:gd name="connsiteX36" fmla="*/ 688579 w 1369566"/>
                <a:gd name="connsiteY36" fmla="*/ 1133877 h 1373610"/>
                <a:gd name="connsiteX37" fmla="*/ 793822 w 1369566"/>
                <a:gd name="connsiteY37" fmla="*/ 1028437 h 1373610"/>
                <a:gd name="connsiteX38" fmla="*/ 794306 w 1369566"/>
                <a:gd name="connsiteY38" fmla="*/ 1027951 h 1373610"/>
                <a:gd name="connsiteX39" fmla="*/ 740505 w 1369566"/>
                <a:gd name="connsiteY39" fmla="*/ 974003 h 1373610"/>
                <a:gd name="connsiteX40" fmla="*/ 912350 w 1369566"/>
                <a:gd name="connsiteY40" fmla="*/ 917697 h 1373610"/>
                <a:gd name="connsiteX41" fmla="*/ 860604 w 1369566"/>
                <a:gd name="connsiteY41" fmla="*/ 969563 h 1373610"/>
                <a:gd name="connsiteX42" fmla="*/ 802228 w 1369566"/>
                <a:gd name="connsiteY42" fmla="*/ 1028074 h 1373610"/>
                <a:gd name="connsiteX43" fmla="*/ 829846 w 1369566"/>
                <a:gd name="connsiteY43" fmla="*/ 1055755 h 1373610"/>
                <a:gd name="connsiteX44" fmla="*/ 905448 w 1369566"/>
                <a:gd name="connsiteY44" fmla="*/ 1131532 h 1373610"/>
                <a:gd name="connsiteX45" fmla="*/ 912519 w 1369566"/>
                <a:gd name="connsiteY45" fmla="*/ 1138619 h 1373610"/>
                <a:gd name="connsiteX46" fmla="*/ 999511 w 1369566"/>
                <a:gd name="connsiteY46" fmla="*/ 1051353 h 1373610"/>
                <a:gd name="connsiteX47" fmla="*/ 1022572 w 1369566"/>
                <a:gd name="connsiteY47" fmla="*/ 1028220 h 1373610"/>
                <a:gd name="connsiteX48" fmla="*/ 932837 w 1369566"/>
                <a:gd name="connsiteY48" fmla="*/ 938241 h 1373610"/>
                <a:gd name="connsiteX49" fmla="*/ 457555 w 1369566"/>
                <a:gd name="connsiteY49" fmla="*/ 917601 h 1373610"/>
                <a:gd name="connsiteX50" fmla="*/ 430742 w 1369566"/>
                <a:gd name="connsiteY50" fmla="*/ 944499 h 1373610"/>
                <a:gd name="connsiteX51" fmla="*/ 356053 w 1369566"/>
                <a:gd name="connsiteY51" fmla="*/ 1019424 h 1373610"/>
                <a:gd name="connsiteX52" fmla="*/ 347358 w 1369566"/>
                <a:gd name="connsiteY52" fmla="*/ 1028146 h 1373610"/>
                <a:gd name="connsiteX53" fmla="*/ 385301 w 1369566"/>
                <a:gd name="connsiteY53" fmla="*/ 1066192 h 1373610"/>
                <a:gd name="connsiteX54" fmla="*/ 457579 w 1369566"/>
                <a:gd name="connsiteY54" fmla="*/ 1138668 h 1373610"/>
                <a:gd name="connsiteX55" fmla="*/ 567800 w 1369566"/>
                <a:gd name="connsiteY55" fmla="*/ 1028146 h 1373610"/>
                <a:gd name="connsiteX56" fmla="*/ 500525 w 1369566"/>
                <a:gd name="connsiteY56" fmla="*/ 960688 h 1373610"/>
                <a:gd name="connsiteX57" fmla="*/ 798927 w 1369566"/>
                <a:gd name="connsiteY57" fmla="*/ 803965 h 1373610"/>
                <a:gd name="connsiteX58" fmla="*/ 747768 w 1369566"/>
                <a:gd name="connsiteY58" fmla="*/ 855263 h 1373610"/>
                <a:gd name="connsiteX59" fmla="*/ 688804 w 1369566"/>
                <a:gd name="connsiteY59" fmla="*/ 914388 h 1373610"/>
                <a:gd name="connsiteX60" fmla="*/ 705232 w 1369566"/>
                <a:gd name="connsiteY60" fmla="*/ 930855 h 1373610"/>
                <a:gd name="connsiteX61" fmla="*/ 776815 w 1369566"/>
                <a:gd name="connsiteY61" fmla="*/ 1002603 h 1373610"/>
                <a:gd name="connsiteX62" fmla="*/ 798207 w 1369566"/>
                <a:gd name="connsiteY62" fmla="*/ 1024043 h 1373610"/>
                <a:gd name="connsiteX63" fmla="*/ 885054 w 1369566"/>
                <a:gd name="connsiteY63" fmla="*/ 937033 h 1373610"/>
                <a:gd name="connsiteX64" fmla="*/ 908353 w 1369566"/>
                <a:gd name="connsiteY64" fmla="*/ 913690 h 1373610"/>
                <a:gd name="connsiteX65" fmla="*/ 854732 w 1369566"/>
                <a:gd name="connsiteY65" fmla="*/ 859923 h 1373610"/>
                <a:gd name="connsiteX66" fmla="*/ 570882 w 1369566"/>
                <a:gd name="connsiteY66" fmla="*/ 803917 h 1373610"/>
                <a:gd name="connsiteX67" fmla="*/ 567283 w 1369566"/>
                <a:gd name="connsiteY67" fmla="*/ 807528 h 1373610"/>
                <a:gd name="connsiteX68" fmla="*/ 466919 w 1369566"/>
                <a:gd name="connsiteY68" fmla="*/ 908207 h 1373610"/>
                <a:gd name="connsiteX69" fmla="*/ 461405 w 1369566"/>
                <a:gd name="connsiteY69" fmla="*/ 913739 h 1373610"/>
                <a:gd name="connsiteX70" fmla="*/ 499438 w 1369566"/>
                <a:gd name="connsiteY70" fmla="*/ 951859 h 1373610"/>
                <a:gd name="connsiteX71" fmla="*/ 571674 w 1369566"/>
                <a:gd name="connsiteY71" fmla="*/ 1024262 h 1373610"/>
                <a:gd name="connsiteX72" fmla="*/ 576106 w 1369566"/>
                <a:gd name="connsiteY72" fmla="*/ 1019817 h 1373610"/>
                <a:gd name="connsiteX73" fmla="*/ 681150 w 1369566"/>
                <a:gd name="connsiteY73" fmla="*/ 914487 h 1373610"/>
                <a:gd name="connsiteX74" fmla="*/ 613237 w 1369566"/>
                <a:gd name="connsiteY74" fmla="*/ 846388 h 1373610"/>
                <a:gd name="connsiteX75" fmla="*/ 1026535 w 1369566"/>
                <a:gd name="connsiteY75" fmla="*/ 803249 h 1373610"/>
                <a:gd name="connsiteX76" fmla="*/ 938827 w 1369566"/>
                <a:gd name="connsiteY76" fmla="*/ 891160 h 1373610"/>
                <a:gd name="connsiteX77" fmla="*/ 916299 w 1369566"/>
                <a:gd name="connsiteY77" fmla="*/ 913739 h 1373610"/>
                <a:gd name="connsiteX78" fmla="*/ 943891 w 1369566"/>
                <a:gd name="connsiteY78" fmla="*/ 941418 h 1373610"/>
                <a:gd name="connsiteX79" fmla="*/ 1019462 w 1369566"/>
                <a:gd name="connsiteY79" fmla="*/ 1017227 h 1373610"/>
                <a:gd name="connsiteX80" fmla="*/ 1026496 w 1369566"/>
                <a:gd name="connsiteY80" fmla="*/ 1024283 h 1373610"/>
                <a:gd name="connsiteX81" fmla="*/ 1077701 w 1369566"/>
                <a:gd name="connsiteY81" fmla="*/ 972916 h 1373610"/>
                <a:gd name="connsiteX82" fmla="*/ 1136835 w 1369566"/>
                <a:gd name="connsiteY82" fmla="*/ 913596 h 1373610"/>
                <a:gd name="connsiteX83" fmla="*/ 1047178 w 1369566"/>
                <a:gd name="connsiteY83" fmla="*/ 823901 h 1373610"/>
                <a:gd name="connsiteX84" fmla="*/ 343443 w 1369566"/>
                <a:gd name="connsiteY84" fmla="*/ 803177 h 1373610"/>
                <a:gd name="connsiteX85" fmla="*/ 316478 w 1369566"/>
                <a:gd name="connsiteY85" fmla="*/ 830142 h 1373610"/>
                <a:gd name="connsiteX86" fmla="*/ 241757 w 1369566"/>
                <a:gd name="connsiteY86" fmla="*/ 904863 h 1373610"/>
                <a:gd name="connsiteX87" fmla="*/ 233072 w 1369566"/>
                <a:gd name="connsiteY87" fmla="*/ 913548 h 1373610"/>
                <a:gd name="connsiteX88" fmla="*/ 268263 w 1369566"/>
                <a:gd name="connsiteY88" fmla="*/ 948835 h 1373610"/>
                <a:gd name="connsiteX89" fmla="*/ 343289 w 1369566"/>
                <a:gd name="connsiteY89" fmla="*/ 1024065 h 1373610"/>
                <a:gd name="connsiteX90" fmla="*/ 453509 w 1369566"/>
                <a:gd name="connsiteY90" fmla="*/ 913544 h 1373610"/>
                <a:gd name="connsiteX91" fmla="*/ 408109 w 1369566"/>
                <a:gd name="connsiteY91" fmla="*/ 868020 h 1373610"/>
                <a:gd name="connsiteX92" fmla="*/ 1139199 w 1369566"/>
                <a:gd name="connsiteY92" fmla="*/ 690325 h 1373610"/>
                <a:gd name="connsiteX93" fmla="*/ 1135302 w 1369566"/>
                <a:gd name="connsiteY93" fmla="*/ 694231 h 1373610"/>
                <a:gd name="connsiteX94" fmla="*/ 1030309 w 1369566"/>
                <a:gd name="connsiteY94" fmla="*/ 799466 h 1373610"/>
                <a:gd name="connsiteX95" fmla="*/ 1058191 w 1369566"/>
                <a:gd name="connsiteY95" fmla="*/ 827360 h 1373610"/>
                <a:gd name="connsiteX96" fmla="*/ 1133762 w 1369566"/>
                <a:gd name="connsiteY96" fmla="*/ 902962 h 1373610"/>
                <a:gd name="connsiteX97" fmla="*/ 1140608 w 1369566"/>
                <a:gd name="connsiteY97" fmla="*/ 909811 h 1373610"/>
                <a:gd name="connsiteX98" fmla="*/ 1143888 w 1369566"/>
                <a:gd name="connsiteY98" fmla="*/ 906521 h 1373610"/>
                <a:gd name="connsiteX99" fmla="*/ 1244251 w 1369566"/>
                <a:gd name="connsiteY99" fmla="*/ 805841 h 1373610"/>
                <a:gd name="connsiteX100" fmla="*/ 1249372 w 1369566"/>
                <a:gd name="connsiteY100" fmla="*/ 800705 h 1373610"/>
                <a:gd name="connsiteX101" fmla="*/ 1159849 w 1369566"/>
                <a:gd name="connsiteY101" fmla="*/ 711014 h 1373610"/>
                <a:gd name="connsiteX102" fmla="*/ 230753 w 1369566"/>
                <a:gd name="connsiteY102" fmla="*/ 690180 h 1373610"/>
                <a:gd name="connsiteX103" fmla="*/ 203727 w 1369566"/>
                <a:gd name="connsiteY103" fmla="*/ 717268 h 1373610"/>
                <a:gd name="connsiteX104" fmla="*/ 129038 w 1369566"/>
                <a:gd name="connsiteY104" fmla="*/ 792129 h 1373610"/>
                <a:gd name="connsiteX105" fmla="*/ 120509 w 1369566"/>
                <a:gd name="connsiteY105" fmla="*/ 800678 h 1373610"/>
                <a:gd name="connsiteX106" fmla="*/ 124324 w 1369566"/>
                <a:gd name="connsiteY106" fmla="*/ 804503 h 1373610"/>
                <a:gd name="connsiteX107" fmla="*/ 229298 w 1369566"/>
                <a:gd name="connsiteY107" fmla="*/ 909763 h 1373610"/>
                <a:gd name="connsiteX108" fmla="*/ 339645 w 1369566"/>
                <a:gd name="connsiteY108" fmla="*/ 799369 h 1373610"/>
                <a:gd name="connsiteX109" fmla="*/ 284135 w 1369566"/>
                <a:gd name="connsiteY109" fmla="*/ 743708 h 1373610"/>
                <a:gd name="connsiteX110" fmla="*/ 456948 w 1369566"/>
                <a:gd name="connsiteY110" fmla="*/ 689672 h 1373610"/>
                <a:gd name="connsiteX111" fmla="*/ 453077 w 1369566"/>
                <a:gd name="connsiteY111" fmla="*/ 693543 h 1373610"/>
                <a:gd name="connsiteX112" fmla="*/ 352671 w 1369566"/>
                <a:gd name="connsiteY112" fmla="*/ 793949 h 1373610"/>
                <a:gd name="connsiteX113" fmla="*/ 347275 w 1369566"/>
                <a:gd name="connsiteY113" fmla="*/ 799346 h 1373610"/>
                <a:gd name="connsiteX114" fmla="*/ 382450 w 1369566"/>
                <a:gd name="connsiteY114" fmla="*/ 834602 h 1373610"/>
                <a:gd name="connsiteX115" fmla="*/ 457359 w 1369566"/>
                <a:gd name="connsiteY115" fmla="*/ 909684 h 1373610"/>
                <a:gd name="connsiteX116" fmla="*/ 461567 w 1369566"/>
                <a:gd name="connsiteY116" fmla="*/ 905464 h 1373610"/>
                <a:gd name="connsiteX117" fmla="*/ 566810 w 1369566"/>
                <a:gd name="connsiteY117" fmla="*/ 799935 h 1373610"/>
                <a:gd name="connsiteX118" fmla="*/ 566860 w 1369566"/>
                <a:gd name="connsiteY118" fmla="*/ 799884 h 1373610"/>
                <a:gd name="connsiteX119" fmla="*/ 520822 w 1369566"/>
                <a:gd name="connsiteY119" fmla="*/ 753720 h 1373610"/>
                <a:gd name="connsiteX120" fmla="*/ 912957 w 1369566"/>
                <a:gd name="connsiteY120" fmla="*/ 689623 h 1373610"/>
                <a:gd name="connsiteX121" fmla="*/ 825958 w 1369566"/>
                <a:gd name="connsiteY121" fmla="*/ 776860 h 1373610"/>
                <a:gd name="connsiteX122" fmla="*/ 802900 w 1369566"/>
                <a:gd name="connsiteY122" fmla="*/ 799981 h 1373610"/>
                <a:gd name="connsiteX123" fmla="*/ 819331 w 1369566"/>
                <a:gd name="connsiteY123" fmla="*/ 816464 h 1373610"/>
                <a:gd name="connsiteX124" fmla="*/ 890883 w 1369566"/>
                <a:gd name="connsiteY124" fmla="*/ 888243 h 1373610"/>
                <a:gd name="connsiteX125" fmla="*/ 912304 w 1369566"/>
                <a:gd name="connsiteY125" fmla="*/ 909731 h 1373610"/>
                <a:gd name="connsiteX126" fmla="*/ 963278 w 1369566"/>
                <a:gd name="connsiteY126" fmla="*/ 858662 h 1373610"/>
                <a:gd name="connsiteX127" fmla="*/ 1022558 w 1369566"/>
                <a:gd name="connsiteY127" fmla="*/ 799270 h 1373610"/>
                <a:gd name="connsiteX128" fmla="*/ 969106 w 1369566"/>
                <a:gd name="connsiteY128" fmla="*/ 745796 h 1373610"/>
                <a:gd name="connsiteX129" fmla="*/ 684856 w 1369566"/>
                <a:gd name="connsiteY129" fmla="*/ 689583 h 1373610"/>
                <a:gd name="connsiteX130" fmla="*/ 633469 w 1369566"/>
                <a:gd name="connsiteY130" fmla="*/ 741132 h 1373610"/>
                <a:gd name="connsiteX131" fmla="*/ 574733 w 1369566"/>
                <a:gd name="connsiteY131" fmla="*/ 800054 h 1373610"/>
                <a:gd name="connsiteX132" fmla="*/ 612314 w 1369566"/>
                <a:gd name="connsiteY132" fmla="*/ 837722 h 1373610"/>
                <a:gd name="connsiteX133" fmla="*/ 685025 w 1369566"/>
                <a:gd name="connsiteY133" fmla="*/ 910601 h 1373610"/>
                <a:gd name="connsiteX134" fmla="*/ 772499 w 1369566"/>
                <a:gd name="connsiteY134" fmla="*/ 822889 h 1373610"/>
                <a:gd name="connsiteX135" fmla="*/ 795149 w 1369566"/>
                <a:gd name="connsiteY135" fmla="*/ 800177 h 1373610"/>
                <a:gd name="connsiteX136" fmla="*/ 727410 w 1369566"/>
                <a:gd name="connsiteY136" fmla="*/ 732253 h 1373610"/>
                <a:gd name="connsiteX137" fmla="*/ 1025680 w 1369566"/>
                <a:gd name="connsiteY137" fmla="*/ 576593 h 1373610"/>
                <a:gd name="connsiteX138" fmla="*/ 1022351 w 1369566"/>
                <a:gd name="connsiteY138" fmla="*/ 579931 h 1373610"/>
                <a:gd name="connsiteX139" fmla="*/ 917152 w 1369566"/>
                <a:gd name="connsiteY139" fmla="*/ 685417 h 1373610"/>
                <a:gd name="connsiteX140" fmla="*/ 916731 w 1369566"/>
                <a:gd name="connsiteY140" fmla="*/ 685840 h 1373610"/>
                <a:gd name="connsiteX141" fmla="*/ 933630 w 1369566"/>
                <a:gd name="connsiteY141" fmla="*/ 702746 h 1373610"/>
                <a:gd name="connsiteX142" fmla="*/ 1005183 w 1369566"/>
                <a:gd name="connsiteY142" fmla="*/ 774329 h 1373610"/>
                <a:gd name="connsiteX143" fmla="*/ 1026333 w 1369566"/>
                <a:gd name="connsiteY143" fmla="*/ 795488 h 1373610"/>
                <a:gd name="connsiteX144" fmla="*/ 1029492 w 1369566"/>
                <a:gd name="connsiteY144" fmla="*/ 792324 h 1373610"/>
                <a:gd name="connsiteX145" fmla="*/ 1129898 w 1369566"/>
                <a:gd name="connsiteY145" fmla="*/ 691729 h 1373610"/>
                <a:gd name="connsiteX146" fmla="*/ 1135249 w 1369566"/>
                <a:gd name="connsiteY146" fmla="*/ 686368 h 1373610"/>
                <a:gd name="connsiteX147" fmla="*/ 1081744 w 1369566"/>
                <a:gd name="connsiteY147" fmla="*/ 632763 h 1373610"/>
                <a:gd name="connsiteX148" fmla="*/ 344128 w 1369566"/>
                <a:gd name="connsiteY148" fmla="*/ 576544 h 1373610"/>
                <a:gd name="connsiteX149" fmla="*/ 340268 w 1369566"/>
                <a:gd name="connsiteY149" fmla="*/ 580412 h 1373610"/>
                <a:gd name="connsiteX150" fmla="*/ 239905 w 1369566"/>
                <a:gd name="connsiteY150" fmla="*/ 681007 h 1373610"/>
                <a:gd name="connsiteX151" fmla="*/ 234556 w 1369566"/>
                <a:gd name="connsiteY151" fmla="*/ 686368 h 1373610"/>
                <a:gd name="connsiteX152" fmla="*/ 238571 w 1369566"/>
                <a:gd name="connsiteY152" fmla="*/ 690392 h 1373610"/>
                <a:gd name="connsiteX153" fmla="*/ 343475 w 1369566"/>
                <a:gd name="connsiteY153" fmla="*/ 795537 h 1373610"/>
                <a:gd name="connsiteX154" fmla="*/ 347506 w 1369566"/>
                <a:gd name="connsiteY154" fmla="*/ 791504 h 1373610"/>
                <a:gd name="connsiteX155" fmla="*/ 452704 w 1369566"/>
                <a:gd name="connsiteY155" fmla="*/ 686261 h 1373610"/>
                <a:gd name="connsiteX156" fmla="*/ 453126 w 1369566"/>
                <a:gd name="connsiteY156" fmla="*/ 685840 h 1373610"/>
                <a:gd name="connsiteX157" fmla="*/ 396848 w 1369566"/>
                <a:gd name="connsiteY157" fmla="*/ 629408 h 1373610"/>
                <a:gd name="connsiteX158" fmla="*/ 1253295 w 1369566"/>
                <a:gd name="connsiteY158" fmla="*/ 575967 h 1373610"/>
                <a:gd name="connsiteX159" fmla="*/ 1143148 w 1369566"/>
                <a:gd name="connsiteY159" fmla="*/ 686368 h 1373610"/>
                <a:gd name="connsiteX160" fmla="*/ 1171158 w 1369566"/>
                <a:gd name="connsiteY160" fmla="*/ 714442 h 1373610"/>
                <a:gd name="connsiteX161" fmla="*/ 1246761 w 1369566"/>
                <a:gd name="connsiteY161" fmla="*/ 790219 h 1373610"/>
                <a:gd name="connsiteX162" fmla="*/ 1253295 w 1369566"/>
                <a:gd name="connsiteY162" fmla="*/ 796769 h 1373610"/>
                <a:gd name="connsiteX163" fmla="*/ 1280429 w 1369566"/>
                <a:gd name="connsiteY163" fmla="*/ 769550 h 1373610"/>
                <a:gd name="connsiteX164" fmla="*/ 1355118 w 1369566"/>
                <a:gd name="connsiteY164" fmla="*/ 694625 h 1373610"/>
                <a:gd name="connsiteX165" fmla="*/ 1363349 w 1369566"/>
                <a:gd name="connsiteY165" fmla="*/ 686368 h 1373610"/>
                <a:gd name="connsiteX166" fmla="*/ 1274190 w 1369566"/>
                <a:gd name="connsiteY166" fmla="*/ 596928 h 1373610"/>
                <a:gd name="connsiteX167" fmla="*/ 116731 w 1369566"/>
                <a:gd name="connsiteY167" fmla="*/ 575847 h 1373610"/>
                <a:gd name="connsiteX168" fmla="*/ 106499 w 1369566"/>
                <a:gd name="connsiteY168" fmla="*/ 586107 h 1373610"/>
                <a:gd name="connsiteX169" fmla="*/ 14745 w 1369566"/>
                <a:gd name="connsiteY169" fmla="*/ 678111 h 1373610"/>
                <a:gd name="connsiteX170" fmla="*/ 6510 w 1369566"/>
                <a:gd name="connsiteY170" fmla="*/ 686368 h 1373610"/>
                <a:gd name="connsiteX171" fmla="*/ 116730 w 1369566"/>
                <a:gd name="connsiteY171" fmla="*/ 796889 h 1373610"/>
                <a:gd name="connsiteX172" fmla="*/ 226951 w 1369566"/>
                <a:gd name="connsiteY172" fmla="*/ 686368 h 1373610"/>
                <a:gd name="connsiteX173" fmla="*/ 218507 w 1369566"/>
                <a:gd name="connsiteY173" fmla="*/ 677900 h 1373610"/>
                <a:gd name="connsiteX174" fmla="*/ 125260 w 1369566"/>
                <a:gd name="connsiteY174" fmla="*/ 584400 h 1373610"/>
                <a:gd name="connsiteX175" fmla="*/ 571102 w 1369566"/>
                <a:gd name="connsiteY175" fmla="*/ 575518 h 1373610"/>
                <a:gd name="connsiteX176" fmla="*/ 519292 w 1369566"/>
                <a:gd name="connsiteY176" fmla="*/ 627329 h 1373610"/>
                <a:gd name="connsiteX177" fmla="*/ 460781 w 1369566"/>
                <a:gd name="connsiteY177" fmla="*/ 685839 h 1373610"/>
                <a:gd name="connsiteX178" fmla="*/ 495276 w 1369566"/>
                <a:gd name="connsiteY178" fmla="*/ 720414 h 1373610"/>
                <a:gd name="connsiteX179" fmla="*/ 570711 w 1369566"/>
                <a:gd name="connsiteY179" fmla="*/ 796023 h 1373610"/>
                <a:gd name="connsiteX180" fmla="*/ 658042 w 1369566"/>
                <a:gd name="connsiteY180" fmla="*/ 708453 h 1373610"/>
                <a:gd name="connsiteX181" fmla="*/ 680859 w 1369566"/>
                <a:gd name="connsiteY181" fmla="*/ 685574 h 1373610"/>
                <a:gd name="connsiteX182" fmla="*/ 634956 w 1369566"/>
                <a:gd name="connsiteY182" fmla="*/ 639546 h 1373610"/>
                <a:gd name="connsiteX183" fmla="*/ 798731 w 1369566"/>
                <a:gd name="connsiteY183" fmla="*/ 575349 h 1373610"/>
                <a:gd name="connsiteX184" fmla="*/ 711659 w 1369566"/>
                <a:gd name="connsiteY184" fmla="*/ 662696 h 1373610"/>
                <a:gd name="connsiteX185" fmla="*/ 688852 w 1369566"/>
                <a:gd name="connsiteY185" fmla="*/ 685574 h 1373610"/>
                <a:gd name="connsiteX186" fmla="*/ 726451 w 1369566"/>
                <a:gd name="connsiteY186" fmla="*/ 723292 h 1373610"/>
                <a:gd name="connsiteX187" fmla="*/ 799123 w 1369566"/>
                <a:gd name="connsiteY187" fmla="*/ 796193 h 1373610"/>
                <a:gd name="connsiteX188" fmla="*/ 850689 w 1369566"/>
                <a:gd name="connsiteY188" fmla="*/ 744485 h 1373610"/>
                <a:gd name="connsiteX189" fmla="*/ 909175 w 1369566"/>
                <a:gd name="connsiteY189" fmla="*/ 685840 h 1373610"/>
                <a:gd name="connsiteX190" fmla="*/ 841837 w 1369566"/>
                <a:gd name="connsiteY190" fmla="*/ 618473 h 1373610"/>
                <a:gd name="connsiteX191" fmla="*/ 458151 w 1369566"/>
                <a:gd name="connsiteY191" fmla="*/ 462259 h 1373610"/>
                <a:gd name="connsiteX192" fmla="*/ 406455 w 1369566"/>
                <a:gd name="connsiteY192" fmla="*/ 514073 h 1373610"/>
                <a:gd name="connsiteX193" fmla="*/ 347932 w 1369566"/>
                <a:gd name="connsiteY193" fmla="*/ 572731 h 1373610"/>
                <a:gd name="connsiteX194" fmla="*/ 351337 w 1369566"/>
                <a:gd name="connsiteY194" fmla="*/ 576143 h 1373610"/>
                <a:gd name="connsiteX195" fmla="*/ 456957 w 1369566"/>
                <a:gd name="connsiteY195" fmla="*/ 682007 h 1373610"/>
                <a:gd name="connsiteX196" fmla="*/ 543898 w 1369566"/>
                <a:gd name="connsiteY196" fmla="*/ 595029 h 1373610"/>
                <a:gd name="connsiteX197" fmla="*/ 567256 w 1369566"/>
                <a:gd name="connsiteY197" fmla="*/ 571661 h 1373610"/>
                <a:gd name="connsiteX198" fmla="*/ 510929 w 1369566"/>
                <a:gd name="connsiteY198" fmla="*/ 515181 h 1373610"/>
                <a:gd name="connsiteX199" fmla="*/ 911513 w 1369566"/>
                <a:gd name="connsiteY199" fmla="*/ 462211 h 1373610"/>
                <a:gd name="connsiteX200" fmla="*/ 908051 w 1369566"/>
                <a:gd name="connsiteY200" fmla="*/ 465684 h 1373610"/>
                <a:gd name="connsiteX201" fmla="*/ 802853 w 1369566"/>
                <a:gd name="connsiteY201" fmla="*/ 571214 h 1373610"/>
                <a:gd name="connsiteX202" fmla="*/ 802504 w 1369566"/>
                <a:gd name="connsiteY202" fmla="*/ 571564 h 1373610"/>
                <a:gd name="connsiteX203" fmla="*/ 840751 w 1369566"/>
                <a:gd name="connsiteY203" fmla="*/ 609827 h 1373610"/>
                <a:gd name="connsiteX204" fmla="*/ 912949 w 1369566"/>
                <a:gd name="connsiteY204" fmla="*/ 682056 h 1373610"/>
                <a:gd name="connsiteX205" fmla="*/ 916876 w 1369566"/>
                <a:gd name="connsiteY205" fmla="*/ 678118 h 1373610"/>
                <a:gd name="connsiteX206" fmla="*/ 1017239 w 1369566"/>
                <a:gd name="connsiteY206" fmla="*/ 577481 h 1373610"/>
                <a:gd name="connsiteX207" fmla="*/ 1021901 w 1369566"/>
                <a:gd name="connsiteY207" fmla="*/ 572807 h 1373610"/>
                <a:gd name="connsiteX208" fmla="*/ 954422 w 1369566"/>
                <a:gd name="connsiteY208" fmla="*/ 505201 h 1373610"/>
                <a:gd name="connsiteX209" fmla="*/ 230082 w 1369566"/>
                <a:gd name="connsiteY209" fmla="*/ 462186 h 1373610"/>
                <a:gd name="connsiteX210" fmla="*/ 170858 w 1369566"/>
                <a:gd name="connsiteY210" fmla="*/ 521572 h 1373610"/>
                <a:gd name="connsiteX211" fmla="*/ 120509 w 1369566"/>
                <a:gd name="connsiteY211" fmla="*/ 572058 h 1373610"/>
                <a:gd name="connsiteX212" fmla="*/ 230753 w 1369566"/>
                <a:gd name="connsiteY212" fmla="*/ 682556 h 1373610"/>
                <a:gd name="connsiteX213" fmla="*/ 234793 w 1369566"/>
                <a:gd name="connsiteY213" fmla="*/ 678504 h 1373610"/>
                <a:gd name="connsiteX214" fmla="*/ 339992 w 1369566"/>
                <a:gd name="connsiteY214" fmla="*/ 573019 h 1373610"/>
                <a:gd name="connsiteX215" fmla="*/ 340302 w 1369566"/>
                <a:gd name="connsiteY215" fmla="*/ 572708 h 1373610"/>
                <a:gd name="connsiteX216" fmla="*/ 331220 w 1369566"/>
                <a:gd name="connsiteY216" fmla="*/ 563600 h 1373610"/>
                <a:gd name="connsiteX217" fmla="*/ 237974 w 1369566"/>
                <a:gd name="connsiteY217" fmla="*/ 470100 h 1373610"/>
                <a:gd name="connsiteX218" fmla="*/ 1139824 w 1369566"/>
                <a:gd name="connsiteY218" fmla="*/ 462138 h 1373610"/>
                <a:gd name="connsiteX219" fmla="*/ 1029652 w 1369566"/>
                <a:gd name="connsiteY219" fmla="*/ 572610 h 1373610"/>
                <a:gd name="connsiteX220" fmla="*/ 1046544 w 1369566"/>
                <a:gd name="connsiteY220" fmla="*/ 589542 h 1373610"/>
                <a:gd name="connsiteX221" fmla="*/ 1118127 w 1369566"/>
                <a:gd name="connsiteY221" fmla="*/ 661290 h 1373610"/>
                <a:gd name="connsiteX222" fmla="*/ 1139199 w 1369566"/>
                <a:gd name="connsiteY222" fmla="*/ 682410 h 1373610"/>
                <a:gd name="connsiteX223" fmla="*/ 1166091 w 1369566"/>
                <a:gd name="connsiteY223" fmla="*/ 655468 h 1373610"/>
                <a:gd name="connsiteX224" fmla="*/ 1240812 w 1369566"/>
                <a:gd name="connsiteY224" fmla="*/ 580607 h 1373610"/>
                <a:gd name="connsiteX225" fmla="*/ 1249372 w 1369566"/>
                <a:gd name="connsiteY225" fmla="*/ 572031 h 1373610"/>
                <a:gd name="connsiteX226" fmla="*/ 1196118 w 1369566"/>
                <a:gd name="connsiteY226" fmla="*/ 518610 h 1373610"/>
                <a:gd name="connsiteX227" fmla="*/ 685025 w 1369566"/>
                <a:gd name="connsiteY227" fmla="*/ 461595 h 1373610"/>
                <a:gd name="connsiteX228" fmla="*/ 597515 w 1369566"/>
                <a:gd name="connsiteY228" fmla="*/ 549105 h 1373610"/>
                <a:gd name="connsiteX229" fmla="*/ 575128 w 1369566"/>
                <a:gd name="connsiteY229" fmla="*/ 571492 h 1373610"/>
                <a:gd name="connsiteX230" fmla="*/ 609464 w 1369566"/>
                <a:gd name="connsiteY230" fmla="*/ 605935 h 1373610"/>
                <a:gd name="connsiteX231" fmla="*/ 684856 w 1369566"/>
                <a:gd name="connsiteY231" fmla="*/ 681566 h 1373610"/>
                <a:gd name="connsiteX232" fmla="*/ 736266 w 1369566"/>
                <a:gd name="connsiteY232" fmla="*/ 630016 h 1373610"/>
                <a:gd name="connsiteX233" fmla="*/ 794753 w 1369566"/>
                <a:gd name="connsiteY233" fmla="*/ 571369 h 1373610"/>
                <a:gd name="connsiteX234" fmla="*/ 749422 w 1369566"/>
                <a:gd name="connsiteY234" fmla="*/ 526019 h 1373610"/>
                <a:gd name="connsiteX235" fmla="*/ 798067 w 1369566"/>
                <a:gd name="connsiteY235" fmla="*/ 348553 h 1373610"/>
                <a:gd name="connsiteX236" fmla="*/ 793990 w 1369566"/>
                <a:gd name="connsiteY236" fmla="*/ 352630 h 1373610"/>
                <a:gd name="connsiteX237" fmla="*/ 688804 w 1369566"/>
                <a:gd name="connsiteY237" fmla="*/ 457816 h 1373610"/>
                <a:gd name="connsiteX238" fmla="*/ 723762 w 1369566"/>
                <a:gd name="connsiteY238" fmla="*/ 492790 h 1373610"/>
                <a:gd name="connsiteX239" fmla="*/ 798527 w 1369566"/>
                <a:gd name="connsiteY239" fmla="*/ 567586 h 1373610"/>
                <a:gd name="connsiteX240" fmla="*/ 802480 w 1369566"/>
                <a:gd name="connsiteY240" fmla="*/ 563621 h 1373610"/>
                <a:gd name="connsiteX241" fmla="*/ 902886 w 1369566"/>
                <a:gd name="connsiteY241" fmla="*/ 462941 h 1373610"/>
                <a:gd name="connsiteX242" fmla="*/ 907562 w 1369566"/>
                <a:gd name="connsiteY242" fmla="*/ 458253 h 1373610"/>
                <a:gd name="connsiteX243" fmla="*/ 861968 w 1369566"/>
                <a:gd name="connsiteY243" fmla="*/ 412573 h 1373610"/>
                <a:gd name="connsiteX244" fmla="*/ 571813 w 1369566"/>
                <a:gd name="connsiteY244" fmla="*/ 348335 h 1373610"/>
                <a:gd name="connsiteX245" fmla="*/ 484645 w 1369566"/>
                <a:gd name="connsiteY245" fmla="*/ 435703 h 1373610"/>
                <a:gd name="connsiteX246" fmla="*/ 462196 w 1369566"/>
                <a:gd name="connsiteY246" fmla="*/ 458203 h 1373610"/>
                <a:gd name="connsiteX247" fmla="*/ 465586 w 1369566"/>
                <a:gd name="connsiteY247" fmla="*/ 461603 h 1373610"/>
                <a:gd name="connsiteX248" fmla="*/ 571282 w 1369566"/>
                <a:gd name="connsiteY248" fmla="*/ 567633 h 1373610"/>
                <a:gd name="connsiteX249" fmla="*/ 622088 w 1369566"/>
                <a:gd name="connsiteY249" fmla="*/ 516805 h 1373610"/>
                <a:gd name="connsiteX250" fmla="*/ 681150 w 1369566"/>
                <a:gd name="connsiteY250" fmla="*/ 457718 h 1373610"/>
                <a:gd name="connsiteX251" fmla="*/ 625448 w 1369566"/>
                <a:gd name="connsiteY251" fmla="*/ 401992 h 1373610"/>
                <a:gd name="connsiteX252" fmla="*/ 344080 w 1369566"/>
                <a:gd name="connsiteY252" fmla="*/ 347877 h 1373610"/>
                <a:gd name="connsiteX253" fmla="*/ 339697 w 1369566"/>
                <a:gd name="connsiteY253" fmla="*/ 352271 h 1373610"/>
                <a:gd name="connsiteX254" fmla="*/ 257733 w 1369566"/>
                <a:gd name="connsiteY254" fmla="*/ 434460 h 1373610"/>
                <a:gd name="connsiteX255" fmla="*/ 233861 w 1369566"/>
                <a:gd name="connsiteY255" fmla="*/ 458397 h 1373610"/>
                <a:gd name="connsiteX256" fmla="*/ 344105 w 1369566"/>
                <a:gd name="connsiteY256" fmla="*/ 568895 h 1373610"/>
                <a:gd name="connsiteX257" fmla="*/ 431186 w 1369566"/>
                <a:gd name="connsiteY257" fmla="*/ 481576 h 1373610"/>
                <a:gd name="connsiteX258" fmla="*/ 454301 w 1369566"/>
                <a:gd name="connsiteY258" fmla="*/ 458398 h 1373610"/>
                <a:gd name="connsiteX259" fmla="*/ 445273 w 1369566"/>
                <a:gd name="connsiteY259" fmla="*/ 449346 h 1373610"/>
                <a:gd name="connsiteX260" fmla="*/ 351988 w 1369566"/>
                <a:gd name="connsiteY260" fmla="*/ 355806 h 1373610"/>
                <a:gd name="connsiteX261" fmla="*/ 1025705 w 1369566"/>
                <a:gd name="connsiteY261" fmla="*/ 347659 h 1373610"/>
                <a:gd name="connsiteX262" fmla="*/ 915508 w 1369566"/>
                <a:gd name="connsiteY262" fmla="*/ 458203 h 1373610"/>
                <a:gd name="connsiteX263" fmla="*/ 953625 w 1369566"/>
                <a:gd name="connsiteY263" fmla="*/ 496409 h 1373610"/>
                <a:gd name="connsiteX264" fmla="*/ 1025873 w 1369566"/>
                <a:gd name="connsiteY264" fmla="*/ 568823 h 1373610"/>
                <a:gd name="connsiteX265" fmla="*/ 1053417 w 1369566"/>
                <a:gd name="connsiteY265" fmla="*/ 541205 h 1373610"/>
                <a:gd name="connsiteX266" fmla="*/ 1128106 w 1369566"/>
                <a:gd name="connsiteY266" fmla="*/ 466312 h 1373610"/>
                <a:gd name="connsiteX267" fmla="*/ 1136047 w 1369566"/>
                <a:gd name="connsiteY267" fmla="*/ 458349 h 1373610"/>
                <a:gd name="connsiteX268" fmla="*/ 1068849 w 1369566"/>
                <a:gd name="connsiteY268" fmla="*/ 390940 h 1373610"/>
                <a:gd name="connsiteX269" fmla="*/ 684808 w 1369566"/>
                <a:gd name="connsiteY269" fmla="*/ 235080 h 1373610"/>
                <a:gd name="connsiteX270" fmla="*/ 681038 w 1369566"/>
                <a:gd name="connsiteY270" fmla="*/ 238858 h 1373610"/>
                <a:gd name="connsiteX271" fmla="*/ 575839 w 1369566"/>
                <a:gd name="connsiteY271" fmla="*/ 344299 h 1373610"/>
                <a:gd name="connsiteX272" fmla="*/ 575587 w 1369566"/>
                <a:gd name="connsiteY272" fmla="*/ 344552 h 1373610"/>
                <a:gd name="connsiteX273" fmla="*/ 579884 w 1369566"/>
                <a:gd name="connsiteY273" fmla="*/ 348851 h 1373610"/>
                <a:gd name="connsiteX274" fmla="*/ 684928 w 1369566"/>
                <a:gd name="connsiteY274" fmla="*/ 453939 h 1373610"/>
                <a:gd name="connsiteX275" fmla="*/ 688275 w 1369566"/>
                <a:gd name="connsiteY275" fmla="*/ 450591 h 1373610"/>
                <a:gd name="connsiteX276" fmla="*/ 788638 w 1369566"/>
                <a:gd name="connsiteY276" fmla="*/ 350185 h 1373610"/>
                <a:gd name="connsiteX277" fmla="*/ 794171 w 1369566"/>
                <a:gd name="connsiteY277" fmla="*/ 344649 h 1373610"/>
                <a:gd name="connsiteX278" fmla="*/ 737941 w 1369566"/>
                <a:gd name="connsiteY278" fmla="*/ 288313 h 1373610"/>
                <a:gd name="connsiteX279" fmla="*/ 912511 w 1369566"/>
                <a:gd name="connsiteY279" fmla="*/ 234109 h 1373610"/>
                <a:gd name="connsiteX280" fmla="*/ 802093 w 1369566"/>
                <a:gd name="connsiteY280" fmla="*/ 344527 h 1373610"/>
                <a:gd name="connsiteX281" fmla="*/ 836588 w 1369566"/>
                <a:gd name="connsiteY281" fmla="*/ 379101 h 1373610"/>
                <a:gd name="connsiteX282" fmla="*/ 911559 w 1369566"/>
                <a:gd name="connsiteY282" fmla="*/ 454245 h 1373610"/>
                <a:gd name="connsiteX283" fmla="*/ 939079 w 1369566"/>
                <a:gd name="connsiteY283" fmla="*/ 426650 h 1373610"/>
                <a:gd name="connsiteX284" fmla="*/ 1013800 w 1369566"/>
                <a:gd name="connsiteY284" fmla="*/ 351725 h 1373610"/>
                <a:gd name="connsiteX285" fmla="*/ 1021780 w 1369566"/>
                <a:gd name="connsiteY285" fmla="*/ 343723 h 1373610"/>
                <a:gd name="connsiteX286" fmla="*/ 976434 w 1369566"/>
                <a:gd name="connsiteY286" fmla="*/ 298233 h 1373610"/>
                <a:gd name="connsiteX287" fmla="*/ 457587 w 1369566"/>
                <a:gd name="connsiteY287" fmla="*/ 234060 h 1373610"/>
                <a:gd name="connsiteX288" fmla="*/ 437652 w 1369566"/>
                <a:gd name="connsiteY288" fmla="*/ 254050 h 1373610"/>
                <a:gd name="connsiteX289" fmla="*/ 348149 w 1369566"/>
                <a:gd name="connsiteY289" fmla="*/ 343797 h 1373610"/>
                <a:gd name="connsiteX290" fmla="*/ 458346 w 1369566"/>
                <a:gd name="connsiteY290" fmla="*/ 454341 h 1373610"/>
                <a:gd name="connsiteX291" fmla="*/ 509376 w 1369566"/>
                <a:gd name="connsiteY291" fmla="*/ 403172 h 1373610"/>
                <a:gd name="connsiteX292" fmla="*/ 567934 w 1369566"/>
                <a:gd name="connsiteY292" fmla="*/ 344454 h 1373610"/>
                <a:gd name="connsiteX293" fmla="*/ 559820 w 1369566"/>
                <a:gd name="connsiteY293" fmla="*/ 336336 h 1373610"/>
                <a:gd name="connsiteX294" fmla="*/ 466573 w 1369566"/>
                <a:gd name="connsiteY294" fmla="*/ 243051 h 1373610"/>
                <a:gd name="connsiteX295" fmla="*/ 570640 w 1369566"/>
                <a:gd name="connsiteY295" fmla="*/ 120698 h 1373610"/>
                <a:gd name="connsiteX296" fmla="*/ 553022 w 1369566"/>
                <a:gd name="connsiteY296" fmla="*/ 138365 h 1373610"/>
                <a:gd name="connsiteX297" fmla="*/ 461360 w 1369566"/>
                <a:gd name="connsiteY297" fmla="*/ 230277 h 1373610"/>
                <a:gd name="connsiteX298" fmla="*/ 571708 w 1369566"/>
                <a:gd name="connsiteY298" fmla="*/ 340671 h 1373610"/>
                <a:gd name="connsiteX299" fmla="*/ 575563 w 1369566"/>
                <a:gd name="connsiteY299" fmla="*/ 336805 h 1373610"/>
                <a:gd name="connsiteX300" fmla="*/ 675926 w 1369566"/>
                <a:gd name="connsiteY300" fmla="*/ 236168 h 1373610"/>
                <a:gd name="connsiteX301" fmla="*/ 680908 w 1369566"/>
                <a:gd name="connsiteY301" fmla="*/ 231173 h 1373610"/>
                <a:gd name="connsiteX302" fmla="*/ 672285 w 1369566"/>
                <a:gd name="connsiteY302" fmla="*/ 222534 h 1373610"/>
                <a:gd name="connsiteX303" fmla="*/ 579000 w 1369566"/>
                <a:gd name="connsiteY303" fmla="*/ 129073 h 1373610"/>
                <a:gd name="connsiteX304" fmla="*/ 799192 w 1369566"/>
                <a:gd name="connsiteY304" fmla="*/ 120433 h 1373610"/>
                <a:gd name="connsiteX305" fmla="*/ 688853 w 1369566"/>
                <a:gd name="connsiteY305" fmla="*/ 231026 h 1373610"/>
                <a:gd name="connsiteX306" fmla="*/ 692649 w 1369566"/>
                <a:gd name="connsiteY306" fmla="*/ 234830 h 1373610"/>
                <a:gd name="connsiteX307" fmla="*/ 798197 w 1369566"/>
                <a:gd name="connsiteY307" fmla="*/ 340622 h 1373610"/>
                <a:gd name="connsiteX308" fmla="*/ 824815 w 1369566"/>
                <a:gd name="connsiteY308" fmla="*/ 313992 h 1373610"/>
                <a:gd name="connsiteX309" fmla="*/ 899504 w 1369566"/>
                <a:gd name="connsiteY309" fmla="*/ 239271 h 1373610"/>
                <a:gd name="connsiteX310" fmla="*/ 908593 w 1369566"/>
                <a:gd name="connsiteY310" fmla="*/ 230179 h 1373610"/>
                <a:gd name="connsiteX311" fmla="*/ 852460 w 1369566"/>
                <a:gd name="connsiteY311" fmla="*/ 173868 h 1373610"/>
                <a:gd name="connsiteX312" fmla="*/ 685073 w 1369566"/>
                <a:gd name="connsiteY312" fmla="*/ 5954 h 1373610"/>
                <a:gd name="connsiteX313" fmla="*/ 574709 w 1369566"/>
                <a:gd name="connsiteY313" fmla="*/ 116619 h 1373610"/>
                <a:gd name="connsiteX314" fmla="*/ 684953 w 1369566"/>
                <a:gd name="connsiteY314" fmla="*/ 227117 h 1373610"/>
                <a:gd name="connsiteX315" fmla="*/ 712104 w 1369566"/>
                <a:gd name="connsiteY315" fmla="*/ 199892 h 1373610"/>
                <a:gd name="connsiteX316" fmla="*/ 786793 w 1369566"/>
                <a:gd name="connsiteY316" fmla="*/ 124999 h 1373610"/>
                <a:gd name="connsiteX317" fmla="*/ 795270 w 1369566"/>
                <a:gd name="connsiteY317" fmla="*/ 116499 h 1373610"/>
                <a:gd name="connsiteX318" fmla="*/ 786831 w 1369566"/>
                <a:gd name="connsiteY318" fmla="*/ 108033 h 1373610"/>
                <a:gd name="connsiteX319" fmla="*/ 693585 w 1369566"/>
                <a:gd name="connsiteY319" fmla="*/ 14493 h 1373610"/>
                <a:gd name="connsiteX320" fmla="*/ 682915 w 1369566"/>
                <a:gd name="connsiteY320" fmla="*/ 0 h 1373610"/>
                <a:gd name="connsiteX321" fmla="*/ 683161 w 1369566"/>
                <a:gd name="connsiteY321" fmla="*/ 0 h 1373610"/>
                <a:gd name="connsiteX322" fmla="*/ 686984 w 1369566"/>
                <a:gd name="connsiteY322" fmla="*/ 0 h 1373610"/>
                <a:gd name="connsiteX323" fmla="*/ 687231 w 1369566"/>
                <a:gd name="connsiteY323" fmla="*/ 0 h 1373610"/>
                <a:gd name="connsiteX324" fmla="*/ 687231 w 1369566"/>
                <a:gd name="connsiteY324" fmla="*/ 248 h 1373610"/>
                <a:gd name="connsiteX325" fmla="*/ 800924 w 1369566"/>
                <a:gd name="connsiteY325" fmla="*/ 114300 h 1373610"/>
                <a:gd name="connsiteX326" fmla="*/ 801241 w 1369566"/>
                <a:gd name="connsiteY326" fmla="*/ 114300 h 1373610"/>
                <a:gd name="connsiteX327" fmla="*/ 801241 w 1369566"/>
                <a:gd name="connsiteY327" fmla="*/ 114617 h 1373610"/>
                <a:gd name="connsiteX328" fmla="*/ 807135 w 1369566"/>
                <a:gd name="connsiteY328" fmla="*/ 120531 h 1373610"/>
                <a:gd name="connsiteX329" fmla="*/ 990253 w 1369566"/>
                <a:gd name="connsiteY329" fmla="*/ 304225 h 1373610"/>
                <a:gd name="connsiteX330" fmla="*/ 1026934 w 1369566"/>
                <a:gd name="connsiteY330" fmla="*/ 341022 h 1373610"/>
                <a:gd name="connsiteX331" fmla="*/ 1028253 w 1369566"/>
                <a:gd name="connsiteY331" fmla="*/ 341022 h 1373610"/>
                <a:gd name="connsiteX332" fmla="*/ 1028253 w 1369566"/>
                <a:gd name="connsiteY332" fmla="*/ 342345 h 1373610"/>
                <a:gd name="connsiteX333" fmla="*/ 1064616 w 1369566"/>
                <a:gd name="connsiteY333" fmla="*/ 378823 h 1373610"/>
                <a:gd name="connsiteX334" fmla="*/ 1128564 w 1369566"/>
                <a:gd name="connsiteY334" fmla="*/ 442972 h 1373610"/>
                <a:gd name="connsiteX335" fmla="*/ 1141165 w 1369566"/>
                <a:gd name="connsiteY335" fmla="*/ 455613 h 1373610"/>
                <a:gd name="connsiteX336" fmla="*/ 1142554 w 1369566"/>
                <a:gd name="connsiteY336" fmla="*/ 455613 h 1373610"/>
                <a:gd name="connsiteX337" fmla="*/ 1142554 w 1369566"/>
                <a:gd name="connsiteY337" fmla="*/ 457006 h 1373610"/>
                <a:gd name="connsiteX338" fmla="*/ 1198983 w 1369566"/>
                <a:gd name="connsiteY338" fmla="*/ 513613 h 1373610"/>
                <a:gd name="connsiteX339" fmla="*/ 1255106 w 1369566"/>
                <a:gd name="connsiteY339" fmla="*/ 569913 h 1373610"/>
                <a:gd name="connsiteX340" fmla="*/ 1255556 w 1369566"/>
                <a:gd name="connsiteY340" fmla="*/ 569913 h 1373610"/>
                <a:gd name="connsiteX341" fmla="*/ 1255556 w 1369566"/>
                <a:gd name="connsiteY341" fmla="*/ 570364 h 1373610"/>
                <a:gd name="connsiteX342" fmla="*/ 1269465 w 1369566"/>
                <a:gd name="connsiteY342" fmla="*/ 584317 h 1373610"/>
                <a:gd name="connsiteX343" fmla="*/ 1368467 w 1369566"/>
                <a:gd name="connsiteY343" fmla="*/ 683631 h 1373610"/>
                <a:gd name="connsiteX344" fmla="*/ 1368757 w 1369566"/>
                <a:gd name="connsiteY344" fmla="*/ 683922 h 1373610"/>
                <a:gd name="connsiteX345" fmla="*/ 1369566 w 1369566"/>
                <a:gd name="connsiteY345" fmla="*/ 683922 h 1373610"/>
                <a:gd name="connsiteX346" fmla="*/ 1369566 w 1369566"/>
                <a:gd name="connsiteY346" fmla="*/ 684733 h 1373610"/>
                <a:gd name="connsiteX347" fmla="*/ 1369566 w 1369566"/>
                <a:gd name="connsiteY347" fmla="*/ 688003 h 1373610"/>
                <a:gd name="connsiteX348" fmla="*/ 1369566 w 1369566"/>
                <a:gd name="connsiteY348" fmla="*/ 688814 h 1373610"/>
                <a:gd name="connsiteX349" fmla="*/ 1368352 w 1369566"/>
                <a:gd name="connsiteY349" fmla="*/ 689220 h 1373610"/>
                <a:gd name="connsiteX350" fmla="*/ 1255556 w 1369566"/>
                <a:gd name="connsiteY350" fmla="*/ 802372 h 1373610"/>
                <a:gd name="connsiteX351" fmla="*/ 1255556 w 1369566"/>
                <a:gd name="connsiteY351" fmla="*/ 802823 h 1373610"/>
                <a:gd name="connsiteX352" fmla="*/ 1254769 w 1369566"/>
                <a:gd name="connsiteY352" fmla="*/ 803161 h 1373610"/>
                <a:gd name="connsiteX353" fmla="*/ 1249414 w 1369566"/>
                <a:gd name="connsiteY353" fmla="*/ 808533 h 1373610"/>
                <a:gd name="connsiteX354" fmla="*/ 808469 w 1369566"/>
                <a:gd name="connsiteY354" fmla="*/ 1250868 h 1373610"/>
                <a:gd name="connsiteX355" fmla="*/ 801241 w 1369566"/>
                <a:gd name="connsiteY355" fmla="*/ 1258118 h 1373610"/>
                <a:gd name="connsiteX356" fmla="*/ 801241 w 1369566"/>
                <a:gd name="connsiteY356" fmla="*/ 1258436 h 1373610"/>
                <a:gd name="connsiteX357" fmla="*/ 800687 w 1369566"/>
                <a:gd name="connsiteY357" fmla="*/ 1258674 h 1373610"/>
                <a:gd name="connsiteX358" fmla="*/ 772306 w 1369566"/>
                <a:gd name="connsiteY358" fmla="*/ 1287144 h 1373610"/>
                <a:gd name="connsiteX359" fmla="*/ 688317 w 1369566"/>
                <a:gd name="connsiteY359" fmla="*/ 1371398 h 1373610"/>
                <a:gd name="connsiteX360" fmla="*/ 687231 w 1369566"/>
                <a:gd name="connsiteY360" fmla="*/ 1372487 h 1373610"/>
                <a:gd name="connsiteX361" fmla="*/ 687231 w 1369566"/>
                <a:gd name="connsiteY361" fmla="*/ 1372736 h 1373610"/>
                <a:gd name="connsiteX362" fmla="*/ 685196 w 1369566"/>
                <a:gd name="connsiteY362" fmla="*/ 1373610 h 1373610"/>
                <a:gd name="connsiteX363" fmla="*/ 685073 w 1369566"/>
                <a:gd name="connsiteY363" fmla="*/ 1373557 h 1373610"/>
                <a:gd name="connsiteX364" fmla="*/ 684949 w 1369566"/>
                <a:gd name="connsiteY364" fmla="*/ 1373610 h 1373610"/>
                <a:gd name="connsiteX365" fmla="*/ 682915 w 1369566"/>
                <a:gd name="connsiteY365" fmla="*/ 1372736 h 1373610"/>
                <a:gd name="connsiteX366" fmla="*/ 682915 w 1369566"/>
                <a:gd name="connsiteY366" fmla="*/ 1372489 h 1373610"/>
                <a:gd name="connsiteX367" fmla="*/ 577098 w 1369566"/>
                <a:gd name="connsiteY367" fmla="*/ 1266428 h 1373610"/>
                <a:gd name="connsiteX368" fmla="*/ 569723 w 1369566"/>
                <a:gd name="connsiteY368" fmla="*/ 1259036 h 1373610"/>
                <a:gd name="connsiteX369" fmla="*/ 568325 w 1369566"/>
                <a:gd name="connsiteY369" fmla="*/ 1258436 h 1373610"/>
                <a:gd name="connsiteX370" fmla="*/ 568325 w 1369566"/>
                <a:gd name="connsiteY370" fmla="*/ 1257635 h 1373610"/>
                <a:gd name="connsiteX371" fmla="*/ 488201 w 1369566"/>
                <a:gd name="connsiteY371" fmla="*/ 1177327 h 1373610"/>
                <a:gd name="connsiteX372" fmla="*/ 347048 w 1369566"/>
                <a:gd name="connsiteY372" fmla="*/ 1035849 h 1373610"/>
                <a:gd name="connsiteX373" fmla="*/ 341350 w 1369566"/>
                <a:gd name="connsiteY373" fmla="*/ 1030138 h 1373610"/>
                <a:gd name="connsiteX374" fmla="*/ 341313 w 1369566"/>
                <a:gd name="connsiteY374" fmla="*/ 1030127 h 1373610"/>
                <a:gd name="connsiteX375" fmla="*/ 341313 w 1369566"/>
                <a:gd name="connsiteY375" fmla="*/ 1030101 h 1373610"/>
                <a:gd name="connsiteX376" fmla="*/ 288033 w 1369566"/>
                <a:gd name="connsiteY376" fmla="*/ 976698 h 1373610"/>
                <a:gd name="connsiteX377" fmla="*/ 1335 w 1369566"/>
                <a:gd name="connsiteY377" fmla="*/ 689340 h 1373610"/>
                <a:gd name="connsiteX378" fmla="*/ 1134 w 1369566"/>
                <a:gd name="connsiteY378" fmla="*/ 689139 h 1373610"/>
                <a:gd name="connsiteX379" fmla="*/ 0 w 1369566"/>
                <a:gd name="connsiteY379" fmla="*/ 688814 h 1373610"/>
                <a:gd name="connsiteX380" fmla="*/ 0 w 1369566"/>
                <a:gd name="connsiteY380" fmla="*/ 688003 h 1373610"/>
                <a:gd name="connsiteX381" fmla="*/ 0 w 1369566"/>
                <a:gd name="connsiteY381" fmla="*/ 684733 h 1373610"/>
                <a:gd name="connsiteX382" fmla="*/ 0 w 1369566"/>
                <a:gd name="connsiteY382" fmla="*/ 683922 h 1373610"/>
                <a:gd name="connsiteX383" fmla="*/ 810 w 1369566"/>
                <a:gd name="connsiteY383" fmla="*/ 683922 h 1373610"/>
                <a:gd name="connsiteX384" fmla="*/ 120254 w 1369566"/>
                <a:gd name="connsiteY384" fmla="*/ 564203 h 1373610"/>
                <a:gd name="connsiteX385" fmla="*/ 219340 w 1369566"/>
                <a:gd name="connsiteY385" fmla="*/ 464889 h 1373610"/>
                <a:gd name="connsiteX386" fmla="*/ 227304 w 1369566"/>
                <a:gd name="connsiteY386" fmla="*/ 456907 h 1373610"/>
                <a:gd name="connsiteX387" fmla="*/ 227304 w 1369566"/>
                <a:gd name="connsiteY387" fmla="*/ 455613 h 1373610"/>
                <a:gd name="connsiteX388" fmla="*/ 228595 w 1369566"/>
                <a:gd name="connsiteY388" fmla="*/ 455613 h 1373610"/>
                <a:gd name="connsiteX389" fmla="*/ 306057 w 1369566"/>
                <a:gd name="connsiteY389" fmla="*/ 377972 h 1373610"/>
                <a:gd name="connsiteX390" fmla="*/ 341313 w 1369566"/>
                <a:gd name="connsiteY390" fmla="*/ 342635 h 1373610"/>
                <a:gd name="connsiteX391" fmla="*/ 341313 w 1369566"/>
                <a:gd name="connsiteY391" fmla="*/ 341022 h 1373610"/>
                <a:gd name="connsiteX392" fmla="*/ 342923 w 1369566"/>
                <a:gd name="connsiteY392" fmla="*/ 341022 h 1373610"/>
                <a:gd name="connsiteX393" fmla="*/ 372437 w 1369566"/>
                <a:gd name="connsiteY393" fmla="*/ 311439 h 1373610"/>
                <a:gd name="connsiteX394" fmla="*/ 552074 w 1369566"/>
                <a:gd name="connsiteY394" fmla="*/ 131389 h 1373610"/>
                <a:gd name="connsiteX395" fmla="*/ 568325 w 1369566"/>
                <a:gd name="connsiteY395" fmla="*/ 115100 h 1373610"/>
                <a:gd name="connsiteX396" fmla="*/ 568325 w 1369566"/>
                <a:gd name="connsiteY396" fmla="*/ 114300 h 1373610"/>
                <a:gd name="connsiteX397" fmla="*/ 569124 w 1369566"/>
                <a:gd name="connsiteY397" fmla="*/ 114300 h 1373610"/>
                <a:gd name="connsiteX398" fmla="*/ 607301 w 1369566"/>
                <a:gd name="connsiteY398" fmla="*/ 76035 h 1373610"/>
                <a:gd name="connsiteX399" fmla="*/ 681976 w 1369566"/>
                <a:gd name="connsiteY399" fmla="*/ 1188 h 1373610"/>
                <a:gd name="connsiteX400" fmla="*/ 682915 w 1369566"/>
                <a:gd name="connsiteY400" fmla="*/ 246 h 137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Lst>
              <a:rect l="l" t="t" r="r" b="b"/>
              <a:pathLst>
                <a:path w="1369566" h="1373610">
                  <a:moveTo>
                    <a:pt x="684953" y="1145619"/>
                  </a:moveTo>
                  <a:lnTo>
                    <a:pt x="657790" y="1172844"/>
                  </a:lnTo>
                  <a:cubicBezTo>
                    <a:pt x="615093" y="1215640"/>
                    <a:pt x="593744" y="1237038"/>
                    <a:pt x="583069" y="1247737"/>
                  </a:cubicBezTo>
                  <a:lnTo>
                    <a:pt x="574709" y="1256117"/>
                  </a:lnTo>
                  <a:lnTo>
                    <a:pt x="602833" y="1284318"/>
                  </a:lnTo>
                  <a:cubicBezTo>
                    <a:pt x="647514" y="1329121"/>
                    <a:pt x="668541" y="1350205"/>
                    <a:pt x="678435" y="1360127"/>
                  </a:cubicBezTo>
                  <a:lnTo>
                    <a:pt x="685073" y="1366782"/>
                  </a:lnTo>
                  <a:lnTo>
                    <a:pt x="795270" y="1256237"/>
                  </a:lnTo>
                  <a:lnTo>
                    <a:pt x="705865" y="1166588"/>
                  </a:lnTo>
                  <a:close/>
                  <a:moveTo>
                    <a:pt x="798327" y="1031984"/>
                  </a:moveTo>
                  <a:lnTo>
                    <a:pt x="794389" y="1035931"/>
                  </a:lnTo>
                  <a:cubicBezTo>
                    <a:pt x="754026" y="1076386"/>
                    <a:pt x="721003" y="1109486"/>
                    <a:pt x="693983" y="1136568"/>
                  </a:cubicBezTo>
                  <a:lnTo>
                    <a:pt x="688853" y="1141710"/>
                  </a:lnTo>
                  <a:lnTo>
                    <a:pt x="716878" y="1169800"/>
                  </a:lnTo>
                  <a:cubicBezTo>
                    <a:pt x="761541" y="1214565"/>
                    <a:pt x="782558" y="1235631"/>
                    <a:pt x="792449" y="1245545"/>
                  </a:cubicBezTo>
                  <a:lnTo>
                    <a:pt x="799192" y="1252303"/>
                  </a:lnTo>
                  <a:lnTo>
                    <a:pt x="803118" y="1248364"/>
                  </a:lnTo>
                  <a:cubicBezTo>
                    <a:pt x="840630" y="1210735"/>
                    <a:pt x="875640" y="1175614"/>
                    <a:pt x="908317" y="1142835"/>
                  </a:cubicBezTo>
                  <a:lnTo>
                    <a:pt x="908596" y="1142554"/>
                  </a:lnTo>
                  <a:lnTo>
                    <a:pt x="818576" y="1052288"/>
                  </a:lnTo>
                  <a:close/>
                  <a:moveTo>
                    <a:pt x="571577" y="1031934"/>
                  </a:moveTo>
                  <a:lnTo>
                    <a:pt x="545040" y="1058544"/>
                  </a:lnTo>
                  <a:cubicBezTo>
                    <a:pt x="502361" y="1101340"/>
                    <a:pt x="481021" y="1122738"/>
                    <a:pt x="470351" y="1133437"/>
                  </a:cubicBezTo>
                  <a:lnTo>
                    <a:pt x="461357" y="1142456"/>
                  </a:lnTo>
                  <a:lnTo>
                    <a:pt x="478219" y="1159364"/>
                  </a:lnTo>
                  <a:cubicBezTo>
                    <a:pt x="505482" y="1186701"/>
                    <a:pt x="529188" y="1210472"/>
                    <a:pt x="549802" y="1231143"/>
                  </a:cubicBezTo>
                  <a:lnTo>
                    <a:pt x="570640" y="1252037"/>
                  </a:lnTo>
                  <a:lnTo>
                    <a:pt x="680908" y="1141563"/>
                  </a:lnTo>
                  <a:lnTo>
                    <a:pt x="627793" y="1088303"/>
                  </a:lnTo>
                  <a:close/>
                  <a:moveTo>
                    <a:pt x="684928" y="918275"/>
                  </a:moveTo>
                  <a:lnTo>
                    <a:pt x="681581" y="921631"/>
                  </a:lnTo>
                  <a:cubicBezTo>
                    <a:pt x="641236" y="962086"/>
                    <a:pt x="608226" y="995186"/>
                    <a:pt x="581218" y="1022268"/>
                  </a:cubicBezTo>
                  <a:lnTo>
                    <a:pt x="575452" y="1028049"/>
                  </a:lnTo>
                  <a:lnTo>
                    <a:pt x="592317" y="1044953"/>
                  </a:lnTo>
                  <a:cubicBezTo>
                    <a:pt x="619568" y="1072266"/>
                    <a:pt x="643265" y="1096017"/>
                    <a:pt x="663870" y="1116670"/>
                  </a:cubicBezTo>
                  <a:lnTo>
                    <a:pt x="684808" y="1137656"/>
                  </a:lnTo>
                  <a:lnTo>
                    <a:pt x="688579" y="1133877"/>
                  </a:lnTo>
                  <a:cubicBezTo>
                    <a:pt x="726106" y="1096279"/>
                    <a:pt x="761131" y="1061188"/>
                    <a:pt x="793822" y="1028437"/>
                  </a:cubicBezTo>
                  <a:lnTo>
                    <a:pt x="794306" y="1027951"/>
                  </a:lnTo>
                  <a:lnTo>
                    <a:pt x="740505" y="974003"/>
                  </a:lnTo>
                  <a:close/>
                  <a:moveTo>
                    <a:pt x="912350" y="917697"/>
                  </a:moveTo>
                  <a:lnTo>
                    <a:pt x="860604" y="969563"/>
                  </a:lnTo>
                  <a:lnTo>
                    <a:pt x="802228" y="1028074"/>
                  </a:lnTo>
                  <a:lnTo>
                    <a:pt x="829846" y="1055755"/>
                  </a:lnTo>
                  <a:cubicBezTo>
                    <a:pt x="874527" y="1100540"/>
                    <a:pt x="895554" y="1121615"/>
                    <a:pt x="905448" y="1131532"/>
                  </a:cubicBezTo>
                  <a:lnTo>
                    <a:pt x="912519" y="1138619"/>
                  </a:lnTo>
                  <a:lnTo>
                    <a:pt x="999511" y="1051353"/>
                  </a:lnTo>
                  <a:lnTo>
                    <a:pt x="1022572" y="1028220"/>
                  </a:lnTo>
                  <a:lnTo>
                    <a:pt x="932837" y="938241"/>
                  </a:lnTo>
                  <a:close/>
                  <a:moveTo>
                    <a:pt x="457555" y="917601"/>
                  </a:moveTo>
                  <a:lnTo>
                    <a:pt x="430742" y="944499"/>
                  </a:lnTo>
                  <a:cubicBezTo>
                    <a:pt x="388062" y="987313"/>
                    <a:pt x="366723" y="1008720"/>
                    <a:pt x="356053" y="1019424"/>
                  </a:cubicBezTo>
                  <a:lnTo>
                    <a:pt x="347358" y="1028146"/>
                  </a:lnTo>
                  <a:lnTo>
                    <a:pt x="385301" y="1066192"/>
                  </a:lnTo>
                  <a:lnTo>
                    <a:pt x="457579" y="1138668"/>
                  </a:lnTo>
                  <a:lnTo>
                    <a:pt x="567800" y="1028146"/>
                  </a:lnTo>
                  <a:lnTo>
                    <a:pt x="500525" y="960688"/>
                  </a:lnTo>
                  <a:close/>
                  <a:moveTo>
                    <a:pt x="798927" y="803965"/>
                  </a:moveTo>
                  <a:lnTo>
                    <a:pt x="747768" y="855263"/>
                  </a:lnTo>
                  <a:lnTo>
                    <a:pt x="688804" y="914388"/>
                  </a:lnTo>
                  <a:lnTo>
                    <a:pt x="705232" y="930855"/>
                  </a:lnTo>
                  <a:cubicBezTo>
                    <a:pt x="732495" y="958180"/>
                    <a:pt x="756201" y="981941"/>
                    <a:pt x="776815" y="1002603"/>
                  </a:cubicBezTo>
                  <a:lnTo>
                    <a:pt x="798207" y="1024043"/>
                  </a:lnTo>
                  <a:lnTo>
                    <a:pt x="885054" y="937033"/>
                  </a:lnTo>
                  <a:lnTo>
                    <a:pt x="908353" y="913690"/>
                  </a:lnTo>
                  <a:lnTo>
                    <a:pt x="854732" y="859923"/>
                  </a:lnTo>
                  <a:close/>
                  <a:moveTo>
                    <a:pt x="570882" y="803917"/>
                  </a:moveTo>
                  <a:lnTo>
                    <a:pt x="567283" y="807528"/>
                  </a:lnTo>
                  <a:cubicBezTo>
                    <a:pt x="526937" y="848000"/>
                    <a:pt x="493927" y="881114"/>
                    <a:pt x="466919" y="908207"/>
                  </a:cubicBezTo>
                  <a:lnTo>
                    <a:pt x="461405" y="913739"/>
                  </a:lnTo>
                  <a:lnTo>
                    <a:pt x="499438" y="951859"/>
                  </a:lnTo>
                  <a:lnTo>
                    <a:pt x="571674" y="1024262"/>
                  </a:lnTo>
                  <a:lnTo>
                    <a:pt x="576106" y="1019817"/>
                  </a:lnTo>
                  <a:lnTo>
                    <a:pt x="681150" y="914487"/>
                  </a:lnTo>
                  <a:lnTo>
                    <a:pt x="613237" y="846388"/>
                  </a:lnTo>
                  <a:close/>
                  <a:moveTo>
                    <a:pt x="1026535" y="803249"/>
                  </a:moveTo>
                  <a:lnTo>
                    <a:pt x="938827" y="891160"/>
                  </a:lnTo>
                  <a:lnTo>
                    <a:pt x="916299" y="913739"/>
                  </a:lnTo>
                  <a:lnTo>
                    <a:pt x="943891" y="941418"/>
                  </a:lnTo>
                  <a:cubicBezTo>
                    <a:pt x="988553" y="986221"/>
                    <a:pt x="1009571" y="1007305"/>
                    <a:pt x="1019462" y="1017227"/>
                  </a:cubicBezTo>
                  <a:lnTo>
                    <a:pt x="1026496" y="1024283"/>
                  </a:lnTo>
                  <a:lnTo>
                    <a:pt x="1077701" y="972916"/>
                  </a:lnTo>
                  <a:lnTo>
                    <a:pt x="1136835" y="913596"/>
                  </a:lnTo>
                  <a:lnTo>
                    <a:pt x="1047178" y="823901"/>
                  </a:lnTo>
                  <a:close/>
                  <a:moveTo>
                    <a:pt x="343443" y="803177"/>
                  </a:moveTo>
                  <a:lnTo>
                    <a:pt x="316478" y="830142"/>
                  </a:lnTo>
                  <a:cubicBezTo>
                    <a:pt x="273781" y="872840"/>
                    <a:pt x="252432" y="894188"/>
                    <a:pt x="241757" y="904863"/>
                  </a:cubicBezTo>
                  <a:lnTo>
                    <a:pt x="233072" y="913548"/>
                  </a:lnTo>
                  <a:lnTo>
                    <a:pt x="268263" y="948835"/>
                  </a:lnTo>
                  <a:lnTo>
                    <a:pt x="343289" y="1024065"/>
                  </a:lnTo>
                  <a:lnTo>
                    <a:pt x="453509" y="913544"/>
                  </a:lnTo>
                  <a:lnTo>
                    <a:pt x="408109" y="868020"/>
                  </a:lnTo>
                  <a:close/>
                  <a:moveTo>
                    <a:pt x="1139199" y="690325"/>
                  </a:moveTo>
                  <a:lnTo>
                    <a:pt x="1135302" y="694231"/>
                  </a:lnTo>
                  <a:lnTo>
                    <a:pt x="1030309" y="799466"/>
                  </a:lnTo>
                  <a:lnTo>
                    <a:pt x="1058191" y="827360"/>
                  </a:lnTo>
                  <a:cubicBezTo>
                    <a:pt x="1102854" y="872041"/>
                    <a:pt x="1123871" y="893068"/>
                    <a:pt x="1133762" y="902962"/>
                  </a:cubicBezTo>
                  <a:lnTo>
                    <a:pt x="1140608" y="909811"/>
                  </a:lnTo>
                  <a:lnTo>
                    <a:pt x="1143888" y="906521"/>
                  </a:lnTo>
                  <a:cubicBezTo>
                    <a:pt x="1184233" y="866049"/>
                    <a:pt x="1217243" y="832935"/>
                    <a:pt x="1244251" y="805841"/>
                  </a:cubicBezTo>
                  <a:lnTo>
                    <a:pt x="1249372" y="800705"/>
                  </a:lnTo>
                  <a:lnTo>
                    <a:pt x="1159849" y="711014"/>
                  </a:lnTo>
                  <a:close/>
                  <a:moveTo>
                    <a:pt x="230753" y="690180"/>
                  </a:moveTo>
                  <a:lnTo>
                    <a:pt x="203727" y="717268"/>
                  </a:lnTo>
                  <a:cubicBezTo>
                    <a:pt x="161047" y="760045"/>
                    <a:pt x="139708" y="781434"/>
                    <a:pt x="129038" y="792129"/>
                  </a:cubicBezTo>
                  <a:lnTo>
                    <a:pt x="120509" y="800678"/>
                  </a:lnTo>
                  <a:lnTo>
                    <a:pt x="124324" y="804503"/>
                  </a:lnTo>
                  <a:lnTo>
                    <a:pt x="229298" y="909763"/>
                  </a:lnTo>
                  <a:lnTo>
                    <a:pt x="339645" y="799369"/>
                  </a:lnTo>
                  <a:lnTo>
                    <a:pt x="284135" y="743708"/>
                  </a:lnTo>
                  <a:close/>
                  <a:moveTo>
                    <a:pt x="456948" y="689672"/>
                  </a:moveTo>
                  <a:lnTo>
                    <a:pt x="453077" y="693543"/>
                  </a:lnTo>
                  <a:cubicBezTo>
                    <a:pt x="412714" y="733906"/>
                    <a:pt x="379691" y="766930"/>
                    <a:pt x="352671" y="793949"/>
                  </a:cubicBezTo>
                  <a:lnTo>
                    <a:pt x="347275" y="799346"/>
                  </a:lnTo>
                  <a:lnTo>
                    <a:pt x="382450" y="834602"/>
                  </a:lnTo>
                  <a:lnTo>
                    <a:pt x="457359" y="909684"/>
                  </a:lnTo>
                  <a:lnTo>
                    <a:pt x="461567" y="905464"/>
                  </a:lnTo>
                  <a:cubicBezTo>
                    <a:pt x="499094" y="867835"/>
                    <a:pt x="534119" y="832714"/>
                    <a:pt x="566810" y="799935"/>
                  </a:cubicBezTo>
                  <a:lnTo>
                    <a:pt x="566860" y="799884"/>
                  </a:lnTo>
                  <a:lnTo>
                    <a:pt x="520822" y="753720"/>
                  </a:lnTo>
                  <a:close/>
                  <a:moveTo>
                    <a:pt x="912957" y="689623"/>
                  </a:moveTo>
                  <a:lnTo>
                    <a:pt x="825958" y="776860"/>
                  </a:lnTo>
                  <a:lnTo>
                    <a:pt x="802900" y="799981"/>
                  </a:lnTo>
                  <a:lnTo>
                    <a:pt x="819331" y="816464"/>
                  </a:lnTo>
                  <a:cubicBezTo>
                    <a:pt x="846581" y="843801"/>
                    <a:pt x="870278" y="867572"/>
                    <a:pt x="890883" y="888243"/>
                  </a:cubicBezTo>
                  <a:lnTo>
                    <a:pt x="912304" y="909731"/>
                  </a:lnTo>
                  <a:lnTo>
                    <a:pt x="963278" y="858662"/>
                  </a:lnTo>
                  <a:lnTo>
                    <a:pt x="1022558" y="799270"/>
                  </a:lnTo>
                  <a:lnTo>
                    <a:pt x="969106" y="745796"/>
                  </a:lnTo>
                  <a:close/>
                  <a:moveTo>
                    <a:pt x="684856" y="689583"/>
                  </a:moveTo>
                  <a:lnTo>
                    <a:pt x="633469" y="741132"/>
                  </a:lnTo>
                  <a:lnTo>
                    <a:pt x="574733" y="800054"/>
                  </a:lnTo>
                  <a:lnTo>
                    <a:pt x="612314" y="837722"/>
                  </a:lnTo>
                  <a:lnTo>
                    <a:pt x="685025" y="910601"/>
                  </a:lnTo>
                  <a:lnTo>
                    <a:pt x="772499" y="822889"/>
                  </a:lnTo>
                  <a:lnTo>
                    <a:pt x="795149" y="800177"/>
                  </a:lnTo>
                  <a:lnTo>
                    <a:pt x="727410" y="732253"/>
                  </a:lnTo>
                  <a:close/>
                  <a:moveTo>
                    <a:pt x="1025680" y="576593"/>
                  </a:moveTo>
                  <a:lnTo>
                    <a:pt x="1022351" y="579931"/>
                  </a:lnTo>
                  <a:cubicBezTo>
                    <a:pt x="984840" y="617545"/>
                    <a:pt x="949829" y="652651"/>
                    <a:pt x="917152" y="685417"/>
                  </a:cubicBezTo>
                  <a:lnTo>
                    <a:pt x="916731" y="685840"/>
                  </a:lnTo>
                  <a:lnTo>
                    <a:pt x="933630" y="702746"/>
                  </a:lnTo>
                  <a:cubicBezTo>
                    <a:pt x="960881" y="730009"/>
                    <a:pt x="984578" y="753715"/>
                    <a:pt x="1005183" y="774329"/>
                  </a:cubicBezTo>
                  <a:lnTo>
                    <a:pt x="1026333" y="795488"/>
                  </a:lnTo>
                  <a:lnTo>
                    <a:pt x="1029492" y="792324"/>
                  </a:lnTo>
                  <a:cubicBezTo>
                    <a:pt x="1069855" y="751885"/>
                    <a:pt x="1102879" y="718799"/>
                    <a:pt x="1129898" y="691729"/>
                  </a:cubicBezTo>
                  <a:lnTo>
                    <a:pt x="1135249" y="686368"/>
                  </a:lnTo>
                  <a:lnTo>
                    <a:pt x="1081744" y="632763"/>
                  </a:lnTo>
                  <a:close/>
                  <a:moveTo>
                    <a:pt x="344128" y="576544"/>
                  </a:moveTo>
                  <a:lnTo>
                    <a:pt x="340268" y="580412"/>
                  </a:lnTo>
                  <a:cubicBezTo>
                    <a:pt x="299923" y="620851"/>
                    <a:pt x="266913" y="653936"/>
                    <a:pt x="239905" y="681007"/>
                  </a:cubicBezTo>
                  <a:lnTo>
                    <a:pt x="234556" y="686368"/>
                  </a:lnTo>
                  <a:lnTo>
                    <a:pt x="238571" y="690392"/>
                  </a:lnTo>
                  <a:lnTo>
                    <a:pt x="343475" y="795537"/>
                  </a:lnTo>
                  <a:lnTo>
                    <a:pt x="347506" y="791504"/>
                  </a:lnTo>
                  <a:cubicBezTo>
                    <a:pt x="385018" y="753977"/>
                    <a:pt x="420028" y="718952"/>
                    <a:pt x="452704" y="686261"/>
                  </a:cubicBezTo>
                  <a:lnTo>
                    <a:pt x="453126" y="685840"/>
                  </a:lnTo>
                  <a:lnTo>
                    <a:pt x="396848" y="629408"/>
                  </a:lnTo>
                  <a:close/>
                  <a:moveTo>
                    <a:pt x="1253295" y="575967"/>
                  </a:moveTo>
                  <a:lnTo>
                    <a:pt x="1143148" y="686368"/>
                  </a:lnTo>
                  <a:lnTo>
                    <a:pt x="1171158" y="714442"/>
                  </a:lnTo>
                  <a:cubicBezTo>
                    <a:pt x="1215839" y="759227"/>
                    <a:pt x="1236866" y="780302"/>
                    <a:pt x="1246761" y="790219"/>
                  </a:cubicBezTo>
                  <a:lnTo>
                    <a:pt x="1253295" y="796769"/>
                  </a:lnTo>
                  <a:lnTo>
                    <a:pt x="1280429" y="769550"/>
                  </a:lnTo>
                  <a:cubicBezTo>
                    <a:pt x="1323109" y="726736"/>
                    <a:pt x="1344448" y="705329"/>
                    <a:pt x="1355118" y="694625"/>
                  </a:cubicBezTo>
                  <a:lnTo>
                    <a:pt x="1363349" y="686368"/>
                  </a:lnTo>
                  <a:lnTo>
                    <a:pt x="1274190" y="596928"/>
                  </a:lnTo>
                  <a:close/>
                  <a:moveTo>
                    <a:pt x="116731" y="575847"/>
                  </a:moveTo>
                  <a:lnTo>
                    <a:pt x="106499" y="586107"/>
                  </a:lnTo>
                  <a:cubicBezTo>
                    <a:pt x="52272" y="640481"/>
                    <a:pt x="26753" y="666069"/>
                    <a:pt x="14745" y="678111"/>
                  </a:cubicBezTo>
                  <a:lnTo>
                    <a:pt x="6510" y="686368"/>
                  </a:lnTo>
                  <a:lnTo>
                    <a:pt x="116730" y="796889"/>
                  </a:lnTo>
                  <a:lnTo>
                    <a:pt x="226951" y="686368"/>
                  </a:lnTo>
                  <a:lnTo>
                    <a:pt x="218507" y="677900"/>
                  </a:lnTo>
                  <a:cubicBezTo>
                    <a:pt x="163251" y="622494"/>
                    <a:pt x="137377" y="596549"/>
                    <a:pt x="125260" y="584400"/>
                  </a:cubicBezTo>
                  <a:close/>
                  <a:moveTo>
                    <a:pt x="571102" y="575518"/>
                  </a:moveTo>
                  <a:lnTo>
                    <a:pt x="519292" y="627329"/>
                  </a:lnTo>
                  <a:lnTo>
                    <a:pt x="460781" y="685839"/>
                  </a:lnTo>
                  <a:lnTo>
                    <a:pt x="495276" y="720414"/>
                  </a:lnTo>
                  <a:lnTo>
                    <a:pt x="570711" y="796023"/>
                  </a:lnTo>
                  <a:lnTo>
                    <a:pt x="658042" y="708453"/>
                  </a:lnTo>
                  <a:lnTo>
                    <a:pt x="680859" y="685574"/>
                  </a:lnTo>
                  <a:lnTo>
                    <a:pt x="634956" y="639546"/>
                  </a:lnTo>
                  <a:close/>
                  <a:moveTo>
                    <a:pt x="798731" y="575349"/>
                  </a:moveTo>
                  <a:lnTo>
                    <a:pt x="711659" y="662696"/>
                  </a:lnTo>
                  <a:lnTo>
                    <a:pt x="688852" y="685574"/>
                  </a:lnTo>
                  <a:lnTo>
                    <a:pt x="726451" y="723292"/>
                  </a:lnTo>
                  <a:lnTo>
                    <a:pt x="799123" y="796193"/>
                  </a:lnTo>
                  <a:lnTo>
                    <a:pt x="850689" y="744485"/>
                  </a:lnTo>
                  <a:lnTo>
                    <a:pt x="909175" y="685840"/>
                  </a:lnTo>
                  <a:lnTo>
                    <a:pt x="841837" y="618473"/>
                  </a:lnTo>
                  <a:close/>
                  <a:moveTo>
                    <a:pt x="458151" y="462259"/>
                  </a:moveTo>
                  <a:lnTo>
                    <a:pt x="406455" y="514073"/>
                  </a:lnTo>
                  <a:lnTo>
                    <a:pt x="347932" y="572731"/>
                  </a:lnTo>
                  <a:lnTo>
                    <a:pt x="351337" y="576143"/>
                  </a:lnTo>
                  <a:lnTo>
                    <a:pt x="456957" y="682007"/>
                  </a:lnTo>
                  <a:lnTo>
                    <a:pt x="543898" y="595029"/>
                  </a:lnTo>
                  <a:lnTo>
                    <a:pt x="567256" y="571661"/>
                  </a:lnTo>
                  <a:lnTo>
                    <a:pt x="510929" y="515181"/>
                  </a:lnTo>
                  <a:close/>
                  <a:moveTo>
                    <a:pt x="911513" y="462211"/>
                  </a:moveTo>
                  <a:lnTo>
                    <a:pt x="908051" y="465684"/>
                  </a:lnTo>
                  <a:cubicBezTo>
                    <a:pt x="870540" y="503314"/>
                    <a:pt x="835529" y="538435"/>
                    <a:pt x="802853" y="571214"/>
                  </a:cubicBezTo>
                  <a:lnTo>
                    <a:pt x="802504" y="571564"/>
                  </a:lnTo>
                  <a:lnTo>
                    <a:pt x="840751" y="609827"/>
                  </a:lnTo>
                  <a:lnTo>
                    <a:pt x="912949" y="682056"/>
                  </a:lnTo>
                  <a:lnTo>
                    <a:pt x="916876" y="678118"/>
                  </a:lnTo>
                  <a:cubicBezTo>
                    <a:pt x="957221" y="637663"/>
                    <a:pt x="990231" y="604563"/>
                    <a:pt x="1017239" y="577481"/>
                  </a:cubicBezTo>
                  <a:lnTo>
                    <a:pt x="1021901" y="572807"/>
                  </a:lnTo>
                  <a:lnTo>
                    <a:pt x="954422" y="505201"/>
                  </a:lnTo>
                  <a:close/>
                  <a:moveTo>
                    <a:pt x="230082" y="462186"/>
                  </a:moveTo>
                  <a:lnTo>
                    <a:pt x="170858" y="521572"/>
                  </a:lnTo>
                  <a:lnTo>
                    <a:pt x="120509" y="572058"/>
                  </a:lnTo>
                  <a:lnTo>
                    <a:pt x="230753" y="682556"/>
                  </a:lnTo>
                  <a:lnTo>
                    <a:pt x="234793" y="678504"/>
                  </a:lnTo>
                  <a:cubicBezTo>
                    <a:pt x="272305" y="640891"/>
                    <a:pt x="307315" y="605785"/>
                    <a:pt x="339992" y="573019"/>
                  </a:cubicBezTo>
                  <a:lnTo>
                    <a:pt x="340302" y="572708"/>
                  </a:lnTo>
                  <a:lnTo>
                    <a:pt x="331220" y="563600"/>
                  </a:lnTo>
                  <a:cubicBezTo>
                    <a:pt x="275964" y="508194"/>
                    <a:pt x="250090" y="482249"/>
                    <a:pt x="237974" y="470100"/>
                  </a:cubicBezTo>
                  <a:close/>
                  <a:moveTo>
                    <a:pt x="1139824" y="462138"/>
                  </a:moveTo>
                  <a:lnTo>
                    <a:pt x="1029652" y="572610"/>
                  </a:lnTo>
                  <a:lnTo>
                    <a:pt x="1046544" y="589542"/>
                  </a:lnTo>
                  <a:cubicBezTo>
                    <a:pt x="1073807" y="616867"/>
                    <a:pt x="1097513" y="640628"/>
                    <a:pt x="1118127" y="661290"/>
                  </a:cubicBezTo>
                  <a:lnTo>
                    <a:pt x="1139199" y="682410"/>
                  </a:lnTo>
                  <a:lnTo>
                    <a:pt x="1166091" y="655468"/>
                  </a:lnTo>
                  <a:cubicBezTo>
                    <a:pt x="1208789" y="612690"/>
                    <a:pt x="1230137" y="591302"/>
                    <a:pt x="1240812" y="580607"/>
                  </a:cubicBezTo>
                  <a:lnTo>
                    <a:pt x="1249372" y="572031"/>
                  </a:lnTo>
                  <a:lnTo>
                    <a:pt x="1196118" y="518610"/>
                  </a:lnTo>
                  <a:close/>
                  <a:moveTo>
                    <a:pt x="685025" y="461595"/>
                  </a:moveTo>
                  <a:lnTo>
                    <a:pt x="597515" y="549105"/>
                  </a:lnTo>
                  <a:lnTo>
                    <a:pt x="575128" y="571492"/>
                  </a:lnTo>
                  <a:lnTo>
                    <a:pt x="609464" y="605935"/>
                  </a:lnTo>
                  <a:lnTo>
                    <a:pt x="684856" y="681566"/>
                  </a:lnTo>
                  <a:lnTo>
                    <a:pt x="736266" y="630016"/>
                  </a:lnTo>
                  <a:lnTo>
                    <a:pt x="794753" y="571369"/>
                  </a:lnTo>
                  <a:lnTo>
                    <a:pt x="749422" y="526019"/>
                  </a:lnTo>
                  <a:close/>
                  <a:moveTo>
                    <a:pt x="798067" y="348553"/>
                  </a:moveTo>
                  <a:lnTo>
                    <a:pt x="793990" y="352630"/>
                  </a:lnTo>
                  <a:lnTo>
                    <a:pt x="688804" y="457816"/>
                  </a:lnTo>
                  <a:lnTo>
                    <a:pt x="723762" y="492790"/>
                  </a:lnTo>
                  <a:lnTo>
                    <a:pt x="798527" y="567586"/>
                  </a:lnTo>
                  <a:lnTo>
                    <a:pt x="802480" y="563621"/>
                  </a:lnTo>
                  <a:cubicBezTo>
                    <a:pt x="842843" y="523149"/>
                    <a:pt x="875867" y="490035"/>
                    <a:pt x="902886" y="462941"/>
                  </a:cubicBezTo>
                  <a:lnTo>
                    <a:pt x="907562" y="458253"/>
                  </a:lnTo>
                  <a:lnTo>
                    <a:pt x="861968" y="412573"/>
                  </a:lnTo>
                  <a:close/>
                  <a:moveTo>
                    <a:pt x="571813" y="348335"/>
                  </a:moveTo>
                  <a:lnTo>
                    <a:pt x="484645" y="435703"/>
                  </a:lnTo>
                  <a:lnTo>
                    <a:pt x="462196" y="458203"/>
                  </a:lnTo>
                  <a:lnTo>
                    <a:pt x="465586" y="461603"/>
                  </a:lnTo>
                  <a:lnTo>
                    <a:pt x="571282" y="567633"/>
                  </a:lnTo>
                  <a:lnTo>
                    <a:pt x="622088" y="516805"/>
                  </a:lnTo>
                  <a:lnTo>
                    <a:pt x="681150" y="457718"/>
                  </a:lnTo>
                  <a:lnTo>
                    <a:pt x="625448" y="401992"/>
                  </a:lnTo>
                  <a:close/>
                  <a:moveTo>
                    <a:pt x="344080" y="347877"/>
                  </a:moveTo>
                  <a:lnTo>
                    <a:pt x="339697" y="352271"/>
                  </a:lnTo>
                  <a:cubicBezTo>
                    <a:pt x="309790" y="382260"/>
                    <a:pt x="282548" y="409577"/>
                    <a:pt x="257733" y="434460"/>
                  </a:cubicBezTo>
                  <a:lnTo>
                    <a:pt x="233861" y="458397"/>
                  </a:lnTo>
                  <a:lnTo>
                    <a:pt x="344105" y="568895"/>
                  </a:lnTo>
                  <a:lnTo>
                    <a:pt x="431186" y="481576"/>
                  </a:lnTo>
                  <a:lnTo>
                    <a:pt x="454301" y="458398"/>
                  </a:lnTo>
                  <a:lnTo>
                    <a:pt x="445273" y="449346"/>
                  </a:lnTo>
                  <a:cubicBezTo>
                    <a:pt x="389994" y="393916"/>
                    <a:pt x="364109" y="367960"/>
                    <a:pt x="351988" y="355806"/>
                  </a:cubicBezTo>
                  <a:close/>
                  <a:moveTo>
                    <a:pt x="1025705" y="347659"/>
                  </a:moveTo>
                  <a:lnTo>
                    <a:pt x="915508" y="458203"/>
                  </a:lnTo>
                  <a:lnTo>
                    <a:pt x="953625" y="496409"/>
                  </a:lnTo>
                  <a:lnTo>
                    <a:pt x="1025873" y="568823"/>
                  </a:lnTo>
                  <a:lnTo>
                    <a:pt x="1053417" y="541205"/>
                  </a:lnTo>
                  <a:cubicBezTo>
                    <a:pt x="1096097" y="498409"/>
                    <a:pt x="1117436" y="477011"/>
                    <a:pt x="1128106" y="466312"/>
                  </a:cubicBezTo>
                  <a:lnTo>
                    <a:pt x="1136047" y="458349"/>
                  </a:lnTo>
                  <a:lnTo>
                    <a:pt x="1068849" y="390940"/>
                  </a:lnTo>
                  <a:close/>
                  <a:moveTo>
                    <a:pt x="684808" y="235080"/>
                  </a:moveTo>
                  <a:lnTo>
                    <a:pt x="681038" y="238858"/>
                  </a:lnTo>
                  <a:cubicBezTo>
                    <a:pt x="643526" y="276456"/>
                    <a:pt x="608516" y="311547"/>
                    <a:pt x="575839" y="344299"/>
                  </a:cubicBezTo>
                  <a:lnTo>
                    <a:pt x="575587" y="344552"/>
                  </a:lnTo>
                  <a:lnTo>
                    <a:pt x="579884" y="348851"/>
                  </a:lnTo>
                  <a:lnTo>
                    <a:pt x="684928" y="453939"/>
                  </a:lnTo>
                  <a:lnTo>
                    <a:pt x="688275" y="450591"/>
                  </a:lnTo>
                  <a:cubicBezTo>
                    <a:pt x="728620" y="410228"/>
                    <a:pt x="761630" y="377204"/>
                    <a:pt x="788638" y="350185"/>
                  </a:cubicBezTo>
                  <a:lnTo>
                    <a:pt x="794171" y="344649"/>
                  </a:lnTo>
                  <a:lnTo>
                    <a:pt x="737941" y="288313"/>
                  </a:lnTo>
                  <a:close/>
                  <a:moveTo>
                    <a:pt x="912511" y="234109"/>
                  </a:moveTo>
                  <a:lnTo>
                    <a:pt x="802093" y="344527"/>
                  </a:lnTo>
                  <a:lnTo>
                    <a:pt x="836588" y="379101"/>
                  </a:lnTo>
                  <a:lnTo>
                    <a:pt x="911559" y="454245"/>
                  </a:lnTo>
                  <a:lnTo>
                    <a:pt x="939079" y="426650"/>
                  </a:lnTo>
                  <a:cubicBezTo>
                    <a:pt x="981776" y="383836"/>
                    <a:pt x="1003125" y="362429"/>
                    <a:pt x="1013800" y="351725"/>
                  </a:cubicBezTo>
                  <a:lnTo>
                    <a:pt x="1021780" y="343723"/>
                  </a:lnTo>
                  <a:lnTo>
                    <a:pt x="976434" y="298233"/>
                  </a:lnTo>
                  <a:close/>
                  <a:moveTo>
                    <a:pt x="457587" y="234060"/>
                  </a:moveTo>
                  <a:lnTo>
                    <a:pt x="437652" y="254050"/>
                  </a:lnTo>
                  <a:lnTo>
                    <a:pt x="348149" y="343797"/>
                  </a:lnTo>
                  <a:lnTo>
                    <a:pt x="458346" y="454341"/>
                  </a:lnTo>
                  <a:lnTo>
                    <a:pt x="509376" y="403172"/>
                  </a:lnTo>
                  <a:lnTo>
                    <a:pt x="567934" y="344454"/>
                  </a:lnTo>
                  <a:lnTo>
                    <a:pt x="559820" y="336336"/>
                  </a:lnTo>
                  <a:cubicBezTo>
                    <a:pt x="504564" y="281057"/>
                    <a:pt x="478690" y="255172"/>
                    <a:pt x="466573" y="243051"/>
                  </a:cubicBezTo>
                  <a:close/>
                  <a:moveTo>
                    <a:pt x="570640" y="120698"/>
                  </a:moveTo>
                  <a:lnTo>
                    <a:pt x="553022" y="138365"/>
                  </a:lnTo>
                  <a:lnTo>
                    <a:pt x="461360" y="230277"/>
                  </a:lnTo>
                  <a:lnTo>
                    <a:pt x="571708" y="340671"/>
                  </a:lnTo>
                  <a:lnTo>
                    <a:pt x="575563" y="336805"/>
                  </a:lnTo>
                  <a:cubicBezTo>
                    <a:pt x="615908" y="296350"/>
                    <a:pt x="648918" y="263250"/>
                    <a:pt x="675926" y="236168"/>
                  </a:cubicBezTo>
                  <a:lnTo>
                    <a:pt x="680908" y="231173"/>
                  </a:lnTo>
                  <a:lnTo>
                    <a:pt x="672285" y="222534"/>
                  </a:lnTo>
                  <a:cubicBezTo>
                    <a:pt x="617006" y="167151"/>
                    <a:pt x="591121" y="141217"/>
                    <a:pt x="579000" y="129073"/>
                  </a:cubicBezTo>
                  <a:close/>
                  <a:moveTo>
                    <a:pt x="799192" y="120433"/>
                  </a:moveTo>
                  <a:lnTo>
                    <a:pt x="688853" y="231026"/>
                  </a:lnTo>
                  <a:lnTo>
                    <a:pt x="692649" y="234830"/>
                  </a:lnTo>
                  <a:lnTo>
                    <a:pt x="798197" y="340622"/>
                  </a:lnTo>
                  <a:lnTo>
                    <a:pt x="824815" y="313992"/>
                  </a:lnTo>
                  <a:cubicBezTo>
                    <a:pt x="867495" y="271294"/>
                    <a:pt x="888834" y="249946"/>
                    <a:pt x="899504" y="239271"/>
                  </a:cubicBezTo>
                  <a:lnTo>
                    <a:pt x="908593" y="230179"/>
                  </a:lnTo>
                  <a:lnTo>
                    <a:pt x="852460" y="173868"/>
                  </a:lnTo>
                  <a:close/>
                  <a:moveTo>
                    <a:pt x="685073" y="5954"/>
                  </a:moveTo>
                  <a:lnTo>
                    <a:pt x="574709" y="116619"/>
                  </a:lnTo>
                  <a:lnTo>
                    <a:pt x="684953" y="227117"/>
                  </a:lnTo>
                  <a:lnTo>
                    <a:pt x="712104" y="199892"/>
                  </a:lnTo>
                  <a:cubicBezTo>
                    <a:pt x="754784" y="157096"/>
                    <a:pt x="776123" y="135698"/>
                    <a:pt x="786793" y="124999"/>
                  </a:cubicBezTo>
                  <a:lnTo>
                    <a:pt x="795270" y="116499"/>
                  </a:lnTo>
                  <a:lnTo>
                    <a:pt x="786831" y="108033"/>
                  </a:lnTo>
                  <a:cubicBezTo>
                    <a:pt x="731576" y="52603"/>
                    <a:pt x="705701" y="26647"/>
                    <a:pt x="693585" y="14493"/>
                  </a:cubicBezTo>
                  <a:close/>
                  <a:moveTo>
                    <a:pt x="682915" y="0"/>
                  </a:moveTo>
                  <a:lnTo>
                    <a:pt x="683161" y="0"/>
                  </a:lnTo>
                  <a:lnTo>
                    <a:pt x="686984" y="0"/>
                  </a:lnTo>
                  <a:lnTo>
                    <a:pt x="687231" y="0"/>
                  </a:lnTo>
                  <a:lnTo>
                    <a:pt x="687231" y="248"/>
                  </a:lnTo>
                  <a:lnTo>
                    <a:pt x="800924" y="114300"/>
                  </a:lnTo>
                  <a:lnTo>
                    <a:pt x="801241" y="114300"/>
                  </a:lnTo>
                  <a:lnTo>
                    <a:pt x="801241" y="114617"/>
                  </a:lnTo>
                  <a:lnTo>
                    <a:pt x="807135" y="120531"/>
                  </a:lnTo>
                  <a:cubicBezTo>
                    <a:pt x="876341" y="189954"/>
                    <a:pt x="937030" y="250835"/>
                    <a:pt x="990253" y="304225"/>
                  </a:cubicBezTo>
                  <a:lnTo>
                    <a:pt x="1026934" y="341022"/>
                  </a:lnTo>
                  <a:lnTo>
                    <a:pt x="1028253" y="341022"/>
                  </a:lnTo>
                  <a:lnTo>
                    <a:pt x="1028253" y="342345"/>
                  </a:lnTo>
                  <a:lnTo>
                    <a:pt x="1064616" y="378823"/>
                  </a:lnTo>
                  <a:cubicBezTo>
                    <a:pt x="1087624" y="401903"/>
                    <a:pt x="1108896" y="423243"/>
                    <a:pt x="1128564" y="442972"/>
                  </a:cubicBezTo>
                  <a:lnTo>
                    <a:pt x="1141165" y="455613"/>
                  </a:lnTo>
                  <a:lnTo>
                    <a:pt x="1142554" y="455613"/>
                  </a:lnTo>
                  <a:lnTo>
                    <a:pt x="1142554" y="457006"/>
                  </a:lnTo>
                  <a:lnTo>
                    <a:pt x="1198983" y="513613"/>
                  </a:lnTo>
                  <a:lnTo>
                    <a:pt x="1255106" y="569913"/>
                  </a:lnTo>
                  <a:lnTo>
                    <a:pt x="1255556" y="569913"/>
                  </a:lnTo>
                  <a:lnTo>
                    <a:pt x="1255556" y="570364"/>
                  </a:lnTo>
                  <a:lnTo>
                    <a:pt x="1269465" y="584317"/>
                  </a:lnTo>
                  <a:cubicBezTo>
                    <a:pt x="1347321" y="662418"/>
                    <a:pt x="1364623" y="679774"/>
                    <a:pt x="1368467" y="683631"/>
                  </a:cubicBezTo>
                  <a:lnTo>
                    <a:pt x="1368757" y="683922"/>
                  </a:lnTo>
                  <a:lnTo>
                    <a:pt x="1369566" y="683922"/>
                  </a:lnTo>
                  <a:lnTo>
                    <a:pt x="1369566" y="684733"/>
                  </a:lnTo>
                  <a:lnTo>
                    <a:pt x="1369566" y="688003"/>
                  </a:lnTo>
                  <a:lnTo>
                    <a:pt x="1369566" y="688814"/>
                  </a:lnTo>
                  <a:lnTo>
                    <a:pt x="1368352" y="689220"/>
                  </a:lnTo>
                  <a:lnTo>
                    <a:pt x="1255556" y="802372"/>
                  </a:lnTo>
                  <a:lnTo>
                    <a:pt x="1255556" y="802823"/>
                  </a:lnTo>
                  <a:lnTo>
                    <a:pt x="1254769" y="803161"/>
                  </a:lnTo>
                  <a:lnTo>
                    <a:pt x="1249414" y="808533"/>
                  </a:lnTo>
                  <a:cubicBezTo>
                    <a:pt x="1024442" y="1034214"/>
                    <a:pt x="889458" y="1169623"/>
                    <a:pt x="808469" y="1250868"/>
                  </a:cubicBezTo>
                  <a:lnTo>
                    <a:pt x="801241" y="1258118"/>
                  </a:lnTo>
                  <a:lnTo>
                    <a:pt x="801241" y="1258436"/>
                  </a:lnTo>
                  <a:lnTo>
                    <a:pt x="800687" y="1258674"/>
                  </a:lnTo>
                  <a:lnTo>
                    <a:pt x="772306" y="1287144"/>
                  </a:lnTo>
                  <a:cubicBezTo>
                    <a:pt x="708314" y="1351338"/>
                    <a:pt x="692316" y="1367386"/>
                    <a:pt x="688317" y="1371398"/>
                  </a:cubicBezTo>
                  <a:lnTo>
                    <a:pt x="687231" y="1372487"/>
                  </a:lnTo>
                  <a:lnTo>
                    <a:pt x="687231" y="1372736"/>
                  </a:lnTo>
                  <a:cubicBezTo>
                    <a:pt x="686649" y="1373319"/>
                    <a:pt x="685777" y="1373610"/>
                    <a:pt x="685196" y="1373610"/>
                  </a:cubicBezTo>
                  <a:lnTo>
                    <a:pt x="685073" y="1373557"/>
                  </a:lnTo>
                  <a:lnTo>
                    <a:pt x="684949" y="1373610"/>
                  </a:lnTo>
                  <a:cubicBezTo>
                    <a:pt x="684078" y="1373610"/>
                    <a:pt x="683497" y="1373319"/>
                    <a:pt x="682915" y="1372736"/>
                  </a:cubicBezTo>
                  <a:lnTo>
                    <a:pt x="682915" y="1372489"/>
                  </a:lnTo>
                  <a:lnTo>
                    <a:pt x="577098" y="1266428"/>
                  </a:lnTo>
                  <a:lnTo>
                    <a:pt x="569723" y="1259036"/>
                  </a:lnTo>
                  <a:lnTo>
                    <a:pt x="568325" y="1258436"/>
                  </a:lnTo>
                  <a:lnTo>
                    <a:pt x="568325" y="1257635"/>
                  </a:lnTo>
                  <a:lnTo>
                    <a:pt x="488201" y="1177327"/>
                  </a:lnTo>
                  <a:cubicBezTo>
                    <a:pt x="435708" y="1124713"/>
                    <a:pt x="388859" y="1077757"/>
                    <a:pt x="347048" y="1035849"/>
                  </a:cubicBezTo>
                  <a:lnTo>
                    <a:pt x="341350" y="1030138"/>
                  </a:lnTo>
                  <a:lnTo>
                    <a:pt x="341313" y="1030127"/>
                  </a:lnTo>
                  <a:lnTo>
                    <a:pt x="341313" y="1030101"/>
                  </a:lnTo>
                  <a:lnTo>
                    <a:pt x="288033" y="976698"/>
                  </a:lnTo>
                  <a:cubicBezTo>
                    <a:pt x="48016" y="736129"/>
                    <a:pt x="8005" y="696025"/>
                    <a:pt x="1335" y="689340"/>
                  </a:cubicBezTo>
                  <a:lnTo>
                    <a:pt x="1134" y="689139"/>
                  </a:lnTo>
                  <a:lnTo>
                    <a:pt x="0" y="688814"/>
                  </a:lnTo>
                  <a:lnTo>
                    <a:pt x="0" y="688003"/>
                  </a:lnTo>
                  <a:lnTo>
                    <a:pt x="0" y="684733"/>
                  </a:lnTo>
                  <a:lnTo>
                    <a:pt x="0" y="683922"/>
                  </a:lnTo>
                  <a:lnTo>
                    <a:pt x="810" y="683922"/>
                  </a:lnTo>
                  <a:lnTo>
                    <a:pt x="120254" y="564203"/>
                  </a:lnTo>
                  <a:cubicBezTo>
                    <a:pt x="155436" y="528940"/>
                    <a:pt x="188419" y="495881"/>
                    <a:pt x="219340" y="464889"/>
                  </a:cubicBezTo>
                  <a:lnTo>
                    <a:pt x="227304" y="456907"/>
                  </a:lnTo>
                  <a:lnTo>
                    <a:pt x="227304" y="455613"/>
                  </a:lnTo>
                  <a:lnTo>
                    <a:pt x="228595" y="455613"/>
                  </a:lnTo>
                  <a:lnTo>
                    <a:pt x="306057" y="377972"/>
                  </a:lnTo>
                  <a:lnTo>
                    <a:pt x="341313" y="342635"/>
                  </a:lnTo>
                  <a:lnTo>
                    <a:pt x="341313" y="341022"/>
                  </a:lnTo>
                  <a:lnTo>
                    <a:pt x="342923" y="341022"/>
                  </a:lnTo>
                  <a:lnTo>
                    <a:pt x="372437" y="311439"/>
                  </a:lnTo>
                  <a:cubicBezTo>
                    <a:pt x="450118" y="233580"/>
                    <a:pt x="508379" y="175185"/>
                    <a:pt x="552074" y="131389"/>
                  </a:cubicBezTo>
                  <a:lnTo>
                    <a:pt x="568325" y="115100"/>
                  </a:lnTo>
                  <a:lnTo>
                    <a:pt x="568325" y="114300"/>
                  </a:lnTo>
                  <a:lnTo>
                    <a:pt x="569124" y="114300"/>
                  </a:lnTo>
                  <a:lnTo>
                    <a:pt x="607301" y="76035"/>
                  </a:lnTo>
                  <a:cubicBezTo>
                    <a:pt x="664196" y="19009"/>
                    <a:pt x="678420" y="4752"/>
                    <a:pt x="681976" y="1188"/>
                  </a:cubicBezTo>
                  <a:lnTo>
                    <a:pt x="682915" y="246"/>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90" name="Group 89">
              <a:extLst>
                <a:ext uri="{FF2B5EF4-FFF2-40B4-BE49-F238E27FC236}">
                  <a16:creationId xmlns:a16="http://schemas.microsoft.com/office/drawing/2014/main" id="{28F30A1A-EB6D-44A6-9A28-F2C358A76329}"/>
                </a:ext>
              </a:extLst>
            </p:cNvPr>
            <p:cNvGrpSpPr/>
            <p:nvPr/>
          </p:nvGrpSpPr>
          <p:grpSpPr>
            <a:xfrm rot="5400000">
              <a:off x="2380977" y="1781539"/>
              <a:ext cx="2750860" cy="1276616"/>
              <a:chOff x="2767144" y="3047431"/>
              <a:chExt cx="2750858" cy="1276615"/>
            </a:xfrm>
          </p:grpSpPr>
          <p:pic>
            <p:nvPicPr>
              <p:cNvPr id="148" name="Picture 147" descr="A tall clock tower in the background&#10;&#10;Description automatically generated">
                <a:extLst>
                  <a:ext uri="{FF2B5EF4-FFF2-40B4-BE49-F238E27FC236}">
                    <a16:creationId xmlns:a16="http://schemas.microsoft.com/office/drawing/2014/main" id="{16AB17F2-624A-4F68-977A-5EB941362E53}"/>
                  </a:ext>
                </a:extLst>
              </p:cNvPr>
              <p:cNvPicPr>
                <a:picLocks noChangeAspect="1"/>
              </p:cNvPicPr>
              <p:nvPr/>
            </p:nvPicPr>
            <p:blipFill rotWithShape="1">
              <a:blip r:embed="rId6" cstate="screen">
                <a:alphaModFix/>
                <a:extLst>
                  <a:ext uri="{28A0092B-C50C-407E-A947-70E740481C1C}">
                    <a14:useLocalDpi xmlns:a14="http://schemas.microsoft.com/office/drawing/2010/main"/>
                  </a:ext>
                </a:extLst>
              </a:blip>
              <a:srcRect/>
              <a:stretch/>
            </p:blipFill>
            <p:spPr>
              <a:xfrm rot="16200000">
                <a:off x="3229345" y="2668103"/>
                <a:ext cx="1034345" cy="1793002"/>
              </a:xfrm>
              <a:prstGeom prst="rect">
                <a:avLst/>
              </a:prstGeom>
            </p:spPr>
          </p:pic>
          <p:sp>
            <p:nvSpPr>
              <p:cNvPr id="149" name="Rectangle: Rounded Corners 148">
                <a:extLst>
                  <a:ext uri="{FF2B5EF4-FFF2-40B4-BE49-F238E27FC236}">
                    <a16:creationId xmlns:a16="http://schemas.microsoft.com/office/drawing/2014/main" id="{006E1C93-D2F7-4117-9F24-07E51A34E6A7}"/>
                  </a:ext>
                </a:extLst>
              </p:cNvPr>
              <p:cNvSpPr/>
              <p:nvPr/>
            </p:nvSpPr>
            <p:spPr>
              <a:xfrm rot="5400000">
                <a:off x="5284904" y="4090948"/>
                <a:ext cx="72509" cy="393687"/>
              </a:xfrm>
              <a:prstGeom prst="roundRect">
                <a:avLst>
                  <a:gd name="adj" fmla="val 50000"/>
                </a:avLst>
              </a:prstGeom>
              <a:solidFill>
                <a:schemeClr val="bg2"/>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sp>
            <p:nvSpPr>
              <p:cNvPr id="150" name="Rectangle: Rounded Corners 149">
                <a:extLst>
                  <a:ext uri="{FF2B5EF4-FFF2-40B4-BE49-F238E27FC236}">
                    <a16:creationId xmlns:a16="http://schemas.microsoft.com/office/drawing/2014/main" id="{50214491-EF40-4595-8FB5-58A836A27BDD}"/>
                  </a:ext>
                </a:extLst>
              </p:cNvPr>
              <p:cNvSpPr/>
              <p:nvPr/>
            </p:nvSpPr>
            <p:spPr>
              <a:xfrm rot="5400000">
                <a:off x="2927733" y="3193612"/>
                <a:ext cx="72509" cy="393687"/>
              </a:xfrm>
              <a:prstGeom prst="roundRect">
                <a:avLst>
                  <a:gd name="adj" fmla="val 50000"/>
                </a:avLst>
              </a:prstGeom>
              <a:solidFill>
                <a:schemeClr val="accent2">
                  <a:alpha val="78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grpSp>
        <p:sp>
          <p:nvSpPr>
            <p:cNvPr id="91" name="Freeform: Shape 90">
              <a:extLst>
                <a:ext uri="{FF2B5EF4-FFF2-40B4-BE49-F238E27FC236}">
                  <a16:creationId xmlns:a16="http://schemas.microsoft.com/office/drawing/2014/main" id="{9EF9CC2B-4985-4461-8DC8-3C06AAF98A8E}"/>
                </a:ext>
              </a:extLst>
            </p:cNvPr>
            <p:cNvSpPr/>
            <p:nvPr/>
          </p:nvSpPr>
          <p:spPr>
            <a:xfrm>
              <a:off x="4227689" y="2821062"/>
              <a:ext cx="1334912" cy="709766"/>
            </a:xfrm>
            <a:custGeom>
              <a:avLst/>
              <a:gdLst>
                <a:gd name="connsiteX0" fmla="*/ 911860 w 1823720"/>
                <a:gd name="connsiteY0" fmla="*/ 0 h 969663"/>
                <a:gd name="connsiteX1" fmla="*/ 1823720 w 1823720"/>
                <a:gd name="connsiteY1" fmla="*/ 911860 h 969663"/>
                <a:gd name="connsiteX2" fmla="*/ 1817893 w 1823720"/>
                <a:gd name="connsiteY2" fmla="*/ 969663 h 969663"/>
                <a:gd name="connsiteX3" fmla="*/ 5827 w 1823720"/>
                <a:gd name="connsiteY3" fmla="*/ 969663 h 969663"/>
                <a:gd name="connsiteX4" fmla="*/ 0 w 1823720"/>
                <a:gd name="connsiteY4" fmla="*/ 911860 h 969663"/>
                <a:gd name="connsiteX5" fmla="*/ 911860 w 1823720"/>
                <a:gd name="connsiteY5" fmla="*/ 0 h 969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3720" h="969663">
                  <a:moveTo>
                    <a:pt x="911860" y="0"/>
                  </a:moveTo>
                  <a:cubicBezTo>
                    <a:pt x="1415466" y="0"/>
                    <a:pt x="1823720" y="408254"/>
                    <a:pt x="1823720" y="911860"/>
                  </a:cubicBezTo>
                  <a:lnTo>
                    <a:pt x="1817893" y="969663"/>
                  </a:lnTo>
                  <a:lnTo>
                    <a:pt x="5827" y="969663"/>
                  </a:lnTo>
                  <a:lnTo>
                    <a:pt x="0" y="911860"/>
                  </a:lnTo>
                  <a:cubicBezTo>
                    <a:pt x="0" y="408254"/>
                    <a:pt x="408254" y="0"/>
                    <a:pt x="911860" y="0"/>
                  </a:cubicBezTo>
                  <a:close/>
                </a:path>
              </a:pathLst>
            </a:custGeom>
            <a:solidFill>
              <a:schemeClr val="accent1"/>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endParaRPr>
            </a:p>
          </p:txBody>
        </p:sp>
        <p:sp>
          <p:nvSpPr>
            <p:cNvPr id="92" name="Rectangle: Rounded Corners 91">
              <a:extLst>
                <a:ext uri="{FF2B5EF4-FFF2-40B4-BE49-F238E27FC236}">
                  <a16:creationId xmlns:a16="http://schemas.microsoft.com/office/drawing/2014/main" id="{417FF035-C280-470A-B7C8-2CBC3DC819DB}"/>
                </a:ext>
              </a:extLst>
            </p:cNvPr>
            <p:cNvSpPr/>
            <p:nvPr/>
          </p:nvSpPr>
          <p:spPr>
            <a:xfrm>
              <a:off x="3360368" y="2192663"/>
              <a:ext cx="157569" cy="613072"/>
            </a:xfrm>
            <a:prstGeom prst="roundRect">
              <a:avLst>
                <a:gd name="adj" fmla="val 22902"/>
              </a:avLst>
            </a:prstGeom>
            <a:solidFill>
              <a:schemeClr val="bg2"/>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sp>
          <p:nvSpPr>
            <p:cNvPr id="93" name="Rectangle: Rounded Corners 92">
              <a:extLst>
                <a:ext uri="{FF2B5EF4-FFF2-40B4-BE49-F238E27FC236}">
                  <a16:creationId xmlns:a16="http://schemas.microsoft.com/office/drawing/2014/main" id="{1B14E753-3684-451F-8349-A2DFCCF711DD}"/>
                </a:ext>
              </a:extLst>
            </p:cNvPr>
            <p:cNvSpPr/>
            <p:nvPr/>
          </p:nvSpPr>
          <p:spPr>
            <a:xfrm>
              <a:off x="3155212" y="2655605"/>
              <a:ext cx="431050" cy="435053"/>
            </a:xfrm>
            <a:prstGeom prst="roundRect">
              <a:avLst>
                <a:gd name="adj" fmla="val 12282"/>
              </a:avLst>
            </a:prstGeom>
            <a:solidFill>
              <a:schemeClr val="accent1"/>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sp>
          <p:nvSpPr>
            <p:cNvPr id="94" name="Rectangle: Rounded Corners 93">
              <a:extLst>
                <a:ext uri="{FF2B5EF4-FFF2-40B4-BE49-F238E27FC236}">
                  <a16:creationId xmlns:a16="http://schemas.microsoft.com/office/drawing/2014/main" id="{386B33F6-DF1E-4454-B986-B785F9C7E563}"/>
                </a:ext>
              </a:extLst>
            </p:cNvPr>
            <p:cNvSpPr/>
            <p:nvPr/>
          </p:nvSpPr>
          <p:spPr>
            <a:xfrm>
              <a:off x="3017165" y="2510586"/>
              <a:ext cx="282137" cy="282137"/>
            </a:xfrm>
            <a:prstGeom prst="roundRect">
              <a:avLst>
                <a:gd name="adj" fmla="val 12282"/>
              </a:avLst>
            </a:prstGeom>
            <a:noFill/>
            <a:ln w="12700" cap="flat" cmpd="sng" algn="ctr">
              <a:solidFill>
                <a:schemeClr val="accent4"/>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sp>
          <p:nvSpPr>
            <p:cNvPr id="95" name="Isosceles Triangle 94">
              <a:extLst>
                <a:ext uri="{FF2B5EF4-FFF2-40B4-BE49-F238E27FC236}">
                  <a16:creationId xmlns:a16="http://schemas.microsoft.com/office/drawing/2014/main" id="{5792B9F4-F940-45D2-AD23-8D2A6BED4187}"/>
                </a:ext>
              </a:extLst>
            </p:cNvPr>
            <p:cNvSpPr/>
            <p:nvPr/>
          </p:nvSpPr>
          <p:spPr>
            <a:xfrm>
              <a:off x="3727096" y="2514163"/>
              <a:ext cx="124102" cy="120524"/>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96" name="Freeform 17">
              <a:extLst>
                <a:ext uri="{FF2B5EF4-FFF2-40B4-BE49-F238E27FC236}">
                  <a16:creationId xmlns:a16="http://schemas.microsoft.com/office/drawing/2014/main" id="{26DD0896-39F3-4D29-AFAC-A6233164CC8E}"/>
                </a:ext>
              </a:extLst>
            </p:cNvPr>
            <p:cNvSpPr>
              <a:spLocks/>
            </p:cNvSpPr>
            <p:nvPr/>
          </p:nvSpPr>
          <p:spPr bwMode="auto">
            <a:xfrm rot="10800000">
              <a:off x="3964146" y="2560980"/>
              <a:ext cx="171302" cy="86745"/>
            </a:xfrm>
            <a:custGeom>
              <a:avLst/>
              <a:gdLst>
                <a:gd name="T0" fmla="*/ 172 w 344"/>
                <a:gd name="T1" fmla="*/ 0 h 172"/>
                <a:gd name="T2" fmla="*/ 172 w 344"/>
                <a:gd name="T3" fmla="*/ 0 h 172"/>
                <a:gd name="T4" fmla="*/ 0 w 344"/>
                <a:gd name="T5" fmla="*/ 155 h 172"/>
                <a:gd name="T6" fmla="*/ 23 w 344"/>
                <a:gd name="T7" fmla="*/ 172 h 172"/>
                <a:gd name="T8" fmla="*/ 321 w 344"/>
                <a:gd name="T9" fmla="*/ 172 h 172"/>
                <a:gd name="T10" fmla="*/ 344 w 344"/>
                <a:gd name="T11" fmla="*/ 155 h 172"/>
                <a:gd name="T12" fmla="*/ 172 w 344"/>
                <a:gd name="T13" fmla="*/ 0 h 172"/>
              </a:gdLst>
              <a:ahLst/>
              <a:cxnLst>
                <a:cxn ang="0">
                  <a:pos x="T0" y="T1"/>
                </a:cxn>
                <a:cxn ang="0">
                  <a:pos x="T2" y="T3"/>
                </a:cxn>
                <a:cxn ang="0">
                  <a:pos x="T4" y="T5"/>
                </a:cxn>
                <a:cxn ang="0">
                  <a:pos x="T6" y="T7"/>
                </a:cxn>
                <a:cxn ang="0">
                  <a:pos x="T8" y="T9"/>
                </a:cxn>
                <a:cxn ang="0">
                  <a:pos x="T10" y="T11"/>
                </a:cxn>
                <a:cxn ang="0">
                  <a:pos x="T12" y="T13"/>
                </a:cxn>
              </a:cxnLst>
              <a:rect l="0" t="0" r="r" b="b"/>
              <a:pathLst>
                <a:path w="344" h="172">
                  <a:moveTo>
                    <a:pt x="172" y="0"/>
                  </a:moveTo>
                  <a:cubicBezTo>
                    <a:pt x="172" y="0"/>
                    <a:pt x="172" y="0"/>
                    <a:pt x="172" y="0"/>
                  </a:cubicBezTo>
                  <a:cubicBezTo>
                    <a:pt x="83" y="0"/>
                    <a:pt x="9" y="68"/>
                    <a:pt x="0" y="155"/>
                  </a:cubicBezTo>
                  <a:cubicBezTo>
                    <a:pt x="3" y="165"/>
                    <a:pt x="12" y="172"/>
                    <a:pt x="23" y="172"/>
                  </a:cubicBezTo>
                  <a:cubicBezTo>
                    <a:pt x="321" y="172"/>
                    <a:pt x="321" y="172"/>
                    <a:pt x="321" y="172"/>
                  </a:cubicBezTo>
                  <a:cubicBezTo>
                    <a:pt x="332" y="172"/>
                    <a:pt x="341" y="165"/>
                    <a:pt x="344" y="155"/>
                  </a:cubicBezTo>
                  <a:cubicBezTo>
                    <a:pt x="335" y="68"/>
                    <a:pt x="261" y="0"/>
                    <a:pt x="172"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97" name="Freeform 13">
              <a:extLst>
                <a:ext uri="{FF2B5EF4-FFF2-40B4-BE49-F238E27FC236}">
                  <a16:creationId xmlns:a16="http://schemas.microsoft.com/office/drawing/2014/main" id="{6A22D5C8-4DC5-4447-AF0F-047AAD8726AC}"/>
                </a:ext>
              </a:extLst>
            </p:cNvPr>
            <p:cNvSpPr>
              <a:spLocks/>
            </p:cNvSpPr>
            <p:nvPr/>
          </p:nvSpPr>
          <p:spPr bwMode="auto">
            <a:xfrm>
              <a:off x="5117554" y="3154801"/>
              <a:ext cx="328847" cy="325595"/>
            </a:xfrm>
            <a:custGeom>
              <a:avLst/>
              <a:gdLst>
                <a:gd name="T0" fmla="*/ 14 w 442"/>
                <a:gd name="T1" fmla="*/ 0 h 419"/>
                <a:gd name="T2" fmla="*/ 0 w 442"/>
                <a:gd name="T3" fmla="*/ 23 h 419"/>
                <a:gd name="T4" fmla="*/ 0 w 442"/>
                <a:gd name="T5" fmla="*/ 375 h 419"/>
                <a:gd name="T6" fmla="*/ 44 w 442"/>
                <a:gd name="T7" fmla="*/ 419 h 419"/>
                <a:gd name="T8" fmla="*/ 412 w 442"/>
                <a:gd name="T9" fmla="*/ 419 h 419"/>
                <a:gd name="T10" fmla="*/ 424 w 442"/>
                <a:gd name="T11" fmla="*/ 388 h 419"/>
                <a:gd name="T12" fmla="*/ 32 w 442"/>
                <a:gd name="T13" fmla="*/ 10 h 419"/>
                <a:gd name="T14" fmla="*/ 14 w 442"/>
                <a:gd name="T15" fmla="*/ 0 h 4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2" h="419">
                  <a:moveTo>
                    <a:pt x="14" y="0"/>
                  </a:moveTo>
                  <a:cubicBezTo>
                    <a:pt x="5" y="0"/>
                    <a:pt x="0" y="8"/>
                    <a:pt x="0" y="23"/>
                  </a:cubicBezTo>
                  <a:cubicBezTo>
                    <a:pt x="0" y="375"/>
                    <a:pt x="0" y="375"/>
                    <a:pt x="0" y="375"/>
                  </a:cubicBezTo>
                  <a:cubicBezTo>
                    <a:pt x="0" y="399"/>
                    <a:pt x="20" y="419"/>
                    <a:pt x="44" y="419"/>
                  </a:cubicBezTo>
                  <a:cubicBezTo>
                    <a:pt x="412" y="419"/>
                    <a:pt x="412" y="419"/>
                    <a:pt x="412" y="419"/>
                  </a:cubicBezTo>
                  <a:cubicBezTo>
                    <a:pt x="436" y="419"/>
                    <a:pt x="442" y="405"/>
                    <a:pt x="424" y="388"/>
                  </a:cubicBezTo>
                  <a:cubicBezTo>
                    <a:pt x="32" y="10"/>
                    <a:pt x="32" y="10"/>
                    <a:pt x="32" y="10"/>
                  </a:cubicBezTo>
                  <a:cubicBezTo>
                    <a:pt x="25" y="3"/>
                    <a:pt x="19" y="0"/>
                    <a:pt x="14"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98" name="Group 97">
              <a:extLst>
                <a:ext uri="{FF2B5EF4-FFF2-40B4-BE49-F238E27FC236}">
                  <a16:creationId xmlns:a16="http://schemas.microsoft.com/office/drawing/2014/main" id="{3322FA96-9683-4359-8488-3AE25088D6B2}"/>
                </a:ext>
              </a:extLst>
            </p:cNvPr>
            <p:cNvGrpSpPr/>
            <p:nvPr/>
          </p:nvGrpSpPr>
          <p:grpSpPr>
            <a:xfrm>
              <a:off x="5136802" y="3162106"/>
              <a:ext cx="290075" cy="20008"/>
              <a:chOff x="6004506" y="2816042"/>
              <a:chExt cx="396293" cy="27333"/>
            </a:xfrm>
            <a:solidFill>
              <a:schemeClr val="tx2"/>
            </a:solidFill>
          </p:grpSpPr>
          <p:sp>
            <p:nvSpPr>
              <p:cNvPr id="142" name="Oval 141">
                <a:extLst>
                  <a:ext uri="{FF2B5EF4-FFF2-40B4-BE49-F238E27FC236}">
                    <a16:creationId xmlns:a16="http://schemas.microsoft.com/office/drawing/2014/main" id="{85519CD3-2375-4C61-8AA4-D8C8E5B70819}"/>
                  </a:ext>
                </a:extLst>
              </p:cNvPr>
              <p:cNvSpPr>
                <a:spLocks noChangeAspect="1"/>
              </p:cNvSpPr>
              <p:nvPr/>
            </p:nvSpPr>
            <p:spPr>
              <a:xfrm rot="10800000" flipV="1">
                <a:off x="6373466" y="2816042"/>
                <a:ext cx="27333" cy="27333"/>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43" name="Oval 142">
                <a:extLst>
                  <a:ext uri="{FF2B5EF4-FFF2-40B4-BE49-F238E27FC236}">
                    <a16:creationId xmlns:a16="http://schemas.microsoft.com/office/drawing/2014/main" id="{454798A2-0B80-4B84-8BE6-DCCDFB618AED}"/>
                  </a:ext>
                </a:extLst>
              </p:cNvPr>
              <p:cNvSpPr>
                <a:spLocks noChangeAspect="1"/>
              </p:cNvSpPr>
              <p:nvPr/>
            </p:nvSpPr>
            <p:spPr>
              <a:xfrm rot="10800000" flipV="1">
                <a:off x="6292816" y="2817554"/>
                <a:ext cx="24309" cy="24309"/>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44" name="Oval 143">
                <a:extLst>
                  <a:ext uri="{FF2B5EF4-FFF2-40B4-BE49-F238E27FC236}">
                    <a16:creationId xmlns:a16="http://schemas.microsoft.com/office/drawing/2014/main" id="{E8630FCC-C852-4144-995A-8F829AFF51DC}"/>
                  </a:ext>
                </a:extLst>
              </p:cNvPr>
              <p:cNvSpPr>
                <a:spLocks noChangeAspect="1"/>
              </p:cNvSpPr>
              <p:nvPr/>
            </p:nvSpPr>
            <p:spPr>
              <a:xfrm rot="10800000" flipV="1">
                <a:off x="6216410" y="2819676"/>
                <a:ext cx="20065" cy="20065"/>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45" name="Oval 144">
                <a:extLst>
                  <a:ext uri="{FF2B5EF4-FFF2-40B4-BE49-F238E27FC236}">
                    <a16:creationId xmlns:a16="http://schemas.microsoft.com/office/drawing/2014/main" id="{6AB589FE-EDF9-475E-B46C-C0A9C7107FF3}"/>
                  </a:ext>
                </a:extLst>
              </p:cNvPr>
              <p:cNvSpPr>
                <a:spLocks noChangeAspect="1"/>
              </p:cNvSpPr>
              <p:nvPr/>
            </p:nvSpPr>
            <p:spPr>
              <a:xfrm rot="10800000" flipV="1">
                <a:off x="6142911" y="2821130"/>
                <a:ext cx="17158" cy="17158"/>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46" name="Oval 145">
                <a:extLst>
                  <a:ext uri="{FF2B5EF4-FFF2-40B4-BE49-F238E27FC236}">
                    <a16:creationId xmlns:a16="http://schemas.microsoft.com/office/drawing/2014/main" id="{1F10C85D-DD79-4955-B37B-198E236BA0C3}"/>
                  </a:ext>
                </a:extLst>
              </p:cNvPr>
              <p:cNvSpPr>
                <a:spLocks noChangeAspect="1"/>
              </p:cNvSpPr>
              <p:nvPr/>
            </p:nvSpPr>
            <p:spPr>
              <a:xfrm rot="10800000" flipV="1">
                <a:off x="6071599" y="2822223"/>
                <a:ext cx="14971" cy="14971"/>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47" name="Oval 146">
                <a:extLst>
                  <a:ext uri="{FF2B5EF4-FFF2-40B4-BE49-F238E27FC236}">
                    <a16:creationId xmlns:a16="http://schemas.microsoft.com/office/drawing/2014/main" id="{3459885A-8FAB-4CD9-A762-7FC754E74572}"/>
                  </a:ext>
                </a:extLst>
              </p:cNvPr>
              <p:cNvSpPr>
                <a:spLocks noChangeAspect="1"/>
              </p:cNvSpPr>
              <p:nvPr/>
            </p:nvSpPr>
            <p:spPr>
              <a:xfrm rot="10800000" flipV="1">
                <a:off x="6004506" y="2824332"/>
                <a:ext cx="10752" cy="1075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grpSp>
        <p:grpSp>
          <p:nvGrpSpPr>
            <p:cNvPr id="99" name="Group 98">
              <a:extLst>
                <a:ext uri="{FF2B5EF4-FFF2-40B4-BE49-F238E27FC236}">
                  <a16:creationId xmlns:a16="http://schemas.microsoft.com/office/drawing/2014/main" id="{1FFF6640-0C15-42A9-A3A7-F37F7120BE46}"/>
                </a:ext>
              </a:extLst>
            </p:cNvPr>
            <p:cNvGrpSpPr/>
            <p:nvPr/>
          </p:nvGrpSpPr>
          <p:grpSpPr>
            <a:xfrm>
              <a:off x="5136802" y="3219475"/>
              <a:ext cx="290075" cy="20008"/>
              <a:chOff x="6004506" y="2897957"/>
              <a:chExt cx="396293" cy="27333"/>
            </a:xfrm>
            <a:solidFill>
              <a:schemeClr val="tx2"/>
            </a:solidFill>
          </p:grpSpPr>
          <p:sp>
            <p:nvSpPr>
              <p:cNvPr id="136" name="Oval 135">
                <a:extLst>
                  <a:ext uri="{FF2B5EF4-FFF2-40B4-BE49-F238E27FC236}">
                    <a16:creationId xmlns:a16="http://schemas.microsoft.com/office/drawing/2014/main" id="{88018F77-CCB9-4CBC-AB3F-B79FA24F27B5}"/>
                  </a:ext>
                </a:extLst>
              </p:cNvPr>
              <p:cNvSpPr>
                <a:spLocks noChangeAspect="1"/>
              </p:cNvSpPr>
              <p:nvPr/>
            </p:nvSpPr>
            <p:spPr>
              <a:xfrm rot="10800000" flipV="1">
                <a:off x="6373466" y="2897957"/>
                <a:ext cx="27333" cy="27333"/>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37" name="Oval 136">
                <a:extLst>
                  <a:ext uri="{FF2B5EF4-FFF2-40B4-BE49-F238E27FC236}">
                    <a16:creationId xmlns:a16="http://schemas.microsoft.com/office/drawing/2014/main" id="{B0E37E22-F4EA-45B5-8722-4FF94DF34BDD}"/>
                  </a:ext>
                </a:extLst>
              </p:cNvPr>
              <p:cNvSpPr>
                <a:spLocks noChangeAspect="1"/>
              </p:cNvSpPr>
              <p:nvPr/>
            </p:nvSpPr>
            <p:spPr>
              <a:xfrm rot="10800000" flipV="1">
                <a:off x="6292816" y="2899469"/>
                <a:ext cx="24309" cy="24309"/>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38" name="Oval 137">
                <a:extLst>
                  <a:ext uri="{FF2B5EF4-FFF2-40B4-BE49-F238E27FC236}">
                    <a16:creationId xmlns:a16="http://schemas.microsoft.com/office/drawing/2014/main" id="{7D0B6601-DFD7-432B-9DAD-DE525857725C}"/>
                  </a:ext>
                </a:extLst>
              </p:cNvPr>
              <p:cNvSpPr>
                <a:spLocks noChangeAspect="1"/>
              </p:cNvSpPr>
              <p:nvPr/>
            </p:nvSpPr>
            <p:spPr>
              <a:xfrm rot="10800000" flipV="1">
                <a:off x="6216410" y="2901591"/>
                <a:ext cx="20065" cy="20065"/>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39" name="Oval 138">
                <a:extLst>
                  <a:ext uri="{FF2B5EF4-FFF2-40B4-BE49-F238E27FC236}">
                    <a16:creationId xmlns:a16="http://schemas.microsoft.com/office/drawing/2014/main" id="{54FF665F-3395-40EA-AB95-BE78FE02B818}"/>
                  </a:ext>
                </a:extLst>
              </p:cNvPr>
              <p:cNvSpPr>
                <a:spLocks noChangeAspect="1"/>
              </p:cNvSpPr>
              <p:nvPr/>
            </p:nvSpPr>
            <p:spPr>
              <a:xfrm rot="10800000" flipV="1">
                <a:off x="6142911" y="2903045"/>
                <a:ext cx="17158" cy="17158"/>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40" name="Oval 139">
                <a:extLst>
                  <a:ext uri="{FF2B5EF4-FFF2-40B4-BE49-F238E27FC236}">
                    <a16:creationId xmlns:a16="http://schemas.microsoft.com/office/drawing/2014/main" id="{F5DB5C47-A920-418A-A210-F83086418503}"/>
                  </a:ext>
                </a:extLst>
              </p:cNvPr>
              <p:cNvSpPr>
                <a:spLocks noChangeAspect="1"/>
              </p:cNvSpPr>
              <p:nvPr/>
            </p:nvSpPr>
            <p:spPr>
              <a:xfrm rot="10800000" flipV="1">
                <a:off x="6071599" y="2904138"/>
                <a:ext cx="14971" cy="14971"/>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41" name="Oval 140">
                <a:extLst>
                  <a:ext uri="{FF2B5EF4-FFF2-40B4-BE49-F238E27FC236}">
                    <a16:creationId xmlns:a16="http://schemas.microsoft.com/office/drawing/2014/main" id="{04815936-45DA-4066-A537-3A1828DECBC7}"/>
                  </a:ext>
                </a:extLst>
              </p:cNvPr>
              <p:cNvSpPr>
                <a:spLocks noChangeAspect="1"/>
              </p:cNvSpPr>
              <p:nvPr/>
            </p:nvSpPr>
            <p:spPr>
              <a:xfrm rot="10800000" flipV="1">
                <a:off x="6004506" y="2906247"/>
                <a:ext cx="10752" cy="1075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grpSp>
        <p:grpSp>
          <p:nvGrpSpPr>
            <p:cNvPr id="100" name="Group 99">
              <a:extLst>
                <a:ext uri="{FF2B5EF4-FFF2-40B4-BE49-F238E27FC236}">
                  <a16:creationId xmlns:a16="http://schemas.microsoft.com/office/drawing/2014/main" id="{CAAF9B9E-FFD1-4141-B140-9AF3E03413B8}"/>
                </a:ext>
              </a:extLst>
            </p:cNvPr>
            <p:cNvGrpSpPr/>
            <p:nvPr/>
          </p:nvGrpSpPr>
          <p:grpSpPr>
            <a:xfrm>
              <a:off x="5136802" y="3276845"/>
              <a:ext cx="290075" cy="20008"/>
              <a:chOff x="6004506" y="2816042"/>
              <a:chExt cx="396293" cy="27333"/>
            </a:xfrm>
            <a:solidFill>
              <a:schemeClr val="tx2"/>
            </a:solidFill>
          </p:grpSpPr>
          <p:sp>
            <p:nvSpPr>
              <p:cNvPr id="130" name="Oval 129">
                <a:extLst>
                  <a:ext uri="{FF2B5EF4-FFF2-40B4-BE49-F238E27FC236}">
                    <a16:creationId xmlns:a16="http://schemas.microsoft.com/office/drawing/2014/main" id="{E595AF4A-0920-444D-A1CB-5D33EE61AF32}"/>
                  </a:ext>
                </a:extLst>
              </p:cNvPr>
              <p:cNvSpPr>
                <a:spLocks noChangeAspect="1"/>
              </p:cNvSpPr>
              <p:nvPr/>
            </p:nvSpPr>
            <p:spPr>
              <a:xfrm rot="10800000" flipV="1">
                <a:off x="6373466" y="2816042"/>
                <a:ext cx="27333" cy="27333"/>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31" name="Oval 130">
                <a:extLst>
                  <a:ext uri="{FF2B5EF4-FFF2-40B4-BE49-F238E27FC236}">
                    <a16:creationId xmlns:a16="http://schemas.microsoft.com/office/drawing/2014/main" id="{1A5DDE06-A271-4630-8C3D-249EA041A3A8}"/>
                  </a:ext>
                </a:extLst>
              </p:cNvPr>
              <p:cNvSpPr>
                <a:spLocks noChangeAspect="1"/>
              </p:cNvSpPr>
              <p:nvPr/>
            </p:nvSpPr>
            <p:spPr>
              <a:xfrm rot="10800000" flipV="1">
                <a:off x="6292816" y="2817554"/>
                <a:ext cx="24309" cy="24309"/>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32" name="Oval 131">
                <a:extLst>
                  <a:ext uri="{FF2B5EF4-FFF2-40B4-BE49-F238E27FC236}">
                    <a16:creationId xmlns:a16="http://schemas.microsoft.com/office/drawing/2014/main" id="{85630C20-ACFF-4A8F-A353-08E147A7F274}"/>
                  </a:ext>
                </a:extLst>
              </p:cNvPr>
              <p:cNvSpPr>
                <a:spLocks noChangeAspect="1"/>
              </p:cNvSpPr>
              <p:nvPr/>
            </p:nvSpPr>
            <p:spPr>
              <a:xfrm rot="10800000" flipV="1">
                <a:off x="6216410" y="2819676"/>
                <a:ext cx="20065" cy="20065"/>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33" name="Oval 132">
                <a:extLst>
                  <a:ext uri="{FF2B5EF4-FFF2-40B4-BE49-F238E27FC236}">
                    <a16:creationId xmlns:a16="http://schemas.microsoft.com/office/drawing/2014/main" id="{B8C0DD46-4A32-4259-BC87-9187F12DCC02}"/>
                  </a:ext>
                </a:extLst>
              </p:cNvPr>
              <p:cNvSpPr>
                <a:spLocks noChangeAspect="1"/>
              </p:cNvSpPr>
              <p:nvPr/>
            </p:nvSpPr>
            <p:spPr>
              <a:xfrm rot="10800000" flipV="1">
                <a:off x="6142911" y="2821130"/>
                <a:ext cx="17158" cy="17158"/>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34" name="Oval 133">
                <a:extLst>
                  <a:ext uri="{FF2B5EF4-FFF2-40B4-BE49-F238E27FC236}">
                    <a16:creationId xmlns:a16="http://schemas.microsoft.com/office/drawing/2014/main" id="{FEC440F2-A1A6-47A2-A044-9669260A295E}"/>
                  </a:ext>
                </a:extLst>
              </p:cNvPr>
              <p:cNvSpPr>
                <a:spLocks noChangeAspect="1"/>
              </p:cNvSpPr>
              <p:nvPr/>
            </p:nvSpPr>
            <p:spPr>
              <a:xfrm rot="10800000" flipV="1">
                <a:off x="6071599" y="2822223"/>
                <a:ext cx="14971" cy="14971"/>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35" name="Oval 134">
                <a:extLst>
                  <a:ext uri="{FF2B5EF4-FFF2-40B4-BE49-F238E27FC236}">
                    <a16:creationId xmlns:a16="http://schemas.microsoft.com/office/drawing/2014/main" id="{F1A61897-6928-4077-B342-6F981BBCB402}"/>
                  </a:ext>
                </a:extLst>
              </p:cNvPr>
              <p:cNvSpPr>
                <a:spLocks noChangeAspect="1"/>
              </p:cNvSpPr>
              <p:nvPr/>
            </p:nvSpPr>
            <p:spPr>
              <a:xfrm rot="10800000" flipV="1">
                <a:off x="6004506" y="2824332"/>
                <a:ext cx="10752" cy="1075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grpSp>
        <p:grpSp>
          <p:nvGrpSpPr>
            <p:cNvPr id="101" name="Group 100">
              <a:extLst>
                <a:ext uri="{FF2B5EF4-FFF2-40B4-BE49-F238E27FC236}">
                  <a16:creationId xmlns:a16="http://schemas.microsoft.com/office/drawing/2014/main" id="{AF945C4F-786E-4683-ADBD-F19AC2A440A2}"/>
                </a:ext>
              </a:extLst>
            </p:cNvPr>
            <p:cNvGrpSpPr/>
            <p:nvPr/>
          </p:nvGrpSpPr>
          <p:grpSpPr>
            <a:xfrm>
              <a:off x="5136802" y="3334215"/>
              <a:ext cx="290075" cy="20008"/>
              <a:chOff x="6004506" y="2897957"/>
              <a:chExt cx="396293" cy="27333"/>
            </a:xfrm>
            <a:solidFill>
              <a:schemeClr val="tx2"/>
            </a:solidFill>
          </p:grpSpPr>
          <p:sp>
            <p:nvSpPr>
              <p:cNvPr id="124" name="Oval 123">
                <a:extLst>
                  <a:ext uri="{FF2B5EF4-FFF2-40B4-BE49-F238E27FC236}">
                    <a16:creationId xmlns:a16="http://schemas.microsoft.com/office/drawing/2014/main" id="{4672B2E1-FD0E-4549-9BAF-CDFC1E156DED}"/>
                  </a:ext>
                </a:extLst>
              </p:cNvPr>
              <p:cNvSpPr>
                <a:spLocks noChangeAspect="1"/>
              </p:cNvSpPr>
              <p:nvPr/>
            </p:nvSpPr>
            <p:spPr>
              <a:xfrm rot="10800000" flipV="1">
                <a:off x="6373466" y="2897957"/>
                <a:ext cx="27333" cy="27333"/>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25" name="Oval 124">
                <a:extLst>
                  <a:ext uri="{FF2B5EF4-FFF2-40B4-BE49-F238E27FC236}">
                    <a16:creationId xmlns:a16="http://schemas.microsoft.com/office/drawing/2014/main" id="{F9DDB1A4-8A0D-4477-8296-320AB40D43F2}"/>
                  </a:ext>
                </a:extLst>
              </p:cNvPr>
              <p:cNvSpPr>
                <a:spLocks noChangeAspect="1"/>
              </p:cNvSpPr>
              <p:nvPr/>
            </p:nvSpPr>
            <p:spPr>
              <a:xfrm rot="10800000" flipV="1">
                <a:off x="6292816" y="2899469"/>
                <a:ext cx="24309" cy="24309"/>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26" name="Oval 125">
                <a:extLst>
                  <a:ext uri="{FF2B5EF4-FFF2-40B4-BE49-F238E27FC236}">
                    <a16:creationId xmlns:a16="http://schemas.microsoft.com/office/drawing/2014/main" id="{BCA6DDA7-457E-49B3-988C-28FF4C74132F}"/>
                  </a:ext>
                </a:extLst>
              </p:cNvPr>
              <p:cNvSpPr>
                <a:spLocks noChangeAspect="1"/>
              </p:cNvSpPr>
              <p:nvPr/>
            </p:nvSpPr>
            <p:spPr>
              <a:xfrm rot="10800000" flipV="1">
                <a:off x="6216410" y="2901591"/>
                <a:ext cx="20065" cy="20065"/>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27" name="Oval 126">
                <a:extLst>
                  <a:ext uri="{FF2B5EF4-FFF2-40B4-BE49-F238E27FC236}">
                    <a16:creationId xmlns:a16="http://schemas.microsoft.com/office/drawing/2014/main" id="{6C3B723A-2321-4F20-97D6-30D6FB2C4B91}"/>
                  </a:ext>
                </a:extLst>
              </p:cNvPr>
              <p:cNvSpPr>
                <a:spLocks noChangeAspect="1"/>
              </p:cNvSpPr>
              <p:nvPr/>
            </p:nvSpPr>
            <p:spPr>
              <a:xfrm rot="10800000" flipV="1">
                <a:off x="6142911" y="2903045"/>
                <a:ext cx="17158" cy="17158"/>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28" name="Oval 127">
                <a:extLst>
                  <a:ext uri="{FF2B5EF4-FFF2-40B4-BE49-F238E27FC236}">
                    <a16:creationId xmlns:a16="http://schemas.microsoft.com/office/drawing/2014/main" id="{35A1D41E-F7BE-4311-979F-C8D053FEA31C}"/>
                  </a:ext>
                </a:extLst>
              </p:cNvPr>
              <p:cNvSpPr>
                <a:spLocks noChangeAspect="1"/>
              </p:cNvSpPr>
              <p:nvPr/>
            </p:nvSpPr>
            <p:spPr>
              <a:xfrm rot="10800000" flipV="1">
                <a:off x="6071599" y="2904138"/>
                <a:ext cx="14971" cy="14971"/>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29" name="Oval 128">
                <a:extLst>
                  <a:ext uri="{FF2B5EF4-FFF2-40B4-BE49-F238E27FC236}">
                    <a16:creationId xmlns:a16="http://schemas.microsoft.com/office/drawing/2014/main" id="{E0523BFF-7C1C-47CD-8E3E-864842C65EB6}"/>
                  </a:ext>
                </a:extLst>
              </p:cNvPr>
              <p:cNvSpPr>
                <a:spLocks noChangeAspect="1"/>
              </p:cNvSpPr>
              <p:nvPr/>
            </p:nvSpPr>
            <p:spPr>
              <a:xfrm rot="10800000" flipV="1">
                <a:off x="6004506" y="2906247"/>
                <a:ext cx="10752" cy="1075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grpSp>
        <p:grpSp>
          <p:nvGrpSpPr>
            <p:cNvPr id="102" name="Group 101">
              <a:extLst>
                <a:ext uri="{FF2B5EF4-FFF2-40B4-BE49-F238E27FC236}">
                  <a16:creationId xmlns:a16="http://schemas.microsoft.com/office/drawing/2014/main" id="{A7B8812F-FB0F-4F9D-A069-88D2E9588928}"/>
                </a:ext>
              </a:extLst>
            </p:cNvPr>
            <p:cNvGrpSpPr/>
            <p:nvPr/>
          </p:nvGrpSpPr>
          <p:grpSpPr>
            <a:xfrm>
              <a:off x="5136802" y="3391584"/>
              <a:ext cx="290075" cy="20008"/>
              <a:chOff x="6004506" y="2816042"/>
              <a:chExt cx="396293" cy="27333"/>
            </a:xfrm>
            <a:solidFill>
              <a:schemeClr val="tx2"/>
            </a:solidFill>
          </p:grpSpPr>
          <p:sp>
            <p:nvSpPr>
              <p:cNvPr id="118" name="Oval 117">
                <a:extLst>
                  <a:ext uri="{FF2B5EF4-FFF2-40B4-BE49-F238E27FC236}">
                    <a16:creationId xmlns:a16="http://schemas.microsoft.com/office/drawing/2014/main" id="{B07EA9EE-15E5-457E-B109-8B229148BC0A}"/>
                  </a:ext>
                </a:extLst>
              </p:cNvPr>
              <p:cNvSpPr>
                <a:spLocks noChangeAspect="1"/>
              </p:cNvSpPr>
              <p:nvPr/>
            </p:nvSpPr>
            <p:spPr>
              <a:xfrm rot="10800000" flipV="1">
                <a:off x="6373466" y="2816042"/>
                <a:ext cx="27333" cy="27333"/>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19" name="Oval 118">
                <a:extLst>
                  <a:ext uri="{FF2B5EF4-FFF2-40B4-BE49-F238E27FC236}">
                    <a16:creationId xmlns:a16="http://schemas.microsoft.com/office/drawing/2014/main" id="{353581B5-BC98-4B42-97F8-847C0DBFEFFE}"/>
                  </a:ext>
                </a:extLst>
              </p:cNvPr>
              <p:cNvSpPr>
                <a:spLocks noChangeAspect="1"/>
              </p:cNvSpPr>
              <p:nvPr/>
            </p:nvSpPr>
            <p:spPr>
              <a:xfrm rot="10800000" flipV="1">
                <a:off x="6292816" y="2817554"/>
                <a:ext cx="24309" cy="24309"/>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20" name="Oval 119">
                <a:extLst>
                  <a:ext uri="{FF2B5EF4-FFF2-40B4-BE49-F238E27FC236}">
                    <a16:creationId xmlns:a16="http://schemas.microsoft.com/office/drawing/2014/main" id="{0C79A392-28C9-4172-8B6E-2E8D84B11A9B}"/>
                  </a:ext>
                </a:extLst>
              </p:cNvPr>
              <p:cNvSpPr>
                <a:spLocks noChangeAspect="1"/>
              </p:cNvSpPr>
              <p:nvPr/>
            </p:nvSpPr>
            <p:spPr>
              <a:xfrm rot="10800000" flipV="1">
                <a:off x="6216410" y="2819676"/>
                <a:ext cx="20065" cy="20065"/>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21" name="Oval 120">
                <a:extLst>
                  <a:ext uri="{FF2B5EF4-FFF2-40B4-BE49-F238E27FC236}">
                    <a16:creationId xmlns:a16="http://schemas.microsoft.com/office/drawing/2014/main" id="{9D380F16-C622-40ED-8628-7C9F177BCCFB}"/>
                  </a:ext>
                </a:extLst>
              </p:cNvPr>
              <p:cNvSpPr>
                <a:spLocks noChangeAspect="1"/>
              </p:cNvSpPr>
              <p:nvPr/>
            </p:nvSpPr>
            <p:spPr>
              <a:xfrm rot="10800000" flipV="1">
                <a:off x="6142911" y="2821130"/>
                <a:ext cx="17158" cy="17158"/>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22" name="Oval 121">
                <a:extLst>
                  <a:ext uri="{FF2B5EF4-FFF2-40B4-BE49-F238E27FC236}">
                    <a16:creationId xmlns:a16="http://schemas.microsoft.com/office/drawing/2014/main" id="{A3B9DA86-8B63-4D03-8BF7-B6D2CDFD456B}"/>
                  </a:ext>
                </a:extLst>
              </p:cNvPr>
              <p:cNvSpPr>
                <a:spLocks noChangeAspect="1"/>
              </p:cNvSpPr>
              <p:nvPr/>
            </p:nvSpPr>
            <p:spPr>
              <a:xfrm rot="10800000" flipV="1">
                <a:off x="6071599" y="2822223"/>
                <a:ext cx="14971" cy="14971"/>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23" name="Oval 122">
                <a:extLst>
                  <a:ext uri="{FF2B5EF4-FFF2-40B4-BE49-F238E27FC236}">
                    <a16:creationId xmlns:a16="http://schemas.microsoft.com/office/drawing/2014/main" id="{C8C4F95F-427B-4E3C-813E-3ACC8DA99BFD}"/>
                  </a:ext>
                </a:extLst>
              </p:cNvPr>
              <p:cNvSpPr>
                <a:spLocks noChangeAspect="1"/>
              </p:cNvSpPr>
              <p:nvPr/>
            </p:nvSpPr>
            <p:spPr>
              <a:xfrm rot="10800000" flipV="1">
                <a:off x="6004506" y="2824332"/>
                <a:ext cx="10752" cy="1075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grpSp>
        <p:grpSp>
          <p:nvGrpSpPr>
            <p:cNvPr id="103" name="Group 102">
              <a:extLst>
                <a:ext uri="{FF2B5EF4-FFF2-40B4-BE49-F238E27FC236}">
                  <a16:creationId xmlns:a16="http://schemas.microsoft.com/office/drawing/2014/main" id="{51762DD9-45AA-4AEC-900E-E53D31ACBDED}"/>
                </a:ext>
              </a:extLst>
            </p:cNvPr>
            <p:cNvGrpSpPr/>
            <p:nvPr/>
          </p:nvGrpSpPr>
          <p:grpSpPr>
            <a:xfrm>
              <a:off x="5136802" y="3448955"/>
              <a:ext cx="290075" cy="20008"/>
              <a:chOff x="6004506" y="2897957"/>
              <a:chExt cx="396293" cy="27333"/>
            </a:xfrm>
            <a:solidFill>
              <a:schemeClr val="tx2"/>
            </a:solidFill>
          </p:grpSpPr>
          <p:sp>
            <p:nvSpPr>
              <p:cNvPr id="112" name="Oval 111">
                <a:extLst>
                  <a:ext uri="{FF2B5EF4-FFF2-40B4-BE49-F238E27FC236}">
                    <a16:creationId xmlns:a16="http://schemas.microsoft.com/office/drawing/2014/main" id="{22C1DD80-139B-4BBF-930D-1B4077C3C8CC}"/>
                  </a:ext>
                </a:extLst>
              </p:cNvPr>
              <p:cNvSpPr>
                <a:spLocks noChangeAspect="1"/>
              </p:cNvSpPr>
              <p:nvPr/>
            </p:nvSpPr>
            <p:spPr>
              <a:xfrm rot="10800000" flipV="1">
                <a:off x="6373466" y="2897957"/>
                <a:ext cx="27333" cy="27333"/>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13" name="Oval 112">
                <a:extLst>
                  <a:ext uri="{FF2B5EF4-FFF2-40B4-BE49-F238E27FC236}">
                    <a16:creationId xmlns:a16="http://schemas.microsoft.com/office/drawing/2014/main" id="{9FB08D55-1053-4AB7-89C1-A52B60F79271}"/>
                  </a:ext>
                </a:extLst>
              </p:cNvPr>
              <p:cNvSpPr>
                <a:spLocks noChangeAspect="1"/>
              </p:cNvSpPr>
              <p:nvPr/>
            </p:nvSpPr>
            <p:spPr>
              <a:xfrm rot="10800000" flipV="1">
                <a:off x="6292816" y="2899469"/>
                <a:ext cx="24309" cy="24309"/>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14" name="Oval 113">
                <a:extLst>
                  <a:ext uri="{FF2B5EF4-FFF2-40B4-BE49-F238E27FC236}">
                    <a16:creationId xmlns:a16="http://schemas.microsoft.com/office/drawing/2014/main" id="{83710C9A-239E-485B-BC1B-81DC2899DF09}"/>
                  </a:ext>
                </a:extLst>
              </p:cNvPr>
              <p:cNvSpPr>
                <a:spLocks noChangeAspect="1"/>
              </p:cNvSpPr>
              <p:nvPr/>
            </p:nvSpPr>
            <p:spPr>
              <a:xfrm rot="10800000" flipV="1">
                <a:off x="6216410" y="2901591"/>
                <a:ext cx="20065" cy="20065"/>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15" name="Oval 114">
                <a:extLst>
                  <a:ext uri="{FF2B5EF4-FFF2-40B4-BE49-F238E27FC236}">
                    <a16:creationId xmlns:a16="http://schemas.microsoft.com/office/drawing/2014/main" id="{84C5A45B-CCDA-491D-96F2-ECF4D5BD4491}"/>
                  </a:ext>
                </a:extLst>
              </p:cNvPr>
              <p:cNvSpPr>
                <a:spLocks noChangeAspect="1"/>
              </p:cNvSpPr>
              <p:nvPr/>
            </p:nvSpPr>
            <p:spPr>
              <a:xfrm rot="10800000" flipV="1">
                <a:off x="6142911" y="2903045"/>
                <a:ext cx="17158" cy="17158"/>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16" name="Oval 115">
                <a:extLst>
                  <a:ext uri="{FF2B5EF4-FFF2-40B4-BE49-F238E27FC236}">
                    <a16:creationId xmlns:a16="http://schemas.microsoft.com/office/drawing/2014/main" id="{8DA5F34A-09E1-4DBF-9DA3-4A3FC4B03498}"/>
                  </a:ext>
                </a:extLst>
              </p:cNvPr>
              <p:cNvSpPr>
                <a:spLocks noChangeAspect="1"/>
              </p:cNvSpPr>
              <p:nvPr/>
            </p:nvSpPr>
            <p:spPr>
              <a:xfrm rot="10800000" flipV="1">
                <a:off x="6071599" y="2904138"/>
                <a:ext cx="14971" cy="14971"/>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17" name="Oval 116">
                <a:extLst>
                  <a:ext uri="{FF2B5EF4-FFF2-40B4-BE49-F238E27FC236}">
                    <a16:creationId xmlns:a16="http://schemas.microsoft.com/office/drawing/2014/main" id="{20C6CCFE-6C6A-452B-A7A2-78301E0BB31A}"/>
                  </a:ext>
                </a:extLst>
              </p:cNvPr>
              <p:cNvSpPr>
                <a:spLocks noChangeAspect="1"/>
              </p:cNvSpPr>
              <p:nvPr/>
            </p:nvSpPr>
            <p:spPr>
              <a:xfrm rot="10800000" flipV="1">
                <a:off x="6004506" y="2906247"/>
                <a:ext cx="10752" cy="1075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grpSp>
        <p:pic>
          <p:nvPicPr>
            <p:cNvPr id="104" name="Picture 103" descr="A picture containing sitting, photo, table, black&#10;&#10;Description automatically generated">
              <a:extLst>
                <a:ext uri="{FF2B5EF4-FFF2-40B4-BE49-F238E27FC236}">
                  <a16:creationId xmlns:a16="http://schemas.microsoft.com/office/drawing/2014/main" id="{D39B7691-1100-456C-AEFF-84D9FE12B208}"/>
                </a:ext>
              </a:extLst>
            </p:cNvPr>
            <p:cNvPicPr>
              <a:picLocks noChangeAspect="1"/>
            </p:cNvPicPr>
            <p:nvPr/>
          </p:nvPicPr>
          <p:blipFill rotWithShape="1">
            <a:blip r:embed="rId7" cstate="screen">
              <a:alphaModFix/>
              <a:extLst>
                <a:ext uri="{28A0092B-C50C-407E-A947-70E740481C1C}">
                  <a14:useLocalDpi xmlns:a14="http://schemas.microsoft.com/office/drawing/2010/main"/>
                </a:ext>
              </a:extLst>
            </a:blip>
            <a:srcRect/>
            <a:stretch/>
          </p:blipFill>
          <p:spPr>
            <a:xfrm>
              <a:off x="3412911" y="2785285"/>
              <a:ext cx="1915405" cy="1321898"/>
            </a:xfrm>
            <a:prstGeom prst="rect">
              <a:avLst/>
            </a:prstGeom>
          </p:spPr>
        </p:pic>
        <p:sp>
          <p:nvSpPr>
            <p:cNvPr id="105" name="Freeform: Shape 104">
              <a:extLst>
                <a:ext uri="{FF2B5EF4-FFF2-40B4-BE49-F238E27FC236}">
                  <a16:creationId xmlns:a16="http://schemas.microsoft.com/office/drawing/2014/main" id="{CB676970-35E9-4BF2-BADA-969402DAEACD}"/>
                </a:ext>
              </a:extLst>
            </p:cNvPr>
            <p:cNvSpPr/>
            <p:nvPr/>
          </p:nvSpPr>
          <p:spPr>
            <a:xfrm>
              <a:off x="4029341" y="2639989"/>
              <a:ext cx="989823" cy="1137794"/>
            </a:xfrm>
            <a:custGeom>
              <a:avLst/>
              <a:gdLst>
                <a:gd name="connsiteX0" fmla="*/ 1233400 w 1352269"/>
                <a:gd name="connsiteY0" fmla="*/ 1554423 h 1554422"/>
                <a:gd name="connsiteX1" fmla="*/ 0 w 1352269"/>
                <a:gd name="connsiteY1" fmla="*/ 189443 h 1554422"/>
                <a:gd name="connsiteX2" fmla="*/ 6429 w 1352269"/>
                <a:gd name="connsiteY2" fmla="*/ 49940 h 1554422"/>
                <a:gd name="connsiteX3" fmla="*/ 13307 w 1352269"/>
                <a:gd name="connsiteY3" fmla="*/ 0 h 1554422"/>
                <a:gd name="connsiteX4" fmla="*/ 28559 w 1352269"/>
                <a:gd name="connsiteY4" fmla="*/ 2093 h 1554422"/>
                <a:gd name="connsiteX5" fmla="*/ 21681 w 1352269"/>
                <a:gd name="connsiteY5" fmla="*/ 51734 h 1554422"/>
                <a:gd name="connsiteX6" fmla="*/ 15401 w 1352269"/>
                <a:gd name="connsiteY6" fmla="*/ 189443 h 1554422"/>
                <a:gd name="connsiteX7" fmla="*/ 1233101 w 1352269"/>
                <a:gd name="connsiteY7" fmla="*/ 1539022 h 1554422"/>
                <a:gd name="connsiteX8" fmla="*/ 1351372 w 1352269"/>
                <a:gd name="connsiteY8" fmla="*/ 1532443 h 1554422"/>
                <a:gd name="connsiteX9" fmla="*/ 1352270 w 1352269"/>
                <a:gd name="connsiteY9" fmla="*/ 1547844 h 1554422"/>
                <a:gd name="connsiteX10" fmla="*/ 1233400 w 1352269"/>
                <a:gd name="connsiteY10" fmla="*/ 1554423 h 155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2269" h="1554422">
                  <a:moveTo>
                    <a:pt x="1233400" y="1554423"/>
                  </a:moveTo>
                  <a:cubicBezTo>
                    <a:pt x="553079" y="1554423"/>
                    <a:pt x="0" y="942133"/>
                    <a:pt x="0" y="189443"/>
                  </a:cubicBezTo>
                  <a:cubicBezTo>
                    <a:pt x="0" y="142942"/>
                    <a:pt x="2093" y="95993"/>
                    <a:pt x="6429" y="49940"/>
                  </a:cubicBezTo>
                  <a:lnTo>
                    <a:pt x="13307" y="0"/>
                  </a:lnTo>
                  <a:lnTo>
                    <a:pt x="28559" y="2093"/>
                  </a:lnTo>
                  <a:lnTo>
                    <a:pt x="21681" y="51734"/>
                  </a:lnTo>
                  <a:cubicBezTo>
                    <a:pt x="17494" y="97039"/>
                    <a:pt x="15401" y="143391"/>
                    <a:pt x="15401" y="189443"/>
                  </a:cubicBezTo>
                  <a:cubicBezTo>
                    <a:pt x="15401" y="933610"/>
                    <a:pt x="561602" y="1539022"/>
                    <a:pt x="1233101" y="1539022"/>
                  </a:cubicBezTo>
                  <a:lnTo>
                    <a:pt x="1351372" y="1532443"/>
                  </a:lnTo>
                  <a:lnTo>
                    <a:pt x="1352270" y="1547844"/>
                  </a:lnTo>
                  <a:lnTo>
                    <a:pt x="1233400" y="1554423"/>
                  </a:lnTo>
                  <a:close/>
                </a:path>
              </a:pathLst>
            </a:custGeom>
            <a:solidFill>
              <a:srgbClr val="75C04A"/>
            </a:solidFill>
            <a:ln w="1491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6" name="Freeform: Shape 105">
              <a:extLst>
                <a:ext uri="{FF2B5EF4-FFF2-40B4-BE49-F238E27FC236}">
                  <a16:creationId xmlns:a16="http://schemas.microsoft.com/office/drawing/2014/main" id="{66121892-4555-43ED-AA85-19B0C720B989}"/>
                </a:ext>
              </a:extLst>
            </p:cNvPr>
            <p:cNvSpPr/>
            <p:nvPr/>
          </p:nvSpPr>
          <p:spPr>
            <a:xfrm>
              <a:off x="3784732" y="2629264"/>
              <a:ext cx="1234434" cy="1148519"/>
            </a:xfrm>
            <a:custGeom>
              <a:avLst/>
              <a:gdLst>
                <a:gd name="connsiteX0" fmla="*/ 1537526 w 1686449"/>
                <a:gd name="connsiteY0" fmla="*/ 1569076 h 1569075"/>
                <a:gd name="connsiteX1" fmla="*/ 499401 w 1686449"/>
                <a:gd name="connsiteY1" fmla="*/ 1127838 h 1569075"/>
                <a:gd name="connsiteX2" fmla="*/ 2093 w 1686449"/>
                <a:gd name="connsiteY2" fmla="*/ 45155 h 1569075"/>
                <a:gd name="connsiteX3" fmla="*/ 0 w 1686449"/>
                <a:gd name="connsiteY3" fmla="*/ 748 h 1569075"/>
                <a:gd name="connsiteX4" fmla="*/ 15401 w 1686449"/>
                <a:gd name="connsiteY4" fmla="*/ 0 h 1569075"/>
                <a:gd name="connsiteX5" fmla="*/ 17494 w 1686449"/>
                <a:gd name="connsiteY5" fmla="*/ 44109 h 1569075"/>
                <a:gd name="connsiteX6" fmla="*/ 1537227 w 1686449"/>
                <a:gd name="connsiteY6" fmla="*/ 1553675 h 1569075"/>
                <a:gd name="connsiteX7" fmla="*/ 1685552 w 1686449"/>
                <a:gd name="connsiteY7" fmla="*/ 1545451 h 1569075"/>
                <a:gd name="connsiteX8" fmla="*/ 1686449 w 1686449"/>
                <a:gd name="connsiteY8" fmla="*/ 1560852 h 1569075"/>
                <a:gd name="connsiteX9" fmla="*/ 1537526 w 1686449"/>
                <a:gd name="connsiteY9" fmla="*/ 1569076 h 156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6449" h="1569075">
                  <a:moveTo>
                    <a:pt x="1537526" y="1569076"/>
                  </a:moveTo>
                  <a:cubicBezTo>
                    <a:pt x="1152360" y="1569076"/>
                    <a:pt x="783790" y="1412377"/>
                    <a:pt x="499401" y="1127838"/>
                  </a:cubicBezTo>
                  <a:cubicBezTo>
                    <a:pt x="216955" y="845542"/>
                    <a:pt x="40371" y="460974"/>
                    <a:pt x="2093" y="45155"/>
                  </a:cubicBezTo>
                  <a:lnTo>
                    <a:pt x="0" y="748"/>
                  </a:lnTo>
                  <a:lnTo>
                    <a:pt x="15401" y="0"/>
                  </a:lnTo>
                  <a:lnTo>
                    <a:pt x="17494" y="44109"/>
                  </a:lnTo>
                  <a:cubicBezTo>
                    <a:pt x="96890" y="904603"/>
                    <a:pt x="750297" y="1553675"/>
                    <a:pt x="1537227" y="1553675"/>
                  </a:cubicBezTo>
                  <a:lnTo>
                    <a:pt x="1685552" y="1545451"/>
                  </a:lnTo>
                  <a:lnTo>
                    <a:pt x="1686449" y="1560852"/>
                  </a:lnTo>
                  <a:lnTo>
                    <a:pt x="1537526" y="1569076"/>
                  </a:lnTo>
                  <a:close/>
                </a:path>
              </a:pathLst>
            </a:custGeom>
            <a:solidFill>
              <a:srgbClr val="01BCEA"/>
            </a:solidFill>
            <a:ln w="1491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7" name="Freeform: Shape 106">
              <a:extLst>
                <a:ext uri="{FF2B5EF4-FFF2-40B4-BE49-F238E27FC236}">
                  <a16:creationId xmlns:a16="http://schemas.microsoft.com/office/drawing/2014/main" id="{F25C7214-096E-464A-9D98-2AA1094EC1AB}"/>
                </a:ext>
              </a:extLst>
            </p:cNvPr>
            <p:cNvSpPr/>
            <p:nvPr/>
          </p:nvSpPr>
          <p:spPr>
            <a:xfrm>
              <a:off x="3434725" y="2515769"/>
              <a:ext cx="1584331" cy="1267705"/>
            </a:xfrm>
            <a:custGeom>
              <a:avLst/>
              <a:gdLst>
                <a:gd name="connsiteX0" fmla="*/ 1969044 w 2164468"/>
                <a:gd name="connsiteY0" fmla="*/ 1731904 h 1731904"/>
                <a:gd name="connsiteX1" fmla="*/ 757175 w 2164468"/>
                <a:gd name="connsiteY1" fmla="*/ 1286032 h 1731904"/>
                <a:gd name="connsiteX2" fmla="*/ 35287 w 2164468"/>
                <a:gd name="connsiteY2" fmla="*/ 155652 h 1731904"/>
                <a:gd name="connsiteX3" fmla="*/ 0 w 2164468"/>
                <a:gd name="connsiteY3" fmla="*/ 3439 h 1731904"/>
                <a:gd name="connsiteX4" fmla="*/ 14952 w 2164468"/>
                <a:gd name="connsiteY4" fmla="*/ 0 h 1731904"/>
                <a:gd name="connsiteX5" fmla="*/ 50239 w 2164468"/>
                <a:gd name="connsiteY5" fmla="*/ 151914 h 1731904"/>
                <a:gd name="connsiteX6" fmla="*/ 1968596 w 2164468"/>
                <a:gd name="connsiteY6" fmla="*/ 1716503 h 1731904"/>
                <a:gd name="connsiteX7" fmla="*/ 2163572 w 2164468"/>
                <a:gd name="connsiteY7" fmla="*/ 1705588 h 1731904"/>
                <a:gd name="connsiteX8" fmla="*/ 2164469 w 2164468"/>
                <a:gd name="connsiteY8" fmla="*/ 1720989 h 1731904"/>
                <a:gd name="connsiteX9" fmla="*/ 1969044 w 2164468"/>
                <a:gd name="connsiteY9" fmla="*/ 1731904 h 1731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4468" h="1731904">
                  <a:moveTo>
                    <a:pt x="1969044" y="1731904"/>
                  </a:moveTo>
                  <a:cubicBezTo>
                    <a:pt x="1527957" y="1731904"/>
                    <a:pt x="1108999" y="1577748"/>
                    <a:pt x="757175" y="1286032"/>
                  </a:cubicBezTo>
                  <a:cubicBezTo>
                    <a:pt x="417015" y="1004184"/>
                    <a:pt x="160735" y="602720"/>
                    <a:pt x="35287" y="155652"/>
                  </a:cubicBezTo>
                  <a:lnTo>
                    <a:pt x="0" y="3439"/>
                  </a:lnTo>
                  <a:lnTo>
                    <a:pt x="14952" y="0"/>
                  </a:lnTo>
                  <a:lnTo>
                    <a:pt x="50239" y="151914"/>
                  </a:lnTo>
                  <a:cubicBezTo>
                    <a:pt x="312798" y="1087617"/>
                    <a:pt x="1083729" y="1716503"/>
                    <a:pt x="1968596" y="1716503"/>
                  </a:cubicBezTo>
                  <a:lnTo>
                    <a:pt x="2163572" y="1705588"/>
                  </a:lnTo>
                  <a:lnTo>
                    <a:pt x="2164469" y="1720989"/>
                  </a:lnTo>
                  <a:lnTo>
                    <a:pt x="1969044" y="1731904"/>
                  </a:lnTo>
                  <a:close/>
                </a:path>
              </a:pathLst>
            </a:custGeom>
            <a:solidFill>
              <a:srgbClr val="000000"/>
            </a:solidFill>
            <a:ln w="1491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108" name="Group 107">
              <a:extLst>
                <a:ext uri="{FF2B5EF4-FFF2-40B4-BE49-F238E27FC236}">
                  <a16:creationId xmlns:a16="http://schemas.microsoft.com/office/drawing/2014/main" id="{E67CBB9A-ADD4-493F-A498-6D4453C1B396}"/>
                </a:ext>
              </a:extLst>
            </p:cNvPr>
            <p:cNvGrpSpPr/>
            <p:nvPr/>
          </p:nvGrpSpPr>
          <p:grpSpPr>
            <a:xfrm>
              <a:off x="4645065" y="1556533"/>
              <a:ext cx="791606" cy="1130373"/>
              <a:chOff x="7473546" y="1265170"/>
              <a:chExt cx="791605" cy="1130373"/>
            </a:xfrm>
          </p:grpSpPr>
          <p:sp>
            <p:nvSpPr>
              <p:cNvPr id="109" name="Rectangle 108">
                <a:extLst>
                  <a:ext uri="{FF2B5EF4-FFF2-40B4-BE49-F238E27FC236}">
                    <a16:creationId xmlns:a16="http://schemas.microsoft.com/office/drawing/2014/main" id="{79480D71-2742-4A95-9558-3B460E493649}"/>
                  </a:ext>
                </a:extLst>
              </p:cNvPr>
              <p:cNvSpPr/>
              <p:nvPr/>
            </p:nvSpPr>
            <p:spPr>
              <a:xfrm>
                <a:off x="7473546" y="1265170"/>
                <a:ext cx="203693" cy="210703"/>
              </a:xfrm>
              <a:prstGeom prst="rect">
                <a:avLst/>
              </a:prstGeom>
              <a:solidFill>
                <a:srgbClr val="74BF4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sp>
            <p:nvSpPr>
              <p:cNvPr id="110" name="Oval 109">
                <a:extLst>
                  <a:ext uri="{FF2B5EF4-FFF2-40B4-BE49-F238E27FC236}">
                    <a16:creationId xmlns:a16="http://schemas.microsoft.com/office/drawing/2014/main" id="{1FFB4D56-F3B7-420E-BB7D-4209E58A49C9}"/>
                  </a:ext>
                </a:extLst>
              </p:cNvPr>
              <p:cNvSpPr/>
              <p:nvPr/>
            </p:nvSpPr>
            <p:spPr>
              <a:xfrm>
                <a:off x="7987498" y="2004310"/>
                <a:ext cx="277653" cy="278169"/>
              </a:xfrm>
              <a:prstGeom prst="ellipse">
                <a:avLst/>
              </a:prstGeom>
              <a:solidFill>
                <a:srgbClr val="74BF4B">
                  <a:alpha val="42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sp>
            <p:nvSpPr>
              <p:cNvPr id="111" name="Oval 110">
                <a:extLst>
                  <a:ext uri="{FF2B5EF4-FFF2-40B4-BE49-F238E27FC236}">
                    <a16:creationId xmlns:a16="http://schemas.microsoft.com/office/drawing/2014/main" id="{E3B726E3-9B8A-4A89-B35C-A0344DB1A49F}"/>
                  </a:ext>
                </a:extLst>
              </p:cNvPr>
              <p:cNvSpPr/>
              <p:nvPr/>
            </p:nvSpPr>
            <p:spPr>
              <a:xfrm>
                <a:off x="7913204" y="2185437"/>
                <a:ext cx="209716" cy="210106"/>
              </a:xfrm>
              <a:prstGeom prst="ellipse">
                <a:avLst/>
              </a:prstGeom>
              <a:solidFill>
                <a:srgbClr val="00BCEB">
                  <a:alpha val="42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grpSp>
      </p:grpSp>
      <p:grpSp>
        <p:nvGrpSpPr>
          <p:cNvPr id="261" name="Group 260">
            <a:extLst>
              <a:ext uri="{FF2B5EF4-FFF2-40B4-BE49-F238E27FC236}">
                <a16:creationId xmlns:a16="http://schemas.microsoft.com/office/drawing/2014/main" id="{E25DE15C-021B-48C1-BC2B-EF7089B962F0}"/>
              </a:ext>
            </a:extLst>
          </p:cNvPr>
          <p:cNvGrpSpPr/>
          <p:nvPr/>
        </p:nvGrpSpPr>
        <p:grpSpPr>
          <a:xfrm>
            <a:off x="6486540" y="1898601"/>
            <a:ext cx="1502949" cy="663064"/>
            <a:chOff x="1935520" y="718594"/>
            <a:chExt cx="3205051" cy="1413990"/>
          </a:xfrm>
        </p:grpSpPr>
        <p:sp>
          <p:nvSpPr>
            <p:cNvPr id="234" name="Rectangle: Rounded Corners 233">
              <a:extLst>
                <a:ext uri="{FF2B5EF4-FFF2-40B4-BE49-F238E27FC236}">
                  <a16:creationId xmlns:a16="http://schemas.microsoft.com/office/drawing/2014/main" id="{E97F1392-A1C7-4B14-99B9-CD87007BC061}"/>
                </a:ext>
              </a:extLst>
            </p:cNvPr>
            <p:cNvSpPr/>
            <p:nvPr/>
          </p:nvSpPr>
          <p:spPr>
            <a:xfrm rot="5400000">
              <a:off x="2584885" y="1389971"/>
              <a:ext cx="758952" cy="59958"/>
            </a:xfrm>
            <a:prstGeom prst="roundRect">
              <a:avLst>
                <a:gd name="adj" fmla="val 50000"/>
              </a:avLst>
            </a:prstGeom>
            <a:solidFill>
              <a:srgbClr val="00BCEB">
                <a:alpha val="81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35" name="Oval 234">
              <a:extLst>
                <a:ext uri="{FF2B5EF4-FFF2-40B4-BE49-F238E27FC236}">
                  <a16:creationId xmlns:a16="http://schemas.microsoft.com/office/drawing/2014/main" id="{6303F9CC-57CB-4B0D-8E59-6DEEF4EFC24A}"/>
                </a:ext>
              </a:extLst>
            </p:cNvPr>
            <p:cNvSpPr/>
            <p:nvPr/>
          </p:nvSpPr>
          <p:spPr>
            <a:xfrm>
              <a:off x="4023780" y="1404084"/>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36" name="Oval 235">
              <a:extLst>
                <a:ext uri="{FF2B5EF4-FFF2-40B4-BE49-F238E27FC236}">
                  <a16:creationId xmlns:a16="http://schemas.microsoft.com/office/drawing/2014/main" id="{DF61EC2C-56C9-4AD0-8EFE-06FE39201032}"/>
                </a:ext>
              </a:extLst>
            </p:cNvPr>
            <p:cNvSpPr/>
            <p:nvPr/>
          </p:nvSpPr>
          <p:spPr>
            <a:xfrm>
              <a:off x="4014797" y="1057152"/>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37" name="Oval 236">
              <a:extLst>
                <a:ext uri="{FF2B5EF4-FFF2-40B4-BE49-F238E27FC236}">
                  <a16:creationId xmlns:a16="http://schemas.microsoft.com/office/drawing/2014/main" id="{DE838B3B-DEC7-471B-9B79-19BDCD45257F}"/>
                </a:ext>
              </a:extLst>
            </p:cNvPr>
            <p:cNvSpPr/>
            <p:nvPr/>
          </p:nvSpPr>
          <p:spPr>
            <a:xfrm>
              <a:off x="4014797" y="718594"/>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39" name="TextBox 238">
              <a:extLst>
                <a:ext uri="{FF2B5EF4-FFF2-40B4-BE49-F238E27FC236}">
                  <a16:creationId xmlns:a16="http://schemas.microsoft.com/office/drawing/2014/main" id="{D843A0AD-DFDB-4753-84E0-DA34A7F4B543}"/>
                </a:ext>
              </a:extLst>
            </p:cNvPr>
            <p:cNvSpPr txBox="1"/>
            <p:nvPr/>
          </p:nvSpPr>
          <p:spPr>
            <a:xfrm>
              <a:off x="1935520" y="1075447"/>
              <a:ext cx="109499" cy="166878"/>
            </a:xfrm>
            <a:custGeom>
              <a:avLst/>
              <a:gdLst/>
              <a:ahLst/>
              <a:cxnLst/>
              <a:rect l="l" t="t" r="r" b="b"/>
              <a:pathLst>
                <a:path w="109499" h="166878">
                  <a:moveTo>
                    <a:pt x="54864" y="0"/>
                  </a:moveTo>
                  <a:cubicBezTo>
                    <a:pt x="62636" y="0"/>
                    <a:pt x="69837" y="1600"/>
                    <a:pt x="76467" y="4801"/>
                  </a:cubicBezTo>
                  <a:cubicBezTo>
                    <a:pt x="83096" y="8001"/>
                    <a:pt x="88887" y="12992"/>
                    <a:pt x="93840" y="19774"/>
                  </a:cubicBezTo>
                  <a:cubicBezTo>
                    <a:pt x="98793" y="26556"/>
                    <a:pt x="102641" y="35204"/>
                    <a:pt x="105385" y="45720"/>
                  </a:cubicBezTo>
                  <a:cubicBezTo>
                    <a:pt x="108128" y="56236"/>
                    <a:pt x="109499" y="68809"/>
                    <a:pt x="109499" y="83439"/>
                  </a:cubicBezTo>
                  <a:cubicBezTo>
                    <a:pt x="109499" y="98069"/>
                    <a:pt x="108128" y="110642"/>
                    <a:pt x="105385" y="121158"/>
                  </a:cubicBezTo>
                  <a:cubicBezTo>
                    <a:pt x="102641" y="131674"/>
                    <a:pt x="98793" y="140322"/>
                    <a:pt x="93840" y="147104"/>
                  </a:cubicBezTo>
                  <a:cubicBezTo>
                    <a:pt x="88887" y="153886"/>
                    <a:pt x="83096" y="158877"/>
                    <a:pt x="76467" y="162077"/>
                  </a:cubicBezTo>
                  <a:cubicBezTo>
                    <a:pt x="69837" y="165278"/>
                    <a:pt x="62636" y="166878"/>
                    <a:pt x="54864" y="166878"/>
                  </a:cubicBezTo>
                  <a:cubicBezTo>
                    <a:pt x="47092" y="166878"/>
                    <a:pt x="39853" y="165240"/>
                    <a:pt x="33147" y="161963"/>
                  </a:cubicBezTo>
                  <a:cubicBezTo>
                    <a:pt x="26441" y="158687"/>
                    <a:pt x="20650" y="153657"/>
                    <a:pt x="15773" y="146876"/>
                  </a:cubicBezTo>
                  <a:cubicBezTo>
                    <a:pt x="10897" y="140094"/>
                    <a:pt x="7049" y="131445"/>
                    <a:pt x="4229" y="120929"/>
                  </a:cubicBezTo>
                  <a:cubicBezTo>
                    <a:pt x="1410" y="110414"/>
                    <a:pt x="0" y="97917"/>
                    <a:pt x="0" y="83439"/>
                  </a:cubicBezTo>
                  <a:cubicBezTo>
                    <a:pt x="0" y="68809"/>
                    <a:pt x="1410" y="56236"/>
                    <a:pt x="4229" y="45720"/>
                  </a:cubicBezTo>
                  <a:cubicBezTo>
                    <a:pt x="7049" y="35204"/>
                    <a:pt x="10897" y="26556"/>
                    <a:pt x="15773" y="19774"/>
                  </a:cubicBezTo>
                  <a:cubicBezTo>
                    <a:pt x="20650" y="12992"/>
                    <a:pt x="26441" y="8001"/>
                    <a:pt x="33147" y="4801"/>
                  </a:cubicBezTo>
                  <a:cubicBezTo>
                    <a:pt x="39853" y="1600"/>
                    <a:pt x="47092" y="0"/>
                    <a:pt x="54864" y="0"/>
                  </a:cubicBezTo>
                  <a:close/>
                  <a:moveTo>
                    <a:pt x="54864" y="10516"/>
                  </a:moveTo>
                  <a:cubicBezTo>
                    <a:pt x="41758" y="10516"/>
                    <a:pt x="31471" y="16459"/>
                    <a:pt x="24003" y="28346"/>
                  </a:cubicBezTo>
                  <a:cubicBezTo>
                    <a:pt x="16535" y="40234"/>
                    <a:pt x="12802" y="58598"/>
                    <a:pt x="12802" y="83439"/>
                  </a:cubicBezTo>
                  <a:cubicBezTo>
                    <a:pt x="12802" y="108280"/>
                    <a:pt x="16535" y="126644"/>
                    <a:pt x="24003" y="138532"/>
                  </a:cubicBezTo>
                  <a:cubicBezTo>
                    <a:pt x="31471" y="150419"/>
                    <a:pt x="41758" y="156362"/>
                    <a:pt x="54864" y="156362"/>
                  </a:cubicBezTo>
                  <a:cubicBezTo>
                    <a:pt x="67970" y="156362"/>
                    <a:pt x="78257" y="150419"/>
                    <a:pt x="85725" y="138532"/>
                  </a:cubicBezTo>
                  <a:cubicBezTo>
                    <a:pt x="93193" y="126644"/>
                    <a:pt x="96926" y="108280"/>
                    <a:pt x="96926" y="83439"/>
                  </a:cubicBezTo>
                  <a:cubicBezTo>
                    <a:pt x="96926" y="58598"/>
                    <a:pt x="93193" y="40234"/>
                    <a:pt x="85725" y="28346"/>
                  </a:cubicBezTo>
                  <a:cubicBezTo>
                    <a:pt x="78257" y="16459"/>
                    <a:pt x="67970" y="10516"/>
                    <a:pt x="54864" y="10516"/>
                  </a:cubicBezTo>
                  <a:close/>
                </a:path>
              </a:pathLst>
            </a:custGeom>
            <a:solidFill>
              <a:srgbClr val="0D274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endParaRPr>
            </a:p>
          </p:txBody>
        </p:sp>
        <p:sp>
          <p:nvSpPr>
            <p:cNvPr id="240" name="TextBox 239">
              <a:extLst>
                <a:ext uri="{FF2B5EF4-FFF2-40B4-BE49-F238E27FC236}">
                  <a16:creationId xmlns:a16="http://schemas.microsoft.com/office/drawing/2014/main" id="{9A56A1CD-BEA7-474A-9CE8-0F9A5FDF4E5C}"/>
                </a:ext>
              </a:extLst>
            </p:cNvPr>
            <p:cNvSpPr txBox="1"/>
            <p:nvPr/>
          </p:nvSpPr>
          <p:spPr>
            <a:xfrm>
              <a:off x="2100060" y="1078876"/>
              <a:ext cx="49378" cy="160020"/>
            </a:xfrm>
            <a:custGeom>
              <a:avLst/>
              <a:gdLst/>
              <a:ahLst/>
              <a:cxnLst/>
              <a:rect l="l" t="t" r="r" b="b"/>
              <a:pathLst>
                <a:path w="49378" h="160020">
                  <a:moveTo>
                    <a:pt x="37262" y="0"/>
                  </a:moveTo>
                  <a:lnTo>
                    <a:pt x="49378" y="0"/>
                  </a:lnTo>
                  <a:lnTo>
                    <a:pt x="49378" y="160020"/>
                  </a:lnTo>
                  <a:lnTo>
                    <a:pt x="37034" y="160020"/>
                  </a:lnTo>
                  <a:lnTo>
                    <a:pt x="37034" y="13259"/>
                  </a:lnTo>
                  <a:lnTo>
                    <a:pt x="0" y="34290"/>
                  </a:lnTo>
                  <a:lnTo>
                    <a:pt x="0" y="21260"/>
                  </a:lnTo>
                  <a:lnTo>
                    <a:pt x="37262" y="0"/>
                  </a:lnTo>
                  <a:close/>
                </a:path>
              </a:pathLst>
            </a:custGeom>
            <a:solidFill>
              <a:srgbClr val="0D274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endParaRPr>
            </a:p>
          </p:txBody>
        </p:sp>
        <p:sp>
          <p:nvSpPr>
            <p:cNvPr id="241" name="TextBox 240">
              <a:extLst>
                <a:ext uri="{FF2B5EF4-FFF2-40B4-BE49-F238E27FC236}">
                  <a16:creationId xmlns:a16="http://schemas.microsoft.com/office/drawing/2014/main" id="{F9A2DBBF-E6A5-497A-A323-1B3CF82637E2}"/>
                </a:ext>
              </a:extLst>
            </p:cNvPr>
            <p:cNvSpPr txBox="1"/>
            <p:nvPr/>
          </p:nvSpPr>
          <p:spPr>
            <a:xfrm>
              <a:off x="2566304" y="1078876"/>
              <a:ext cx="49378" cy="160020"/>
            </a:xfrm>
            <a:custGeom>
              <a:avLst/>
              <a:gdLst/>
              <a:ahLst/>
              <a:cxnLst/>
              <a:rect l="l" t="t" r="r" b="b"/>
              <a:pathLst>
                <a:path w="49378" h="160020">
                  <a:moveTo>
                    <a:pt x="37262" y="0"/>
                  </a:moveTo>
                  <a:lnTo>
                    <a:pt x="49378" y="0"/>
                  </a:lnTo>
                  <a:lnTo>
                    <a:pt x="49378" y="160020"/>
                  </a:lnTo>
                  <a:lnTo>
                    <a:pt x="37034" y="160020"/>
                  </a:lnTo>
                  <a:lnTo>
                    <a:pt x="37034" y="13259"/>
                  </a:lnTo>
                  <a:lnTo>
                    <a:pt x="0" y="34290"/>
                  </a:lnTo>
                  <a:lnTo>
                    <a:pt x="0" y="21260"/>
                  </a:lnTo>
                  <a:lnTo>
                    <a:pt x="37262" y="0"/>
                  </a:lnTo>
                  <a:close/>
                </a:path>
              </a:pathLst>
            </a:custGeom>
            <a:solidFill>
              <a:srgbClr val="0D274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endParaRPr>
            </a:p>
          </p:txBody>
        </p:sp>
        <p:sp>
          <p:nvSpPr>
            <p:cNvPr id="242" name="TextBox 241">
              <a:extLst>
                <a:ext uri="{FF2B5EF4-FFF2-40B4-BE49-F238E27FC236}">
                  <a16:creationId xmlns:a16="http://schemas.microsoft.com/office/drawing/2014/main" id="{4B81B61E-BD21-4716-8F78-D949768E4B2B}"/>
                </a:ext>
              </a:extLst>
            </p:cNvPr>
            <p:cNvSpPr txBox="1"/>
            <p:nvPr/>
          </p:nvSpPr>
          <p:spPr>
            <a:xfrm>
              <a:off x="2721244" y="1655621"/>
              <a:ext cx="49378" cy="160020"/>
            </a:xfrm>
            <a:custGeom>
              <a:avLst/>
              <a:gdLst/>
              <a:ahLst/>
              <a:cxnLst/>
              <a:rect l="l" t="t" r="r" b="b"/>
              <a:pathLst>
                <a:path w="49378" h="160020">
                  <a:moveTo>
                    <a:pt x="37262" y="0"/>
                  </a:moveTo>
                  <a:lnTo>
                    <a:pt x="49378" y="0"/>
                  </a:lnTo>
                  <a:lnTo>
                    <a:pt x="49378" y="160020"/>
                  </a:lnTo>
                  <a:lnTo>
                    <a:pt x="37034" y="160020"/>
                  </a:lnTo>
                  <a:lnTo>
                    <a:pt x="37034" y="13259"/>
                  </a:lnTo>
                  <a:lnTo>
                    <a:pt x="0" y="34290"/>
                  </a:lnTo>
                  <a:lnTo>
                    <a:pt x="0" y="21260"/>
                  </a:lnTo>
                  <a:lnTo>
                    <a:pt x="37262" y="0"/>
                  </a:lnTo>
                  <a:close/>
                </a:path>
              </a:pathLst>
            </a:custGeom>
            <a:solidFill>
              <a:srgbClr val="0D274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endParaRPr>
            </a:p>
          </p:txBody>
        </p:sp>
        <p:sp>
          <p:nvSpPr>
            <p:cNvPr id="243" name="Oval 242">
              <a:extLst>
                <a:ext uri="{FF2B5EF4-FFF2-40B4-BE49-F238E27FC236}">
                  <a16:creationId xmlns:a16="http://schemas.microsoft.com/office/drawing/2014/main" id="{8812335C-F7F7-4382-BB05-E3DACF5CBD6C}"/>
                </a:ext>
              </a:extLst>
            </p:cNvPr>
            <p:cNvSpPr/>
            <p:nvPr/>
          </p:nvSpPr>
          <p:spPr>
            <a:xfrm>
              <a:off x="2221272" y="1739461"/>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44" name="Oval 243">
              <a:extLst>
                <a:ext uri="{FF2B5EF4-FFF2-40B4-BE49-F238E27FC236}">
                  <a16:creationId xmlns:a16="http://schemas.microsoft.com/office/drawing/2014/main" id="{D3717993-E3C2-487B-9F69-0EE8E014F1F5}"/>
                </a:ext>
              </a:extLst>
            </p:cNvPr>
            <p:cNvSpPr/>
            <p:nvPr/>
          </p:nvSpPr>
          <p:spPr>
            <a:xfrm>
              <a:off x="2221272" y="2082803"/>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45" name="Oval 244">
              <a:extLst>
                <a:ext uri="{FF2B5EF4-FFF2-40B4-BE49-F238E27FC236}">
                  <a16:creationId xmlns:a16="http://schemas.microsoft.com/office/drawing/2014/main" id="{3D942502-905A-4281-A353-FEC4C87C6AD2}"/>
                </a:ext>
              </a:extLst>
            </p:cNvPr>
            <p:cNvSpPr/>
            <p:nvPr/>
          </p:nvSpPr>
          <p:spPr>
            <a:xfrm>
              <a:off x="2578071" y="1739461"/>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46" name="Oval 245">
              <a:extLst>
                <a:ext uri="{FF2B5EF4-FFF2-40B4-BE49-F238E27FC236}">
                  <a16:creationId xmlns:a16="http://schemas.microsoft.com/office/drawing/2014/main" id="{D61E28B8-8954-474C-AC60-1808B1AE4AC0}"/>
                </a:ext>
              </a:extLst>
            </p:cNvPr>
            <p:cNvSpPr/>
            <p:nvPr/>
          </p:nvSpPr>
          <p:spPr>
            <a:xfrm>
              <a:off x="2578071" y="1404084"/>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47" name="Oval 246">
              <a:extLst>
                <a:ext uri="{FF2B5EF4-FFF2-40B4-BE49-F238E27FC236}">
                  <a16:creationId xmlns:a16="http://schemas.microsoft.com/office/drawing/2014/main" id="{EF7B2427-A547-4EF0-9C76-5FBE14B6239A}"/>
                </a:ext>
              </a:extLst>
            </p:cNvPr>
            <p:cNvSpPr/>
            <p:nvPr/>
          </p:nvSpPr>
          <p:spPr>
            <a:xfrm>
              <a:off x="3301844" y="1739461"/>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48" name="Oval 247">
              <a:extLst>
                <a:ext uri="{FF2B5EF4-FFF2-40B4-BE49-F238E27FC236}">
                  <a16:creationId xmlns:a16="http://schemas.microsoft.com/office/drawing/2014/main" id="{6BBBA078-3F91-4153-AD32-89ECBD17C9E1}"/>
                </a:ext>
              </a:extLst>
            </p:cNvPr>
            <p:cNvSpPr/>
            <p:nvPr/>
          </p:nvSpPr>
          <p:spPr>
            <a:xfrm>
              <a:off x="3301844" y="1404084"/>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49" name="Oval 248">
              <a:extLst>
                <a:ext uri="{FF2B5EF4-FFF2-40B4-BE49-F238E27FC236}">
                  <a16:creationId xmlns:a16="http://schemas.microsoft.com/office/drawing/2014/main" id="{8880B1FB-A31A-4B71-A9C9-1A1BA3F3E1D7}"/>
                </a:ext>
              </a:extLst>
            </p:cNvPr>
            <p:cNvSpPr/>
            <p:nvPr/>
          </p:nvSpPr>
          <p:spPr>
            <a:xfrm>
              <a:off x="2939957" y="1404084"/>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50" name="Oval 249">
              <a:extLst>
                <a:ext uri="{FF2B5EF4-FFF2-40B4-BE49-F238E27FC236}">
                  <a16:creationId xmlns:a16="http://schemas.microsoft.com/office/drawing/2014/main" id="{B86A1ED3-FA64-40F7-A75F-E197587C14DF}"/>
                </a:ext>
              </a:extLst>
            </p:cNvPr>
            <p:cNvSpPr/>
            <p:nvPr/>
          </p:nvSpPr>
          <p:spPr>
            <a:xfrm>
              <a:off x="2939957" y="1057152"/>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51" name="Oval 250">
              <a:extLst>
                <a:ext uri="{FF2B5EF4-FFF2-40B4-BE49-F238E27FC236}">
                  <a16:creationId xmlns:a16="http://schemas.microsoft.com/office/drawing/2014/main" id="{B7F94E1C-9D9D-46EC-93A9-F948B83464B1}"/>
                </a:ext>
              </a:extLst>
            </p:cNvPr>
            <p:cNvSpPr/>
            <p:nvPr/>
          </p:nvSpPr>
          <p:spPr>
            <a:xfrm>
              <a:off x="3292861" y="1057152"/>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52" name="Oval 251">
              <a:extLst>
                <a:ext uri="{FF2B5EF4-FFF2-40B4-BE49-F238E27FC236}">
                  <a16:creationId xmlns:a16="http://schemas.microsoft.com/office/drawing/2014/main" id="{04B8DC1B-BA62-41DD-9263-0AE209882464}"/>
                </a:ext>
              </a:extLst>
            </p:cNvPr>
            <p:cNvSpPr/>
            <p:nvPr/>
          </p:nvSpPr>
          <p:spPr>
            <a:xfrm>
              <a:off x="3662812" y="1739461"/>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53" name="Oval 252">
              <a:extLst>
                <a:ext uri="{FF2B5EF4-FFF2-40B4-BE49-F238E27FC236}">
                  <a16:creationId xmlns:a16="http://schemas.microsoft.com/office/drawing/2014/main" id="{0D73E347-4755-494A-A6B2-663135623293}"/>
                </a:ext>
              </a:extLst>
            </p:cNvPr>
            <p:cNvSpPr/>
            <p:nvPr/>
          </p:nvSpPr>
          <p:spPr>
            <a:xfrm>
              <a:off x="3662812" y="1404084"/>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54" name="Oval 253">
              <a:extLst>
                <a:ext uri="{FF2B5EF4-FFF2-40B4-BE49-F238E27FC236}">
                  <a16:creationId xmlns:a16="http://schemas.microsoft.com/office/drawing/2014/main" id="{D9EE116E-E62B-4773-A01D-0FF30B972CD5}"/>
                </a:ext>
              </a:extLst>
            </p:cNvPr>
            <p:cNvSpPr/>
            <p:nvPr/>
          </p:nvSpPr>
          <p:spPr>
            <a:xfrm>
              <a:off x="3653829" y="1057152"/>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55" name="Oval 254">
              <a:extLst>
                <a:ext uri="{FF2B5EF4-FFF2-40B4-BE49-F238E27FC236}">
                  <a16:creationId xmlns:a16="http://schemas.microsoft.com/office/drawing/2014/main" id="{C76AC2FE-09FE-415B-B8C3-5ADA64479562}"/>
                </a:ext>
              </a:extLst>
            </p:cNvPr>
            <p:cNvSpPr/>
            <p:nvPr/>
          </p:nvSpPr>
          <p:spPr>
            <a:xfrm>
              <a:off x="3653829" y="718594"/>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56" name="Oval 255">
              <a:extLst>
                <a:ext uri="{FF2B5EF4-FFF2-40B4-BE49-F238E27FC236}">
                  <a16:creationId xmlns:a16="http://schemas.microsoft.com/office/drawing/2014/main" id="{0EC12B41-6DB0-486A-8E88-B0F339BBD0AA}"/>
                </a:ext>
              </a:extLst>
            </p:cNvPr>
            <p:cNvSpPr/>
            <p:nvPr/>
          </p:nvSpPr>
          <p:spPr>
            <a:xfrm>
              <a:off x="4369195" y="1057152"/>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57" name="Oval 256">
              <a:extLst>
                <a:ext uri="{FF2B5EF4-FFF2-40B4-BE49-F238E27FC236}">
                  <a16:creationId xmlns:a16="http://schemas.microsoft.com/office/drawing/2014/main" id="{B9FF5B04-802F-4C42-8DE1-375FA0E01252}"/>
                </a:ext>
              </a:extLst>
            </p:cNvPr>
            <p:cNvSpPr/>
            <p:nvPr/>
          </p:nvSpPr>
          <p:spPr>
            <a:xfrm>
              <a:off x="4369195" y="718594"/>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58" name="Oval 257">
              <a:extLst>
                <a:ext uri="{FF2B5EF4-FFF2-40B4-BE49-F238E27FC236}">
                  <a16:creationId xmlns:a16="http://schemas.microsoft.com/office/drawing/2014/main" id="{8165D0BB-9FFC-4CEC-8A81-8422958AF9A6}"/>
                </a:ext>
              </a:extLst>
            </p:cNvPr>
            <p:cNvSpPr/>
            <p:nvPr/>
          </p:nvSpPr>
          <p:spPr>
            <a:xfrm>
              <a:off x="4729446" y="1057152"/>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59" name="Oval 258">
              <a:extLst>
                <a:ext uri="{FF2B5EF4-FFF2-40B4-BE49-F238E27FC236}">
                  <a16:creationId xmlns:a16="http://schemas.microsoft.com/office/drawing/2014/main" id="{43DA022E-3D66-473B-8572-D1A9440D9471}"/>
                </a:ext>
              </a:extLst>
            </p:cNvPr>
            <p:cNvSpPr/>
            <p:nvPr/>
          </p:nvSpPr>
          <p:spPr>
            <a:xfrm>
              <a:off x="4729446" y="718594"/>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260" name="Oval 259">
              <a:extLst>
                <a:ext uri="{FF2B5EF4-FFF2-40B4-BE49-F238E27FC236}">
                  <a16:creationId xmlns:a16="http://schemas.microsoft.com/office/drawing/2014/main" id="{C1428B8F-65C4-494C-B149-179FBCBF8E62}"/>
                </a:ext>
              </a:extLst>
            </p:cNvPr>
            <p:cNvSpPr/>
            <p:nvPr/>
          </p:nvSpPr>
          <p:spPr>
            <a:xfrm>
              <a:off x="5090790" y="718594"/>
              <a:ext cx="49781" cy="49781"/>
            </a:xfrm>
            <a:prstGeom prst="ellipse">
              <a:avLst/>
            </a:prstGeom>
            <a:solidFill>
              <a:srgbClr val="74BF4B">
                <a:alpha val="99000"/>
              </a:srgbClr>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grpSp>
      <p:grpSp>
        <p:nvGrpSpPr>
          <p:cNvPr id="153" name="Group 152">
            <a:extLst>
              <a:ext uri="{FF2B5EF4-FFF2-40B4-BE49-F238E27FC236}">
                <a16:creationId xmlns:a16="http://schemas.microsoft.com/office/drawing/2014/main" id="{A83B5A91-02C5-4EA0-B7A9-8FA3E64B9408}"/>
              </a:ext>
            </a:extLst>
          </p:cNvPr>
          <p:cNvGrpSpPr/>
          <p:nvPr/>
        </p:nvGrpSpPr>
        <p:grpSpPr>
          <a:xfrm>
            <a:off x="6948245" y="2484093"/>
            <a:ext cx="1037796" cy="1054733"/>
            <a:chOff x="4403186" y="2372294"/>
            <a:chExt cx="1818567" cy="1848244"/>
          </a:xfrm>
        </p:grpSpPr>
        <p:sp>
          <p:nvSpPr>
            <p:cNvPr id="163" name="Freeform: Shape 162">
              <a:extLst>
                <a:ext uri="{FF2B5EF4-FFF2-40B4-BE49-F238E27FC236}">
                  <a16:creationId xmlns:a16="http://schemas.microsoft.com/office/drawing/2014/main" id="{2496C5D9-33A1-4D7A-BA93-CAC43D792F2E}"/>
                </a:ext>
              </a:extLst>
            </p:cNvPr>
            <p:cNvSpPr>
              <a:spLocks/>
            </p:cNvSpPr>
            <p:nvPr/>
          </p:nvSpPr>
          <p:spPr bwMode="auto">
            <a:xfrm>
              <a:off x="4403809" y="2372294"/>
              <a:ext cx="900060" cy="881219"/>
            </a:xfrm>
            <a:custGeom>
              <a:avLst/>
              <a:gdLst>
                <a:gd name="connsiteX0" fmla="*/ 900060 w 900060"/>
                <a:gd name="connsiteY0" fmla="*/ 0 h 881219"/>
                <a:gd name="connsiteX1" fmla="*/ 0 w 900060"/>
                <a:gd name="connsiteY1" fmla="*/ 881219 h 881219"/>
                <a:gd name="connsiteX2" fmla="*/ 728 w 900060"/>
                <a:gd name="connsiteY2" fmla="*/ 866786 h 881219"/>
                <a:gd name="connsiteX3" fmla="*/ 885251 w 900060"/>
                <a:gd name="connsiteY3" fmla="*/ 749 h 881219"/>
                <a:gd name="connsiteX4" fmla="*/ 900060 w 900060"/>
                <a:gd name="connsiteY4" fmla="*/ 0 h 881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060" h="881219">
                  <a:moveTo>
                    <a:pt x="900060" y="0"/>
                  </a:moveTo>
                  <a:lnTo>
                    <a:pt x="0" y="881219"/>
                  </a:lnTo>
                  <a:lnTo>
                    <a:pt x="728" y="866786"/>
                  </a:lnTo>
                  <a:lnTo>
                    <a:pt x="885251" y="749"/>
                  </a:lnTo>
                  <a:lnTo>
                    <a:pt x="900060"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64" name="Freeform: Shape 163">
              <a:extLst>
                <a:ext uri="{FF2B5EF4-FFF2-40B4-BE49-F238E27FC236}">
                  <a16:creationId xmlns:a16="http://schemas.microsoft.com/office/drawing/2014/main" id="{E6CE1084-F738-4E00-BE8E-7BF116AA570E}"/>
                </a:ext>
              </a:extLst>
            </p:cNvPr>
            <p:cNvSpPr>
              <a:spLocks/>
            </p:cNvSpPr>
            <p:nvPr/>
          </p:nvSpPr>
          <p:spPr bwMode="auto">
            <a:xfrm>
              <a:off x="4403186" y="2373868"/>
              <a:ext cx="962746" cy="942584"/>
            </a:xfrm>
            <a:custGeom>
              <a:avLst/>
              <a:gdLst>
                <a:gd name="connsiteX0" fmla="*/ 948885 w 962746"/>
                <a:gd name="connsiteY0" fmla="*/ 0 h 942584"/>
                <a:gd name="connsiteX1" fmla="*/ 962746 w 962746"/>
                <a:gd name="connsiteY1" fmla="*/ 701 h 942584"/>
                <a:gd name="connsiteX2" fmla="*/ 759 w 962746"/>
                <a:gd name="connsiteY2" fmla="*/ 942584 h 942584"/>
                <a:gd name="connsiteX3" fmla="*/ 0 w 962746"/>
                <a:gd name="connsiteY3" fmla="*/ 927528 h 942584"/>
                <a:gd name="connsiteX4" fmla="*/ 948885 w 962746"/>
                <a:gd name="connsiteY4" fmla="*/ 0 h 942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2746" h="942584">
                  <a:moveTo>
                    <a:pt x="948885" y="0"/>
                  </a:moveTo>
                  <a:lnTo>
                    <a:pt x="962746" y="701"/>
                  </a:lnTo>
                  <a:lnTo>
                    <a:pt x="759" y="942584"/>
                  </a:lnTo>
                  <a:lnTo>
                    <a:pt x="0" y="927528"/>
                  </a:lnTo>
                  <a:lnTo>
                    <a:pt x="948885"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65" name="Freeform: Shape 164">
              <a:extLst>
                <a:ext uri="{FF2B5EF4-FFF2-40B4-BE49-F238E27FC236}">
                  <a16:creationId xmlns:a16="http://schemas.microsoft.com/office/drawing/2014/main" id="{CF09F202-C21F-4F39-A62E-CFCD1DD610E6}"/>
                </a:ext>
              </a:extLst>
            </p:cNvPr>
            <p:cNvSpPr>
              <a:spLocks/>
            </p:cNvSpPr>
            <p:nvPr/>
          </p:nvSpPr>
          <p:spPr bwMode="auto">
            <a:xfrm>
              <a:off x="4409526" y="2376335"/>
              <a:ext cx="814452" cy="797431"/>
            </a:xfrm>
            <a:custGeom>
              <a:avLst/>
              <a:gdLst>
                <a:gd name="connsiteX0" fmla="*/ 814452 w 814452"/>
                <a:gd name="connsiteY0" fmla="*/ 0 h 797431"/>
                <a:gd name="connsiteX1" fmla="*/ 0 w 814452"/>
                <a:gd name="connsiteY1" fmla="*/ 797431 h 797431"/>
                <a:gd name="connsiteX2" fmla="*/ 2804 w 814452"/>
                <a:gd name="connsiteY2" fmla="*/ 779021 h 797431"/>
                <a:gd name="connsiteX3" fmla="*/ 797612 w 814452"/>
                <a:gd name="connsiteY3" fmla="*/ 2102 h 797431"/>
                <a:gd name="connsiteX4" fmla="*/ 809830 w 814452"/>
                <a:gd name="connsiteY4" fmla="*/ 234 h 797431"/>
                <a:gd name="connsiteX5" fmla="*/ 814452 w 814452"/>
                <a:gd name="connsiteY5" fmla="*/ 0 h 797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4452" h="797431">
                  <a:moveTo>
                    <a:pt x="814452" y="0"/>
                  </a:moveTo>
                  <a:lnTo>
                    <a:pt x="0" y="797431"/>
                  </a:lnTo>
                  <a:lnTo>
                    <a:pt x="2804" y="779021"/>
                  </a:lnTo>
                  <a:lnTo>
                    <a:pt x="797612" y="2102"/>
                  </a:lnTo>
                  <a:lnTo>
                    <a:pt x="809830" y="234"/>
                  </a:lnTo>
                  <a:lnTo>
                    <a:pt x="814452"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66" name="Freeform: Shape 165">
              <a:extLst>
                <a:ext uri="{FF2B5EF4-FFF2-40B4-BE49-F238E27FC236}">
                  <a16:creationId xmlns:a16="http://schemas.microsoft.com/office/drawing/2014/main" id="{624CC71C-8C11-4206-8718-FCE9D3C4DA11}"/>
                </a:ext>
              </a:extLst>
            </p:cNvPr>
            <p:cNvSpPr>
              <a:spLocks/>
            </p:cNvSpPr>
            <p:nvPr/>
          </p:nvSpPr>
          <p:spPr bwMode="auto">
            <a:xfrm>
              <a:off x="4406847" y="2379233"/>
              <a:ext cx="1030598" cy="1009391"/>
            </a:xfrm>
            <a:custGeom>
              <a:avLst/>
              <a:gdLst>
                <a:gd name="connsiteX0" fmla="*/ 1016040 w 1030598"/>
                <a:gd name="connsiteY0" fmla="*/ 0 h 1009391"/>
                <a:gd name="connsiteX1" fmla="*/ 1030598 w 1030598"/>
                <a:gd name="connsiteY1" fmla="*/ 2226 h 1009391"/>
                <a:gd name="connsiteX2" fmla="*/ 1934 w 1030598"/>
                <a:gd name="connsiteY2" fmla="*/ 1009391 h 1009391"/>
                <a:gd name="connsiteX3" fmla="*/ 143 w 1030598"/>
                <a:gd name="connsiteY3" fmla="*/ 997630 h 1009391"/>
                <a:gd name="connsiteX4" fmla="*/ 0 w 1030598"/>
                <a:gd name="connsiteY4" fmla="*/ 994804 h 1009391"/>
                <a:gd name="connsiteX5" fmla="*/ 1016040 w 1030598"/>
                <a:gd name="connsiteY5" fmla="*/ 0 h 1009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0598" h="1009391">
                  <a:moveTo>
                    <a:pt x="1016040" y="0"/>
                  </a:moveTo>
                  <a:lnTo>
                    <a:pt x="1030598" y="2226"/>
                  </a:lnTo>
                  <a:lnTo>
                    <a:pt x="1934" y="1009391"/>
                  </a:lnTo>
                  <a:lnTo>
                    <a:pt x="143" y="997630"/>
                  </a:lnTo>
                  <a:lnTo>
                    <a:pt x="0" y="994804"/>
                  </a:lnTo>
                  <a:lnTo>
                    <a:pt x="1016040"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67" name="Freeform: Shape 166">
              <a:extLst>
                <a:ext uri="{FF2B5EF4-FFF2-40B4-BE49-F238E27FC236}">
                  <a16:creationId xmlns:a16="http://schemas.microsoft.com/office/drawing/2014/main" id="{F6981478-3D50-4AC3-8601-5DFD90FFB503}"/>
                </a:ext>
              </a:extLst>
            </p:cNvPr>
            <p:cNvSpPr>
              <a:spLocks/>
            </p:cNvSpPr>
            <p:nvPr/>
          </p:nvSpPr>
          <p:spPr bwMode="auto">
            <a:xfrm>
              <a:off x="4415029" y="2388056"/>
              <a:ext cx="1077729" cy="1053550"/>
            </a:xfrm>
            <a:custGeom>
              <a:avLst/>
              <a:gdLst>
                <a:gd name="connsiteX0" fmla="*/ 1065561 w 1077729"/>
                <a:gd name="connsiteY0" fmla="*/ 0 h 1053550"/>
                <a:gd name="connsiteX1" fmla="*/ 1077729 w 1077729"/>
                <a:gd name="connsiteY1" fmla="*/ 1860 h 1053550"/>
                <a:gd name="connsiteX2" fmla="*/ 1823 w 1077729"/>
                <a:gd name="connsiteY2" fmla="*/ 1053550 h 1053550"/>
                <a:gd name="connsiteX3" fmla="*/ 0 w 1077729"/>
                <a:gd name="connsiteY3" fmla="*/ 1041579 h 1053550"/>
                <a:gd name="connsiteX4" fmla="*/ 1065561 w 1077729"/>
                <a:gd name="connsiteY4" fmla="*/ 0 h 1053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729" h="1053550">
                  <a:moveTo>
                    <a:pt x="1065561" y="0"/>
                  </a:moveTo>
                  <a:lnTo>
                    <a:pt x="1077729" y="1860"/>
                  </a:lnTo>
                  <a:lnTo>
                    <a:pt x="1823" y="1053550"/>
                  </a:lnTo>
                  <a:lnTo>
                    <a:pt x="0" y="1041579"/>
                  </a:lnTo>
                  <a:lnTo>
                    <a:pt x="1065561"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68" name="Freeform: Shape 167">
              <a:extLst>
                <a:ext uri="{FF2B5EF4-FFF2-40B4-BE49-F238E27FC236}">
                  <a16:creationId xmlns:a16="http://schemas.microsoft.com/office/drawing/2014/main" id="{134A3E85-5812-4D08-96A5-F64F7569938B}"/>
                </a:ext>
              </a:extLst>
            </p:cNvPr>
            <p:cNvSpPr>
              <a:spLocks/>
            </p:cNvSpPr>
            <p:nvPr/>
          </p:nvSpPr>
          <p:spPr bwMode="auto">
            <a:xfrm>
              <a:off x="4425292" y="2389633"/>
              <a:ext cx="708623" cy="692673"/>
            </a:xfrm>
            <a:custGeom>
              <a:avLst/>
              <a:gdLst>
                <a:gd name="connsiteX0" fmla="*/ 708623 w 708623"/>
                <a:gd name="connsiteY0" fmla="*/ 0 h 692673"/>
                <a:gd name="connsiteX1" fmla="*/ 0 w 708623"/>
                <a:gd name="connsiteY1" fmla="*/ 692673 h 692673"/>
                <a:gd name="connsiteX2" fmla="*/ 4713 w 708623"/>
                <a:gd name="connsiteY2" fmla="*/ 674313 h 692673"/>
                <a:gd name="connsiteX3" fmla="*/ 690234 w 708623"/>
                <a:gd name="connsiteY3" fmla="*/ 4221 h 692673"/>
                <a:gd name="connsiteX4" fmla="*/ 703697 w 708623"/>
                <a:gd name="connsiteY4" fmla="*/ 753 h 692673"/>
                <a:gd name="connsiteX5" fmla="*/ 708623 w 708623"/>
                <a:gd name="connsiteY5" fmla="*/ 0 h 692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8623" h="692673">
                  <a:moveTo>
                    <a:pt x="708623" y="0"/>
                  </a:moveTo>
                  <a:lnTo>
                    <a:pt x="0" y="692673"/>
                  </a:lnTo>
                  <a:lnTo>
                    <a:pt x="4713" y="674313"/>
                  </a:lnTo>
                  <a:lnTo>
                    <a:pt x="690234" y="4221"/>
                  </a:lnTo>
                  <a:lnTo>
                    <a:pt x="703697" y="753"/>
                  </a:lnTo>
                  <a:lnTo>
                    <a:pt x="708623"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69" name="Freeform: Shape 168">
              <a:extLst>
                <a:ext uri="{FF2B5EF4-FFF2-40B4-BE49-F238E27FC236}">
                  <a16:creationId xmlns:a16="http://schemas.microsoft.com/office/drawing/2014/main" id="{B2F30C43-A53F-44E5-AC37-4C51EB061B5B}"/>
                </a:ext>
              </a:extLst>
            </p:cNvPr>
            <p:cNvSpPr>
              <a:spLocks/>
            </p:cNvSpPr>
            <p:nvPr/>
          </p:nvSpPr>
          <p:spPr bwMode="auto">
            <a:xfrm>
              <a:off x="4427091" y="2402255"/>
              <a:ext cx="1126258" cy="1102465"/>
            </a:xfrm>
            <a:custGeom>
              <a:avLst/>
              <a:gdLst>
                <a:gd name="connsiteX0" fmla="*/ 1114815 w 1126258"/>
                <a:gd name="connsiteY0" fmla="*/ 0 h 1102465"/>
                <a:gd name="connsiteX1" fmla="*/ 1126258 w 1126258"/>
                <a:gd name="connsiteY1" fmla="*/ 2947 h 1102465"/>
                <a:gd name="connsiteX2" fmla="*/ 3270 w 1126258"/>
                <a:gd name="connsiteY2" fmla="*/ 1102465 h 1102465"/>
                <a:gd name="connsiteX3" fmla="*/ 0 w 1126258"/>
                <a:gd name="connsiteY3" fmla="*/ 1089724 h 1102465"/>
                <a:gd name="connsiteX4" fmla="*/ 1114815 w 1126258"/>
                <a:gd name="connsiteY4" fmla="*/ 0 h 110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6258" h="1102465">
                  <a:moveTo>
                    <a:pt x="1114815" y="0"/>
                  </a:moveTo>
                  <a:lnTo>
                    <a:pt x="1126258" y="2947"/>
                  </a:lnTo>
                  <a:lnTo>
                    <a:pt x="3270" y="1102465"/>
                  </a:lnTo>
                  <a:lnTo>
                    <a:pt x="0" y="1089724"/>
                  </a:lnTo>
                  <a:lnTo>
                    <a:pt x="1114815"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70" name="Freeform: Shape 169">
              <a:extLst>
                <a:ext uri="{FF2B5EF4-FFF2-40B4-BE49-F238E27FC236}">
                  <a16:creationId xmlns:a16="http://schemas.microsoft.com/office/drawing/2014/main" id="{147190E1-B0C5-444D-9312-EA12E3FC887A}"/>
                </a:ext>
              </a:extLst>
            </p:cNvPr>
            <p:cNvSpPr>
              <a:spLocks/>
            </p:cNvSpPr>
            <p:nvPr/>
          </p:nvSpPr>
          <p:spPr bwMode="auto">
            <a:xfrm>
              <a:off x="4448293" y="2411190"/>
              <a:ext cx="599933" cy="587395"/>
            </a:xfrm>
            <a:custGeom>
              <a:avLst/>
              <a:gdLst>
                <a:gd name="connsiteX0" fmla="*/ 599933 w 599933"/>
                <a:gd name="connsiteY0" fmla="*/ 0 h 587395"/>
                <a:gd name="connsiteX1" fmla="*/ 0 w 599933"/>
                <a:gd name="connsiteY1" fmla="*/ 587395 h 587395"/>
                <a:gd name="connsiteX2" fmla="*/ 9374 w 599933"/>
                <a:gd name="connsiteY2" fmla="*/ 561736 h 587395"/>
                <a:gd name="connsiteX3" fmla="*/ 574174 w 599933"/>
                <a:gd name="connsiteY3" fmla="*/ 8741 h 587395"/>
                <a:gd name="connsiteX4" fmla="*/ 593475 w 599933"/>
                <a:gd name="connsiteY4" fmla="*/ 1664 h 587395"/>
                <a:gd name="connsiteX5" fmla="*/ 599933 w 599933"/>
                <a:gd name="connsiteY5" fmla="*/ 0 h 587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9933" h="587395">
                  <a:moveTo>
                    <a:pt x="599933" y="0"/>
                  </a:moveTo>
                  <a:lnTo>
                    <a:pt x="0" y="587395"/>
                  </a:lnTo>
                  <a:lnTo>
                    <a:pt x="9374" y="561736"/>
                  </a:lnTo>
                  <a:lnTo>
                    <a:pt x="574174" y="8741"/>
                  </a:lnTo>
                  <a:lnTo>
                    <a:pt x="593475" y="1664"/>
                  </a:lnTo>
                  <a:lnTo>
                    <a:pt x="599933"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71" name="Freeform: Shape 170">
              <a:extLst>
                <a:ext uri="{FF2B5EF4-FFF2-40B4-BE49-F238E27FC236}">
                  <a16:creationId xmlns:a16="http://schemas.microsoft.com/office/drawing/2014/main" id="{ECDDC198-6BA5-41D0-A0C5-656C8E60FCE7}"/>
                </a:ext>
              </a:extLst>
            </p:cNvPr>
            <p:cNvSpPr>
              <a:spLocks/>
            </p:cNvSpPr>
            <p:nvPr/>
          </p:nvSpPr>
          <p:spPr bwMode="auto">
            <a:xfrm>
              <a:off x="4440479" y="2416285"/>
              <a:ext cx="1163863" cy="1139143"/>
            </a:xfrm>
            <a:custGeom>
              <a:avLst/>
              <a:gdLst>
                <a:gd name="connsiteX0" fmla="*/ 1151930 w 1163863"/>
                <a:gd name="connsiteY0" fmla="*/ 0 h 1139143"/>
                <a:gd name="connsiteX1" fmla="*/ 1163863 w 1163863"/>
                <a:gd name="connsiteY1" fmla="*/ 4375 h 1139143"/>
                <a:gd name="connsiteX2" fmla="*/ 2968 w 1163863"/>
                <a:gd name="connsiteY2" fmla="*/ 1139143 h 1139143"/>
                <a:gd name="connsiteX3" fmla="*/ 2729 w 1163863"/>
                <a:gd name="connsiteY3" fmla="*/ 1138489 h 1139143"/>
                <a:gd name="connsiteX4" fmla="*/ 0 w 1163863"/>
                <a:gd name="connsiteY4" fmla="*/ 1127856 h 1139143"/>
                <a:gd name="connsiteX5" fmla="*/ 1151930 w 1163863"/>
                <a:gd name="connsiteY5" fmla="*/ 0 h 1139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3863" h="1139143">
                  <a:moveTo>
                    <a:pt x="1151930" y="0"/>
                  </a:moveTo>
                  <a:lnTo>
                    <a:pt x="1163863" y="4375"/>
                  </a:lnTo>
                  <a:lnTo>
                    <a:pt x="2968" y="1139143"/>
                  </a:lnTo>
                  <a:lnTo>
                    <a:pt x="2729" y="1138489"/>
                  </a:lnTo>
                  <a:lnTo>
                    <a:pt x="0" y="1127856"/>
                  </a:lnTo>
                  <a:lnTo>
                    <a:pt x="1151930"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72" name="Freeform: Shape 171">
              <a:extLst>
                <a:ext uri="{FF2B5EF4-FFF2-40B4-BE49-F238E27FC236}">
                  <a16:creationId xmlns:a16="http://schemas.microsoft.com/office/drawing/2014/main" id="{D07333BE-7ACD-45E6-88F3-0426B45AA169}"/>
                </a:ext>
              </a:extLst>
            </p:cNvPr>
            <p:cNvSpPr>
              <a:spLocks/>
            </p:cNvSpPr>
            <p:nvPr/>
          </p:nvSpPr>
          <p:spPr bwMode="auto">
            <a:xfrm>
              <a:off x="4458970" y="2436391"/>
              <a:ext cx="1200523" cy="1173662"/>
            </a:xfrm>
            <a:custGeom>
              <a:avLst/>
              <a:gdLst>
                <a:gd name="connsiteX0" fmla="*/ 1188273 w 1200523"/>
                <a:gd name="connsiteY0" fmla="*/ 0 h 1173662"/>
                <a:gd name="connsiteX1" fmla="*/ 1200523 w 1200523"/>
                <a:gd name="connsiteY1" fmla="*/ 4492 h 1173662"/>
                <a:gd name="connsiteX2" fmla="*/ 4434 w 1200523"/>
                <a:gd name="connsiteY2" fmla="*/ 1173662 h 1173662"/>
                <a:gd name="connsiteX3" fmla="*/ 0 w 1200523"/>
                <a:gd name="connsiteY3" fmla="*/ 1161528 h 1173662"/>
                <a:gd name="connsiteX4" fmla="*/ 1188273 w 1200523"/>
                <a:gd name="connsiteY4" fmla="*/ 0 h 117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0523" h="1173662">
                  <a:moveTo>
                    <a:pt x="1188273" y="0"/>
                  </a:moveTo>
                  <a:lnTo>
                    <a:pt x="1200523" y="4492"/>
                  </a:lnTo>
                  <a:lnTo>
                    <a:pt x="4434" y="1173662"/>
                  </a:lnTo>
                  <a:lnTo>
                    <a:pt x="0" y="1161528"/>
                  </a:lnTo>
                  <a:lnTo>
                    <a:pt x="1188273"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73" name="Freeform: Shape 172">
              <a:extLst>
                <a:ext uri="{FF2B5EF4-FFF2-40B4-BE49-F238E27FC236}">
                  <a16:creationId xmlns:a16="http://schemas.microsoft.com/office/drawing/2014/main" id="{3239CA9C-0229-46EE-9252-A36BF62668E0}"/>
                </a:ext>
              </a:extLst>
            </p:cNvPr>
            <p:cNvSpPr>
              <a:spLocks/>
            </p:cNvSpPr>
            <p:nvPr/>
          </p:nvSpPr>
          <p:spPr bwMode="auto">
            <a:xfrm>
              <a:off x="4479017" y="2458365"/>
              <a:ext cx="1231606" cy="1204093"/>
            </a:xfrm>
            <a:custGeom>
              <a:avLst/>
              <a:gdLst>
                <a:gd name="connsiteX0" fmla="*/ 1218427 w 1231606"/>
                <a:gd name="connsiteY0" fmla="*/ 0 h 1204093"/>
                <a:gd name="connsiteX1" fmla="*/ 1231606 w 1231606"/>
                <a:gd name="connsiteY1" fmla="*/ 6361 h 1204093"/>
                <a:gd name="connsiteX2" fmla="*/ 6295 w 1231606"/>
                <a:gd name="connsiteY2" fmla="*/ 1204093 h 1204093"/>
                <a:gd name="connsiteX3" fmla="*/ 0 w 1231606"/>
                <a:gd name="connsiteY3" fmla="*/ 1191003 h 1204093"/>
                <a:gd name="connsiteX4" fmla="*/ 1218427 w 1231606"/>
                <a:gd name="connsiteY4" fmla="*/ 0 h 12040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1606" h="1204093">
                  <a:moveTo>
                    <a:pt x="1218427" y="0"/>
                  </a:moveTo>
                  <a:lnTo>
                    <a:pt x="1231606" y="6361"/>
                  </a:lnTo>
                  <a:lnTo>
                    <a:pt x="6295" y="1204093"/>
                  </a:lnTo>
                  <a:lnTo>
                    <a:pt x="0" y="1191003"/>
                  </a:lnTo>
                  <a:lnTo>
                    <a:pt x="1218427"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74" name="Freeform: Shape 173">
              <a:extLst>
                <a:ext uri="{FF2B5EF4-FFF2-40B4-BE49-F238E27FC236}">
                  <a16:creationId xmlns:a16="http://schemas.microsoft.com/office/drawing/2014/main" id="{9E1311B6-C5AC-4F35-BAE6-084449A22200}"/>
                </a:ext>
              </a:extLst>
            </p:cNvPr>
            <p:cNvSpPr>
              <a:spLocks/>
            </p:cNvSpPr>
            <p:nvPr/>
          </p:nvSpPr>
          <p:spPr bwMode="auto">
            <a:xfrm>
              <a:off x="4502927" y="2463963"/>
              <a:ext cx="412851" cy="404222"/>
            </a:xfrm>
            <a:custGeom>
              <a:avLst/>
              <a:gdLst>
                <a:gd name="connsiteX0" fmla="*/ 412851 w 412851"/>
                <a:gd name="connsiteY0" fmla="*/ 0 h 404222"/>
                <a:gd name="connsiteX1" fmla="*/ 0 w 412851"/>
                <a:gd name="connsiteY1" fmla="*/ 404222 h 404222"/>
                <a:gd name="connsiteX2" fmla="*/ 9210 w 412851"/>
                <a:gd name="connsiteY2" fmla="*/ 385069 h 404222"/>
                <a:gd name="connsiteX3" fmla="*/ 16930 w 412851"/>
                <a:gd name="connsiteY3" fmla="*/ 372338 h 404222"/>
                <a:gd name="connsiteX4" fmla="*/ 383206 w 412851"/>
                <a:gd name="connsiteY4" fmla="*/ 14306 h 404222"/>
                <a:gd name="connsiteX5" fmla="*/ 412851 w 412851"/>
                <a:gd name="connsiteY5" fmla="*/ 0 h 404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2851" h="404222">
                  <a:moveTo>
                    <a:pt x="412851" y="0"/>
                  </a:moveTo>
                  <a:lnTo>
                    <a:pt x="0" y="404222"/>
                  </a:lnTo>
                  <a:lnTo>
                    <a:pt x="9210" y="385069"/>
                  </a:lnTo>
                  <a:lnTo>
                    <a:pt x="16930" y="372338"/>
                  </a:lnTo>
                  <a:lnTo>
                    <a:pt x="383206" y="14306"/>
                  </a:lnTo>
                  <a:lnTo>
                    <a:pt x="412851"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75" name="Freeform: Shape 174">
              <a:extLst>
                <a:ext uri="{FF2B5EF4-FFF2-40B4-BE49-F238E27FC236}">
                  <a16:creationId xmlns:a16="http://schemas.microsoft.com/office/drawing/2014/main" id="{2546D543-60C4-49D2-BDF8-825376F90519}"/>
                </a:ext>
              </a:extLst>
            </p:cNvPr>
            <p:cNvSpPr>
              <a:spLocks/>
            </p:cNvSpPr>
            <p:nvPr/>
          </p:nvSpPr>
          <p:spPr bwMode="auto">
            <a:xfrm>
              <a:off x="4505062" y="2485129"/>
              <a:ext cx="1255128" cy="1227759"/>
            </a:xfrm>
            <a:custGeom>
              <a:avLst/>
              <a:gdLst>
                <a:gd name="connsiteX0" fmla="*/ 1246457 w 1255128"/>
                <a:gd name="connsiteY0" fmla="*/ 0 h 1227759"/>
                <a:gd name="connsiteX1" fmla="*/ 1255128 w 1255128"/>
                <a:gd name="connsiteY1" fmla="*/ 5277 h 1227759"/>
                <a:gd name="connsiteX2" fmla="*/ 4498 w 1255128"/>
                <a:gd name="connsiteY2" fmla="*/ 1227759 h 1227759"/>
                <a:gd name="connsiteX3" fmla="*/ 0 w 1255128"/>
                <a:gd name="connsiteY3" fmla="*/ 1218403 h 1227759"/>
                <a:gd name="connsiteX4" fmla="*/ 1246457 w 1255128"/>
                <a:gd name="connsiteY4" fmla="*/ 0 h 1227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128" h="1227759">
                  <a:moveTo>
                    <a:pt x="1246457" y="0"/>
                  </a:moveTo>
                  <a:lnTo>
                    <a:pt x="1255128" y="5277"/>
                  </a:lnTo>
                  <a:lnTo>
                    <a:pt x="4498" y="1227759"/>
                  </a:lnTo>
                  <a:lnTo>
                    <a:pt x="0" y="1218403"/>
                  </a:lnTo>
                  <a:lnTo>
                    <a:pt x="1246457"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76" name="Freeform: Shape 175">
              <a:extLst>
                <a:ext uri="{FF2B5EF4-FFF2-40B4-BE49-F238E27FC236}">
                  <a16:creationId xmlns:a16="http://schemas.microsoft.com/office/drawing/2014/main" id="{C4D6C27F-2223-4201-A665-06C8CF07EB81}"/>
                </a:ext>
              </a:extLst>
            </p:cNvPr>
            <p:cNvSpPr>
              <a:spLocks/>
            </p:cNvSpPr>
            <p:nvPr/>
          </p:nvSpPr>
          <p:spPr bwMode="auto">
            <a:xfrm>
              <a:off x="4526700" y="2507328"/>
              <a:ext cx="1271904" cy="1246780"/>
            </a:xfrm>
            <a:custGeom>
              <a:avLst/>
              <a:gdLst>
                <a:gd name="connsiteX0" fmla="*/ 1261292 w 1271904"/>
                <a:gd name="connsiteY0" fmla="*/ 0 h 1246780"/>
                <a:gd name="connsiteX1" fmla="*/ 1271904 w 1271904"/>
                <a:gd name="connsiteY1" fmla="*/ 6458 h 1246780"/>
                <a:gd name="connsiteX2" fmla="*/ 7184 w 1271904"/>
                <a:gd name="connsiteY2" fmla="*/ 1246780 h 1246780"/>
                <a:gd name="connsiteX3" fmla="*/ 0 w 1271904"/>
                <a:gd name="connsiteY3" fmla="*/ 1234933 h 1246780"/>
                <a:gd name="connsiteX4" fmla="*/ 1261292 w 1271904"/>
                <a:gd name="connsiteY4" fmla="*/ 0 h 1246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1904" h="1246780">
                  <a:moveTo>
                    <a:pt x="1261292" y="0"/>
                  </a:moveTo>
                  <a:lnTo>
                    <a:pt x="1271904" y="6458"/>
                  </a:lnTo>
                  <a:lnTo>
                    <a:pt x="7184" y="1246780"/>
                  </a:lnTo>
                  <a:lnTo>
                    <a:pt x="0" y="1234933"/>
                  </a:lnTo>
                  <a:lnTo>
                    <a:pt x="1261292"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77" name="Freeform: Shape 176">
              <a:extLst>
                <a:ext uri="{FF2B5EF4-FFF2-40B4-BE49-F238E27FC236}">
                  <a16:creationId xmlns:a16="http://schemas.microsoft.com/office/drawing/2014/main" id="{1408C9E2-9F32-40B9-8FA1-C3917580823D}"/>
                </a:ext>
              </a:extLst>
            </p:cNvPr>
            <p:cNvSpPr>
              <a:spLocks/>
            </p:cNvSpPr>
            <p:nvPr/>
          </p:nvSpPr>
          <p:spPr bwMode="auto">
            <a:xfrm>
              <a:off x="4555043" y="2538437"/>
              <a:ext cx="1290025" cy="1261744"/>
            </a:xfrm>
            <a:custGeom>
              <a:avLst/>
              <a:gdLst>
                <a:gd name="connsiteX0" fmla="*/ 1279359 w 1290025"/>
                <a:gd name="connsiteY0" fmla="*/ 0 h 1261744"/>
                <a:gd name="connsiteX1" fmla="*/ 1290025 w 1290025"/>
                <a:gd name="connsiteY1" fmla="*/ 8816 h 1261744"/>
                <a:gd name="connsiteX2" fmla="*/ 8249 w 1290025"/>
                <a:gd name="connsiteY2" fmla="*/ 1261744 h 1261744"/>
                <a:gd name="connsiteX3" fmla="*/ 2682 w 1290025"/>
                <a:gd name="connsiteY3" fmla="*/ 1254985 h 1261744"/>
                <a:gd name="connsiteX4" fmla="*/ 0 w 1290025"/>
                <a:gd name="connsiteY4" fmla="*/ 1250563 h 1261744"/>
                <a:gd name="connsiteX5" fmla="*/ 1279359 w 1290025"/>
                <a:gd name="connsiteY5" fmla="*/ 0 h 12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0025" h="1261744">
                  <a:moveTo>
                    <a:pt x="1279359" y="0"/>
                  </a:moveTo>
                  <a:lnTo>
                    <a:pt x="1290025" y="8816"/>
                  </a:lnTo>
                  <a:lnTo>
                    <a:pt x="8249" y="1261744"/>
                  </a:lnTo>
                  <a:lnTo>
                    <a:pt x="2682" y="1254985"/>
                  </a:lnTo>
                  <a:lnTo>
                    <a:pt x="0" y="1250563"/>
                  </a:lnTo>
                  <a:lnTo>
                    <a:pt x="1279359"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78" name="Freeform: Shape 177">
              <a:extLst>
                <a:ext uri="{FF2B5EF4-FFF2-40B4-BE49-F238E27FC236}">
                  <a16:creationId xmlns:a16="http://schemas.microsoft.com/office/drawing/2014/main" id="{A99DE185-5A60-428F-B41A-958C0CD63D8A}"/>
                </a:ext>
              </a:extLst>
            </p:cNvPr>
            <p:cNvSpPr>
              <a:spLocks/>
            </p:cNvSpPr>
            <p:nvPr/>
          </p:nvSpPr>
          <p:spPr bwMode="auto">
            <a:xfrm>
              <a:off x="4590842" y="2574919"/>
              <a:ext cx="1295320" cy="1266334"/>
            </a:xfrm>
            <a:custGeom>
              <a:avLst/>
              <a:gdLst>
                <a:gd name="connsiteX0" fmla="*/ 1287697 w 1295320"/>
                <a:gd name="connsiteY0" fmla="*/ 0 h 1266334"/>
                <a:gd name="connsiteX1" fmla="*/ 1295320 w 1295320"/>
                <a:gd name="connsiteY1" fmla="*/ 6302 h 1266334"/>
                <a:gd name="connsiteX2" fmla="*/ 6275 w 1295320"/>
                <a:gd name="connsiteY2" fmla="*/ 1266334 h 1266334"/>
                <a:gd name="connsiteX3" fmla="*/ 0 w 1295320"/>
                <a:gd name="connsiteY3" fmla="*/ 1258714 h 1266334"/>
                <a:gd name="connsiteX4" fmla="*/ 1287697 w 1295320"/>
                <a:gd name="connsiteY4" fmla="*/ 0 h 1266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320" h="1266334">
                  <a:moveTo>
                    <a:pt x="1287697" y="0"/>
                  </a:moveTo>
                  <a:lnTo>
                    <a:pt x="1295320" y="6302"/>
                  </a:lnTo>
                  <a:lnTo>
                    <a:pt x="6275" y="1266334"/>
                  </a:lnTo>
                  <a:lnTo>
                    <a:pt x="0" y="1258714"/>
                  </a:lnTo>
                  <a:lnTo>
                    <a:pt x="1287697"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79" name="Freeform: Shape 178">
              <a:extLst>
                <a:ext uri="{FF2B5EF4-FFF2-40B4-BE49-F238E27FC236}">
                  <a16:creationId xmlns:a16="http://schemas.microsoft.com/office/drawing/2014/main" id="{A90B3C45-DD4F-4127-9747-B190F07BBCEB}"/>
                </a:ext>
              </a:extLst>
            </p:cNvPr>
            <p:cNvSpPr>
              <a:spLocks/>
            </p:cNvSpPr>
            <p:nvPr/>
          </p:nvSpPr>
          <p:spPr bwMode="auto">
            <a:xfrm>
              <a:off x="4623917" y="2608133"/>
              <a:ext cx="1302588" cy="1274595"/>
            </a:xfrm>
            <a:custGeom>
              <a:avLst/>
              <a:gdLst>
                <a:gd name="connsiteX0" fmla="*/ 1294804 w 1302588"/>
                <a:gd name="connsiteY0" fmla="*/ 0 h 1274595"/>
                <a:gd name="connsiteX1" fmla="*/ 1302588 w 1302588"/>
                <a:gd name="connsiteY1" fmla="*/ 6434 h 1274595"/>
                <a:gd name="connsiteX2" fmla="*/ 7358 w 1302588"/>
                <a:gd name="connsiteY2" fmla="*/ 1274595 h 1274595"/>
                <a:gd name="connsiteX3" fmla="*/ 0 w 1302588"/>
                <a:gd name="connsiteY3" fmla="*/ 1265661 h 1274595"/>
                <a:gd name="connsiteX4" fmla="*/ 1294804 w 1302588"/>
                <a:gd name="connsiteY4" fmla="*/ 0 h 1274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2588" h="1274595">
                  <a:moveTo>
                    <a:pt x="1294804" y="0"/>
                  </a:moveTo>
                  <a:lnTo>
                    <a:pt x="1302588" y="6434"/>
                  </a:lnTo>
                  <a:lnTo>
                    <a:pt x="7358" y="1274595"/>
                  </a:lnTo>
                  <a:lnTo>
                    <a:pt x="0" y="1265661"/>
                  </a:lnTo>
                  <a:lnTo>
                    <a:pt x="1294804"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80" name="Freeform: Shape 179">
              <a:extLst>
                <a:ext uri="{FF2B5EF4-FFF2-40B4-BE49-F238E27FC236}">
                  <a16:creationId xmlns:a16="http://schemas.microsoft.com/office/drawing/2014/main" id="{CEC8B7BA-A06C-461B-B4BF-0221A78D895C}"/>
                </a:ext>
              </a:extLst>
            </p:cNvPr>
            <p:cNvSpPr>
              <a:spLocks/>
            </p:cNvSpPr>
            <p:nvPr/>
          </p:nvSpPr>
          <p:spPr bwMode="auto">
            <a:xfrm>
              <a:off x="4658825" y="2642922"/>
              <a:ext cx="1307950" cy="1282382"/>
            </a:xfrm>
            <a:custGeom>
              <a:avLst/>
              <a:gdLst>
                <a:gd name="connsiteX0" fmla="*/ 1300436 w 1307950"/>
                <a:gd name="connsiteY0" fmla="*/ 0 h 1282382"/>
                <a:gd name="connsiteX1" fmla="*/ 1307950 w 1307950"/>
                <a:gd name="connsiteY1" fmla="*/ 9124 h 1282382"/>
                <a:gd name="connsiteX2" fmla="*/ 7514 w 1307950"/>
                <a:gd name="connsiteY2" fmla="*/ 1282382 h 1282382"/>
                <a:gd name="connsiteX3" fmla="*/ 0 w 1307950"/>
                <a:gd name="connsiteY3" fmla="*/ 1273258 h 1282382"/>
                <a:gd name="connsiteX4" fmla="*/ 1300436 w 1307950"/>
                <a:gd name="connsiteY4" fmla="*/ 0 h 1282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7950" h="1282382">
                  <a:moveTo>
                    <a:pt x="1300436" y="0"/>
                  </a:moveTo>
                  <a:lnTo>
                    <a:pt x="1307950" y="9124"/>
                  </a:lnTo>
                  <a:lnTo>
                    <a:pt x="7514" y="1282382"/>
                  </a:lnTo>
                  <a:lnTo>
                    <a:pt x="0" y="1273258"/>
                  </a:lnTo>
                  <a:lnTo>
                    <a:pt x="1300436"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81" name="Freeform: Shape 180">
              <a:extLst>
                <a:ext uri="{FF2B5EF4-FFF2-40B4-BE49-F238E27FC236}">
                  <a16:creationId xmlns:a16="http://schemas.microsoft.com/office/drawing/2014/main" id="{D78E2116-CAEC-4294-92E7-36BE34E40E73}"/>
                </a:ext>
              </a:extLst>
            </p:cNvPr>
            <p:cNvSpPr>
              <a:spLocks/>
            </p:cNvSpPr>
            <p:nvPr/>
          </p:nvSpPr>
          <p:spPr bwMode="auto">
            <a:xfrm>
              <a:off x="4691760" y="2679153"/>
              <a:ext cx="1303615" cy="1274442"/>
            </a:xfrm>
            <a:custGeom>
              <a:avLst/>
              <a:gdLst>
                <a:gd name="connsiteX0" fmla="*/ 1297340 w 1303615"/>
                <a:gd name="connsiteY0" fmla="*/ 0 h 1274442"/>
                <a:gd name="connsiteX1" fmla="*/ 1303615 w 1303615"/>
                <a:gd name="connsiteY1" fmla="*/ 7619 h 1274442"/>
                <a:gd name="connsiteX2" fmla="*/ 7624 w 1303615"/>
                <a:gd name="connsiteY2" fmla="*/ 1274442 h 1274442"/>
                <a:gd name="connsiteX3" fmla="*/ 0 w 1303615"/>
                <a:gd name="connsiteY3" fmla="*/ 1268140 h 1274442"/>
                <a:gd name="connsiteX4" fmla="*/ 1297340 w 1303615"/>
                <a:gd name="connsiteY4" fmla="*/ 0 h 1274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615" h="1274442">
                  <a:moveTo>
                    <a:pt x="1297340" y="0"/>
                  </a:moveTo>
                  <a:lnTo>
                    <a:pt x="1303615" y="7619"/>
                  </a:lnTo>
                  <a:lnTo>
                    <a:pt x="7624" y="1274442"/>
                  </a:lnTo>
                  <a:lnTo>
                    <a:pt x="0" y="1268140"/>
                  </a:lnTo>
                  <a:lnTo>
                    <a:pt x="1297340"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82" name="Freeform: Shape 181">
              <a:extLst>
                <a:ext uri="{FF2B5EF4-FFF2-40B4-BE49-F238E27FC236}">
                  <a16:creationId xmlns:a16="http://schemas.microsoft.com/office/drawing/2014/main" id="{AD06918B-AD30-44CD-B443-724D37756BA4}"/>
                </a:ext>
              </a:extLst>
            </p:cNvPr>
            <p:cNvSpPr>
              <a:spLocks/>
            </p:cNvSpPr>
            <p:nvPr/>
          </p:nvSpPr>
          <p:spPr bwMode="auto">
            <a:xfrm>
              <a:off x="4732853" y="2720223"/>
              <a:ext cx="1296487" cy="1268427"/>
            </a:xfrm>
            <a:custGeom>
              <a:avLst/>
              <a:gdLst>
                <a:gd name="connsiteX0" fmla="*/ 1290071 w 1296487"/>
                <a:gd name="connsiteY0" fmla="*/ 0 h 1268427"/>
                <a:gd name="connsiteX1" fmla="*/ 1296487 w 1296487"/>
                <a:gd name="connsiteY1" fmla="*/ 7790 h 1268427"/>
                <a:gd name="connsiteX2" fmla="*/ 8941 w 1296487"/>
                <a:gd name="connsiteY2" fmla="*/ 1268427 h 1268427"/>
                <a:gd name="connsiteX3" fmla="*/ 0 w 1296487"/>
                <a:gd name="connsiteY3" fmla="*/ 1261036 h 1268427"/>
                <a:gd name="connsiteX4" fmla="*/ 1290071 w 1296487"/>
                <a:gd name="connsiteY4" fmla="*/ 0 h 1268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6487" h="1268427">
                  <a:moveTo>
                    <a:pt x="1290071" y="0"/>
                  </a:moveTo>
                  <a:lnTo>
                    <a:pt x="1296487" y="7790"/>
                  </a:lnTo>
                  <a:lnTo>
                    <a:pt x="8941" y="1268427"/>
                  </a:lnTo>
                  <a:lnTo>
                    <a:pt x="0" y="1261036"/>
                  </a:lnTo>
                  <a:lnTo>
                    <a:pt x="1290071"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83" name="Freeform: Shape 182">
              <a:extLst>
                <a:ext uri="{FF2B5EF4-FFF2-40B4-BE49-F238E27FC236}">
                  <a16:creationId xmlns:a16="http://schemas.microsoft.com/office/drawing/2014/main" id="{3D67AA44-D8E3-4047-B0C6-CF9302249AEF}"/>
                </a:ext>
              </a:extLst>
            </p:cNvPr>
            <p:cNvSpPr>
              <a:spLocks/>
            </p:cNvSpPr>
            <p:nvPr/>
          </p:nvSpPr>
          <p:spPr bwMode="auto">
            <a:xfrm>
              <a:off x="4792334" y="2761465"/>
              <a:ext cx="1270829" cy="1238130"/>
            </a:xfrm>
            <a:custGeom>
              <a:avLst/>
              <a:gdLst>
                <a:gd name="connsiteX0" fmla="*/ 1264557 w 1270829"/>
                <a:gd name="connsiteY0" fmla="*/ 0 h 1238130"/>
                <a:gd name="connsiteX1" fmla="*/ 1270829 w 1270829"/>
                <a:gd name="connsiteY1" fmla="*/ 7615 h 1238130"/>
                <a:gd name="connsiteX2" fmla="*/ 14004 w 1270829"/>
                <a:gd name="connsiteY2" fmla="*/ 1238130 h 1238130"/>
                <a:gd name="connsiteX3" fmla="*/ 0 w 1270829"/>
                <a:gd name="connsiteY3" fmla="*/ 1238130 h 1238130"/>
                <a:gd name="connsiteX4" fmla="*/ 1264557 w 1270829"/>
                <a:gd name="connsiteY4" fmla="*/ 0 h 1238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829" h="1238130">
                  <a:moveTo>
                    <a:pt x="1264557" y="0"/>
                  </a:moveTo>
                  <a:lnTo>
                    <a:pt x="1270829" y="7615"/>
                  </a:lnTo>
                  <a:lnTo>
                    <a:pt x="14004" y="1238130"/>
                  </a:lnTo>
                  <a:lnTo>
                    <a:pt x="0" y="1238130"/>
                  </a:lnTo>
                  <a:lnTo>
                    <a:pt x="1264557"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84" name="Freeform: Shape 183">
              <a:extLst>
                <a:ext uri="{FF2B5EF4-FFF2-40B4-BE49-F238E27FC236}">
                  <a16:creationId xmlns:a16="http://schemas.microsoft.com/office/drawing/2014/main" id="{3A6D6A1C-2C89-464F-B773-C0A22ADB5E5F}"/>
                </a:ext>
              </a:extLst>
            </p:cNvPr>
            <p:cNvSpPr>
              <a:spLocks/>
            </p:cNvSpPr>
            <p:nvPr/>
          </p:nvSpPr>
          <p:spPr bwMode="auto">
            <a:xfrm>
              <a:off x="4854353" y="2799153"/>
              <a:ext cx="1233447" cy="1200443"/>
            </a:xfrm>
            <a:custGeom>
              <a:avLst/>
              <a:gdLst>
                <a:gd name="connsiteX0" fmla="*/ 1228083 w 1233447"/>
                <a:gd name="connsiteY0" fmla="*/ 0 h 1200443"/>
                <a:gd name="connsiteX1" fmla="*/ 1233447 w 1233447"/>
                <a:gd name="connsiteY1" fmla="*/ 8844 h 1200443"/>
                <a:gd name="connsiteX2" fmla="*/ 16413 w 1233447"/>
                <a:gd name="connsiteY2" fmla="*/ 1200443 h 1200443"/>
                <a:gd name="connsiteX3" fmla="*/ 0 w 1233447"/>
                <a:gd name="connsiteY3" fmla="*/ 1200443 h 1200443"/>
                <a:gd name="connsiteX4" fmla="*/ 1228083 w 1233447"/>
                <a:gd name="connsiteY4" fmla="*/ 0 h 1200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447" h="1200443">
                  <a:moveTo>
                    <a:pt x="1228083" y="0"/>
                  </a:moveTo>
                  <a:lnTo>
                    <a:pt x="1233447" y="8844"/>
                  </a:lnTo>
                  <a:lnTo>
                    <a:pt x="16413" y="1200443"/>
                  </a:lnTo>
                  <a:lnTo>
                    <a:pt x="0" y="1200443"/>
                  </a:lnTo>
                  <a:lnTo>
                    <a:pt x="1228083"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85" name="Freeform: Shape 184">
              <a:extLst>
                <a:ext uri="{FF2B5EF4-FFF2-40B4-BE49-F238E27FC236}">
                  <a16:creationId xmlns:a16="http://schemas.microsoft.com/office/drawing/2014/main" id="{52112C8D-59A8-4C73-B859-EF616E8470FF}"/>
                </a:ext>
              </a:extLst>
            </p:cNvPr>
            <p:cNvSpPr>
              <a:spLocks/>
            </p:cNvSpPr>
            <p:nvPr/>
          </p:nvSpPr>
          <p:spPr bwMode="auto">
            <a:xfrm>
              <a:off x="4932483" y="2845912"/>
              <a:ext cx="1183963" cy="1153684"/>
            </a:xfrm>
            <a:custGeom>
              <a:avLst/>
              <a:gdLst>
                <a:gd name="connsiteX0" fmla="*/ 1178309 w 1183963"/>
                <a:gd name="connsiteY0" fmla="*/ 0 h 1153684"/>
                <a:gd name="connsiteX1" fmla="*/ 1180201 w 1183963"/>
                <a:gd name="connsiteY1" fmla="*/ 3120 h 1153684"/>
                <a:gd name="connsiteX2" fmla="*/ 1183963 w 1183963"/>
                <a:gd name="connsiteY2" fmla="*/ 10945 h 1153684"/>
                <a:gd name="connsiteX3" fmla="*/ 16832 w 1183963"/>
                <a:gd name="connsiteY3" fmla="*/ 1153684 h 1153684"/>
                <a:gd name="connsiteX4" fmla="*/ 0 w 1183963"/>
                <a:gd name="connsiteY4" fmla="*/ 1153684 h 1153684"/>
                <a:gd name="connsiteX5" fmla="*/ 1178309 w 1183963"/>
                <a:gd name="connsiteY5" fmla="*/ 0 h 115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3963" h="1153684">
                  <a:moveTo>
                    <a:pt x="1178309" y="0"/>
                  </a:moveTo>
                  <a:lnTo>
                    <a:pt x="1180201" y="3120"/>
                  </a:lnTo>
                  <a:lnTo>
                    <a:pt x="1183963" y="10945"/>
                  </a:lnTo>
                  <a:lnTo>
                    <a:pt x="16832" y="1153684"/>
                  </a:lnTo>
                  <a:lnTo>
                    <a:pt x="0" y="1153684"/>
                  </a:lnTo>
                  <a:lnTo>
                    <a:pt x="1178309"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86" name="Freeform: Shape 185">
              <a:extLst>
                <a:ext uri="{FF2B5EF4-FFF2-40B4-BE49-F238E27FC236}">
                  <a16:creationId xmlns:a16="http://schemas.microsoft.com/office/drawing/2014/main" id="{8FCD3231-B27D-47D6-A2E5-4E8E6634D855}"/>
                </a:ext>
              </a:extLst>
            </p:cNvPr>
            <p:cNvSpPr>
              <a:spLocks/>
            </p:cNvSpPr>
            <p:nvPr/>
          </p:nvSpPr>
          <p:spPr bwMode="auto">
            <a:xfrm>
              <a:off x="4997385" y="2890098"/>
              <a:ext cx="1139543" cy="1109499"/>
            </a:xfrm>
            <a:custGeom>
              <a:avLst/>
              <a:gdLst>
                <a:gd name="connsiteX0" fmla="*/ 1135044 w 1139543"/>
                <a:gd name="connsiteY0" fmla="*/ 0 h 1109499"/>
                <a:gd name="connsiteX1" fmla="*/ 1139543 w 1139543"/>
                <a:gd name="connsiteY1" fmla="*/ 9357 h 1109499"/>
                <a:gd name="connsiteX2" fmla="*/ 14070 w 1139543"/>
                <a:gd name="connsiteY2" fmla="*/ 1109499 h 1109499"/>
                <a:gd name="connsiteX3" fmla="*/ 0 w 1139543"/>
                <a:gd name="connsiteY3" fmla="*/ 1109499 h 1109499"/>
                <a:gd name="connsiteX4" fmla="*/ 1135044 w 1139543"/>
                <a:gd name="connsiteY4" fmla="*/ 0 h 110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9543" h="1109499">
                  <a:moveTo>
                    <a:pt x="1135044" y="0"/>
                  </a:moveTo>
                  <a:lnTo>
                    <a:pt x="1139543" y="9357"/>
                  </a:lnTo>
                  <a:lnTo>
                    <a:pt x="14070" y="1109499"/>
                  </a:lnTo>
                  <a:lnTo>
                    <a:pt x="0" y="1109499"/>
                  </a:lnTo>
                  <a:lnTo>
                    <a:pt x="1135044"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87" name="Freeform: Shape 186">
              <a:extLst>
                <a:ext uri="{FF2B5EF4-FFF2-40B4-BE49-F238E27FC236}">
                  <a16:creationId xmlns:a16="http://schemas.microsoft.com/office/drawing/2014/main" id="{EAF238CB-D487-4BFA-8829-5A57A54913D6}"/>
                </a:ext>
              </a:extLst>
            </p:cNvPr>
            <p:cNvSpPr>
              <a:spLocks/>
            </p:cNvSpPr>
            <p:nvPr/>
          </p:nvSpPr>
          <p:spPr bwMode="auto">
            <a:xfrm>
              <a:off x="5073226" y="2941510"/>
              <a:ext cx="1086259" cy="1058086"/>
            </a:xfrm>
            <a:custGeom>
              <a:avLst/>
              <a:gdLst>
                <a:gd name="connsiteX0" fmla="*/ 1082449 w 1086259"/>
                <a:gd name="connsiteY0" fmla="*/ 0 h 1058086"/>
                <a:gd name="connsiteX1" fmla="*/ 1086259 w 1086259"/>
                <a:gd name="connsiteY1" fmla="*/ 10430 h 1058086"/>
                <a:gd name="connsiteX2" fmla="*/ 16240 w 1086259"/>
                <a:gd name="connsiteY2" fmla="*/ 1058086 h 1058086"/>
                <a:gd name="connsiteX3" fmla="*/ 0 w 1086259"/>
                <a:gd name="connsiteY3" fmla="*/ 1058086 h 1058086"/>
                <a:gd name="connsiteX4" fmla="*/ 1082449 w 1086259"/>
                <a:gd name="connsiteY4" fmla="*/ 0 h 1058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259" h="1058086">
                  <a:moveTo>
                    <a:pt x="1082449" y="0"/>
                  </a:moveTo>
                  <a:lnTo>
                    <a:pt x="1086259" y="10430"/>
                  </a:lnTo>
                  <a:lnTo>
                    <a:pt x="16240" y="1058086"/>
                  </a:lnTo>
                  <a:lnTo>
                    <a:pt x="0" y="1058086"/>
                  </a:lnTo>
                  <a:lnTo>
                    <a:pt x="1082449"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88" name="Freeform: Shape 187">
              <a:extLst>
                <a:ext uri="{FF2B5EF4-FFF2-40B4-BE49-F238E27FC236}">
                  <a16:creationId xmlns:a16="http://schemas.microsoft.com/office/drawing/2014/main" id="{46F829E5-A5AC-4396-ACF0-D0D04DF66A31}"/>
                </a:ext>
              </a:extLst>
            </p:cNvPr>
            <p:cNvSpPr>
              <a:spLocks/>
            </p:cNvSpPr>
            <p:nvPr/>
          </p:nvSpPr>
          <p:spPr bwMode="auto">
            <a:xfrm>
              <a:off x="5139847" y="2988272"/>
              <a:ext cx="1037213" cy="1011325"/>
            </a:xfrm>
            <a:custGeom>
              <a:avLst/>
              <a:gdLst>
                <a:gd name="connsiteX0" fmla="*/ 1032912 w 1037213"/>
                <a:gd name="connsiteY0" fmla="*/ 0 h 1011325"/>
                <a:gd name="connsiteX1" fmla="*/ 1037213 w 1037213"/>
                <a:gd name="connsiteY1" fmla="*/ 11772 h 1011325"/>
                <a:gd name="connsiteX2" fmla="*/ 14644 w 1037213"/>
                <a:gd name="connsiteY2" fmla="*/ 1011325 h 1011325"/>
                <a:gd name="connsiteX3" fmla="*/ 0 w 1037213"/>
                <a:gd name="connsiteY3" fmla="*/ 1011325 h 1011325"/>
                <a:gd name="connsiteX4" fmla="*/ 1032912 w 1037213"/>
                <a:gd name="connsiteY4" fmla="*/ 0 h 1011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213" h="1011325">
                  <a:moveTo>
                    <a:pt x="1032912" y="0"/>
                  </a:moveTo>
                  <a:lnTo>
                    <a:pt x="1037213" y="11772"/>
                  </a:lnTo>
                  <a:lnTo>
                    <a:pt x="14644" y="1011325"/>
                  </a:lnTo>
                  <a:lnTo>
                    <a:pt x="0" y="1011325"/>
                  </a:lnTo>
                  <a:lnTo>
                    <a:pt x="1032912"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89" name="Freeform: Shape 188">
              <a:extLst>
                <a:ext uri="{FF2B5EF4-FFF2-40B4-BE49-F238E27FC236}">
                  <a16:creationId xmlns:a16="http://schemas.microsoft.com/office/drawing/2014/main" id="{9DC841B1-67AD-4612-B724-8E342B565677}"/>
                </a:ext>
              </a:extLst>
            </p:cNvPr>
            <p:cNvSpPr>
              <a:spLocks/>
            </p:cNvSpPr>
            <p:nvPr/>
          </p:nvSpPr>
          <p:spPr bwMode="auto">
            <a:xfrm>
              <a:off x="5213484" y="3045086"/>
              <a:ext cx="979868" cy="954511"/>
            </a:xfrm>
            <a:custGeom>
              <a:avLst/>
              <a:gdLst>
                <a:gd name="connsiteX0" fmla="*/ 976489 w 979868"/>
                <a:gd name="connsiteY0" fmla="*/ 0 h 954511"/>
                <a:gd name="connsiteX1" fmla="*/ 979868 w 979868"/>
                <a:gd name="connsiteY1" fmla="*/ 13164 h 954511"/>
                <a:gd name="connsiteX2" fmla="*/ 16845 w 979868"/>
                <a:gd name="connsiteY2" fmla="*/ 954511 h 954511"/>
                <a:gd name="connsiteX3" fmla="*/ 0 w 979868"/>
                <a:gd name="connsiteY3" fmla="*/ 954511 h 954511"/>
                <a:gd name="connsiteX4" fmla="*/ 976489 w 979868"/>
                <a:gd name="connsiteY4" fmla="*/ 0 h 954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868" h="954511">
                  <a:moveTo>
                    <a:pt x="976489" y="0"/>
                  </a:moveTo>
                  <a:lnTo>
                    <a:pt x="979868" y="13164"/>
                  </a:lnTo>
                  <a:lnTo>
                    <a:pt x="16845" y="954511"/>
                  </a:lnTo>
                  <a:lnTo>
                    <a:pt x="0" y="954511"/>
                  </a:lnTo>
                  <a:lnTo>
                    <a:pt x="976489"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0" name="Freeform: Shape 189">
              <a:extLst>
                <a:ext uri="{FF2B5EF4-FFF2-40B4-BE49-F238E27FC236}">
                  <a16:creationId xmlns:a16="http://schemas.microsoft.com/office/drawing/2014/main" id="{EE4D7C23-97D5-4F4E-B530-76366528EC29}"/>
                </a:ext>
              </a:extLst>
            </p:cNvPr>
            <p:cNvSpPr>
              <a:spLocks/>
            </p:cNvSpPr>
            <p:nvPr/>
          </p:nvSpPr>
          <p:spPr bwMode="auto">
            <a:xfrm>
              <a:off x="5286165" y="3102058"/>
              <a:ext cx="920757" cy="897538"/>
            </a:xfrm>
            <a:custGeom>
              <a:avLst/>
              <a:gdLst>
                <a:gd name="connsiteX0" fmla="*/ 918205 w 920757"/>
                <a:gd name="connsiteY0" fmla="*/ 0 h 897538"/>
                <a:gd name="connsiteX1" fmla="*/ 920757 w 920757"/>
                <a:gd name="connsiteY1" fmla="*/ 16749 h 897538"/>
                <a:gd name="connsiteX2" fmla="*/ 19687 w 920757"/>
                <a:gd name="connsiteY2" fmla="*/ 897538 h 897538"/>
                <a:gd name="connsiteX3" fmla="*/ 0 w 920757"/>
                <a:gd name="connsiteY3" fmla="*/ 897538 h 897538"/>
                <a:gd name="connsiteX4" fmla="*/ 918205 w 920757"/>
                <a:gd name="connsiteY4" fmla="*/ 0 h 897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757" h="897538">
                  <a:moveTo>
                    <a:pt x="918205" y="0"/>
                  </a:moveTo>
                  <a:lnTo>
                    <a:pt x="920757" y="16749"/>
                  </a:lnTo>
                  <a:lnTo>
                    <a:pt x="19687" y="897538"/>
                  </a:lnTo>
                  <a:lnTo>
                    <a:pt x="0" y="897538"/>
                  </a:lnTo>
                  <a:lnTo>
                    <a:pt x="918205"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1" name="Freeform: Shape 190">
              <a:extLst>
                <a:ext uri="{FF2B5EF4-FFF2-40B4-BE49-F238E27FC236}">
                  <a16:creationId xmlns:a16="http://schemas.microsoft.com/office/drawing/2014/main" id="{7D6E3AEF-7BBC-4E19-A841-4AC36C2317E2}"/>
                </a:ext>
              </a:extLst>
            </p:cNvPr>
            <p:cNvSpPr>
              <a:spLocks/>
            </p:cNvSpPr>
            <p:nvPr/>
          </p:nvSpPr>
          <p:spPr bwMode="auto">
            <a:xfrm>
              <a:off x="5367620" y="3171360"/>
              <a:ext cx="849130" cy="828236"/>
            </a:xfrm>
            <a:custGeom>
              <a:avLst/>
              <a:gdLst>
                <a:gd name="connsiteX0" fmla="*/ 847306 w 849130"/>
                <a:gd name="connsiteY0" fmla="*/ 0 h 828236"/>
                <a:gd name="connsiteX1" fmla="*/ 849130 w 849130"/>
                <a:gd name="connsiteY1" fmla="*/ 11972 h 828236"/>
                <a:gd name="connsiteX2" fmla="*/ 14071 w 849130"/>
                <a:gd name="connsiteY2" fmla="*/ 828236 h 828236"/>
                <a:gd name="connsiteX3" fmla="*/ 0 w 849130"/>
                <a:gd name="connsiteY3" fmla="*/ 828236 h 828236"/>
                <a:gd name="connsiteX4" fmla="*/ 847306 w 849130"/>
                <a:gd name="connsiteY4" fmla="*/ 0 h 828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130" h="828236">
                  <a:moveTo>
                    <a:pt x="847306" y="0"/>
                  </a:moveTo>
                  <a:lnTo>
                    <a:pt x="849130" y="11972"/>
                  </a:lnTo>
                  <a:lnTo>
                    <a:pt x="14071" y="828236"/>
                  </a:lnTo>
                  <a:lnTo>
                    <a:pt x="0" y="828236"/>
                  </a:lnTo>
                  <a:lnTo>
                    <a:pt x="847306"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2" name="Freeform: Shape 191">
              <a:extLst>
                <a:ext uri="{FF2B5EF4-FFF2-40B4-BE49-F238E27FC236}">
                  <a16:creationId xmlns:a16="http://schemas.microsoft.com/office/drawing/2014/main" id="{B1F0FF64-B048-474C-80D8-70B5D10CD473}"/>
                </a:ext>
              </a:extLst>
            </p:cNvPr>
            <p:cNvSpPr>
              <a:spLocks/>
            </p:cNvSpPr>
            <p:nvPr/>
          </p:nvSpPr>
          <p:spPr bwMode="auto">
            <a:xfrm>
              <a:off x="5428414" y="3224974"/>
              <a:ext cx="791982" cy="774622"/>
            </a:xfrm>
            <a:custGeom>
              <a:avLst/>
              <a:gdLst>
                <a:gd name="connsiteX0" fmla="*/ 791157 w 791982"/>
                <a:gd name="connsiteY0" fmla="*/ 0 h 774622"/>
                <a:gd name="connsiteX1" fmla="*/ 791982 w 791982"/>
                <a:gd name="connsiteY1" fmla="*/ 16359 h 774622"/>
                <a:gd name="connsiteX2" fmla="*/ 18803 w 791982"/>
                <a:gd name="connsiteY2" fmla="*/ 774622 h 774622"/>
                <a:gd name="connsiteX3" fmla="*/ 0 w 791982"/>
                <a:gd name="connsiteY3" fmla="*/ 774622 h 774622"/>
                <a:gd name="connsiteX4" fmla="*/ 791157 w 791982"/>
                <a:gd name="connsiteY4" fmla="*/ 0 h 7746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982" h="774622">
                  <a:moveTo>
                    <a:pt x="791157" y="0"/>
                  </a:moveTo>
                  <a:lnTo>
                    <a:pt x="791982" y="16359"/>
                  </a:lnTo>
                  <a:lnTo>
                    <a:pt x="18803" y="774622"/>
                  </a:lnTo>
                  <a:lnTo>
                    <a:pt x="0" y="774622"/>
                  </a:lnTo>
                  <a:lnTo>
                    <a:pt x="791157"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3" name="Freeform: Shape 192">
              <a:extLst>
                <a:ext uri="{FF2B5EF4-FFF2-40B4-BE49-F238E27FC236}">
                  <a16:creationId xmlns:a16="http://schemas.microsoft.com/office/drawing/2014/main" id="{1AB38F25-9D95-4584-AD7E-56D3508EA8BA}"/>
                </a:ext>
              </a:extLst>
            </p:cNvPr>
            <p:cNvSpPr>
              <a:spLocks/>
            </p:cNvSpPr>
            <p:nvPr/>
          </p:nvSpPr>
          <p:spPr bwMode="auto">
            <a:xfrm>
              <a:off x="5505039" y="3299014"/>
              <a:ext cx="716714" cy="700583"/>
            </a:xfrm>
            <a:custGeom>
              <a:avLst/>
              <a:gdLst>
                <a:gd name="connsiteX0" fmla="*/ 716714 w 716714"/>
                <a:gd name="connsiteY0" fmla="*/ 0 h 700583"/>
                <a:gd name="connsiteX1" fmla="*/ 715694 w 716714"/>
                <a:gd name="connsiteY1" fmla="*/ 20240 h 700583"/>
                <a:gd name="connsiteX2" fmla="*/ 19686 w 716714"/>
                <a:gd name="connsiteY2" fmla="*/ 700583 h 700583"/>
                <a:gd name="connsiteX3" fmla="*/ 0 w 716714"/>
                <a:gd name="connsiteY3" fmla="*/ 700583 h 700583"/>
                <a:gd name="connsiteX4" fmla="*/ 716714 w 716714"/>
                <a:gd name="connsiteY4" fmla="*/ 0 h 700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714" h="700583">
                  <a:moveTo>
                    <a:pt x="716714" y="0"/>
                  </a:moveTo>
                  <a:lnTo>
                    <a:pt x="715694" y="20240"/>
                  </a:lnTo>
                  <a:lnTo>
                    <a:pt x="19686" y="700583"/>
                  </a:lnTo>
                  <a:lnTo>
                    <a:pt x="0" y="700583"/>
                  </a:lnTo>
                  <a:lnTo>
                    <a:pt x="716714"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4" name="Freeform: Shape 193">
              <a:extLst>
                <a:ext uri="{FF2B5EF4-FFF2-40B4-BE49-F238E27FC236}">
                  <a16:creationId xmlns:a16="http://schemas.microsoft.com/office/drawing/2014/main" id="{812E5B92-661C-42C4-AF51-311E24729701}"/>
                </a:ext>
              </a:extLst>
            </p:cNvPr>
            <p:cNvSpPr>
              <a:spLocks/>
            </p:cNvSpPr>
            <p:nvPr/>
          </p:nvSpPr>
          <p:spPr bwMode="auto">
            <a:xfrm>
              <a:off x="5586498" y="3383456"/>
              <a:ext cx="630327" cy="616140"/>
            </a:xfrm>
            <a:custGeom>
              <a:avLst/>
              <a:gdLst>
                <a:gd name="connsiteX0" fmla="*/ 630327 w 630327"/>
                <a:gd name="connsiteY0" fmla="*/ 0 h 616140"/>
                <a:gd name="connsiteX1" fmla="*/ 627866 w 630327"/>
                <a:gd name="connsiteY1" fmla="*/ 16160 h 616140"/>
                <a:gd name="connsiteX2" fmla="*/ 14071 w 630327"/>
                <a:gd name="connsiteY2" fmla="*/ 616140 h 616140"/>
                <a:gd name="connsiteX3" fmla="*/ 0 w 630327"/>
                <a:gd name="connsiteY3" fmla="*/ 616140 h 616140"/>
                <a:gd name="connsiteX4" fmla="*/ 630327 w 630327"/>
                <a:gd name="connsiteY4" fmla="*/ 0 h 61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327" h="616140">
                  <a:moveTo>
                    <a:pt x="630327" y="0"/>
                  </a:moveTo>
                  <a:lnTo>
                    <a:pt x="627866" y="16160"/>
                  </a:lnTo>
                  <a:lnTo>
                    <a:pt x="14071" y="616140"/>
                  </a:lnTo>
                  <a:lnTo>
                    <a:pt x="0" y="616140"/>
                  </a:lnTo>
                  <a:lnTo>
                    <a:pt x="630327"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5" name="Freeform: Shape 194">
              <a:extLst>
                <a:ext uri="{FF2B5EF4-FFF2-40B4-BE49-F238E27FC236}">
                  <a16:creationId xmlns:a16="http://schemas.microsoft.com/office/drawing/2014/main" id="{936233C9-8468-42D5-B6E6-18643322B3B3}"/>
                </a:ext>
              </a:extLst>
            </p:cNvPr>
            <p:cNvSpPr>
              <a:spLocks/>
            </p:cNvSpPr>
            <p:nvPr/>
          </p:nvSpPr>
          <p:spPr bwMode="auto">
            <a:xfrm>
              <a:off x="5650159" y="3456570"/>
              <a:ext cx="555529" cy="543026"/>
            </a:xfrm>
            <a:custGeom>
              <a:avLst/>
              <a:gdLst>
                <a:gd name="connsiteX0" fmla="*/ 555529 w 555529"/>
                <a:gd name="connsiteY0" fmla="*/ 0 h 543026"/>
                <a:gd name="connsiteX1" fmla="*/ 553880 w 555529"/>
                <a:gd name="connsiteY1" fmla="*/ 10823 h 543026"/>
                <a:gd name="connsiteX2" fmla="*/ 552034 w 555529"/>
                <a:gd name="connsiteY2" fmla="*/ 18015 h 543026"/>
                <a:gd name="connsiteX3" fmla="*/ 15817 w 555529"/>
                <a:gd name="connsiteY3" fmla="*/ 543026 h 543026"/>
                <a:gd name="connsiteX4" fmla="*/ 0 w 555529"/>
                <a:gd name="connsiteY4" fmla="*/ 543026 h 543026"/>
                <a:gd name="connsiteX5" fmla="*/ 555529 w 555529"/>
                <a:gd name="connsiteY5" fmla="*/ 0 h 54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5529" h="543026">
                  <a:moveTo>
                    <a:pt x="555529" y="0"/>
                  </a:moveTo>
                  <a:lnTo>
                    <a:pt x="553880" y="10823"/>
                  </a:lnTo>
                  <a:lnTo>
                    <a:pt x="552034" y="18015"/>
                  </a:lnTo>
                  <a:lnTo>
                    <a:pt x="15817" y="543026"/>
                  </a:lnTo>
                  <a:lnTo>
                    <a:pt x="0" y="543026"/>
                  </a:lnTo>
                  <a:lnTo>
                    <a:pt x="555529"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6" name="Freeform: Shape 195">
              <a:extLst>
                <a:ext uri="{FF2B5EF4-FFF2-40B4-BE49-F238E27FC236}">
                  <a16:creationId xmlns:a16="http://schemas.microsoft.com/office/drawing/2014/main" id="{9436DE14-E4EF-45E8-9CE3-D58E56B98948}"/>
                </a:ext>
              </a:extLst>
            </p:cNvPr>
            <p:cNvSpPr>
              <a:spLocks/>
            </p:cNvSpPr>
            <p:nvPr/>
          </p:nvSpPr>
          <p:spPr bwMode="auto">
            <a:xfrm>
              <a:off x="5727693" y="3555382"/>
              <a:ext cx="453697" cy="444215"/>
            </a:xfrm>
            <a:custGeom>
              <a:avLst/>
              <a:gdLst>
                <a:gd name="connsiteX0" fmla="*/ 453697 w 453697"/>
                <a:gd name="connsiteY0" fmla="*/ 0 h 444215"/>
                <a:gd name="connsiteX1" fmla="*/ 444323 w 453697"/>
                <a:gd name="connsiteY1" fmla="*/ 25659 h 444215"/>
                <a:gd name="connsiteX2" fmla="*/ 16832 w 453697"/>
                <a:gd name="connsiteY2" fmla="*/ 444215 h 444215"/>
                <a:gd name="connsiteX3" fmla="*/ 0 w 453697"/>
                <a:gd name="connsiteY3" fmla="*/ 444215 h 444215"/>
                <a:gd name="connsiteX4" fmla="*/ 453697 w 453697"/>
                <a:gd name="connsiteY4" fmla="*/ 0 h 444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697" h="444215">
                  <a:moveTo>
                    <a:pt x="453697" y="0"/>
                  </a:moveTo>
                  <a:lnTo>
                    <a:pt x="444323" y="25659"/>
                  </a:lnTo>
                  <a:lnTo>
                    <a:pt x="16832" y="444215"/>
                  </a:lnTo>
                  <a:lnTo>
                    <a:pt x="0" y="444215"/>
                  </a:lnTo>
                  <a:lnTo>
                    <a:pt x="453697"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7" name="Freeform: Shape 196">
              <a:extLst>
                <a:ext uri="{FF2B5EF4-FFF2-40B4-BE49-F238E27FC236}">
                  <a16:creationId xmlns:a16="http://schemas.microsoft.com/office/drawing/2014/main" id="{D428B43C-9FAB-4987-ADBF-A53B4BDB76DE}"/>
                </a:ext>
              </a:extLst>
            </p:cNvPr>
            <p:cNvSpPr>
              <a:spLocks/>
            </p:cNvSpPr>
            <p:nvPr/>
          </p:nvSpPr>
          <p:spPr bwMode="auto">
            <a:xfrm>
              <a:off x="5793193" y="3659850"/>
              <a:ext cx="347569" cy="339747"/>
            </a:xfrm>
            <a:custGeom>
              <a:avLst/>
              <a:gdLst>
                <a:gd name="connsiteX0" fmla="*/ 347569 w 347569"/>
                <a:gd name="connsiteY0" fmla="*/ 0 h 339747"/>
                <a:gd name="connsiteX1" fmla="*/ 335090 w 347569"/>
                <a:gd name="connsiteY1" fmla="*/ 25952 h 339747"/>
                <a:gd name="connsiteX2" fmla="*/ 14070 w 347569"/>
                <a:gd name="connsiteY2" fmla="*/ 339747 h 339747"/>
                <a:gd name="connsiteX3" fmla="*/ 0 w 347569"/>
                <a:gd name="connsiteY3" fmla="*/ 339747 h 339747"/>
                <a:gd name="connsiteX4" fmla="*/ 347569 w 347569"/>
                <a:gd name="connsiteY4" fmla="*/ 0 h 339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569" h="339747">
                  <a:moveTo>
                    <a:pt x="347569" y="0"/>
                  </a:moveTo>
                  <a:lnTo>
                    <a:pt x="335090" y="25952"/>
                  </a:lnTo>
                  <a:lnTo>
                    <a:pt x="14070" y="339747"/>
                  </a:lnTo>
                  <a:lnTo>
                    <a:pt x="0" y="339747"/>
                  </a:lnTo>
                  <a:lnTo>
                    <a:pt x="347569" y="0"/>
                  </a:lnTo>
                  <a:close/>
                </a:path>
              </a:pathLst>
            </a:custGeom>
            <a:solidFill>
              <a:srgbClr val="75C0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pic>
          <p:nvPicPr>
            <p:cNvPr id="198" name="Graphic 197">
              <a:extLst>
                <a:ext uri="{FF2B5EF4-FFF2-40B4-BE49-F238E27FC236}">
                  <a16:creationId xmlns:a16="http://schemas.microsoft.com/office/drawing/2014/main" id="{56E496A6-E674-4318-975D-553B5509C80A}"/>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983481" y="3268108"/>
              <a:ext cx="937548" cy="952430"/>
            </a:xfrm>
            <a:prstGeom prst="rect">
              <a:avLst/>
            </a:prstGeom>
          </p:spPr>
        </p:pic>
      </p:grpSp>
      <p:pic>
        <p:nvPicPr>
          <p:cNvPr id="206" name="Picture 205" descr="A picture containing animal, shellfish, black, white&#10;&#10;Description automatically generated">
            <a:extLst>
              <a:ext uri="{FF2B5EF4-FFF2-40B4-BE49-F238E27FC236}">
                <a16:creationId xmlns:a16="http://schemas.microsoft.com/office/drawing/2014/main" id="{99314889-B24D-4576-949A-D1EE18543C9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898509" y="2019034"/>
            <a:ext cx="1442398" cy="811348"/>
          </a:xfrm>
          <a:prstGeom prst="rect">
            <a:avLst/>
          </a:prstGeom>
        </p:spPr>
      </p:pic>
      <p:pic>
        <p:nvPicPr>
          <p:cNvPr id="204" name="Picture 203" descr="A picture containing crane, black&#10;&#10;Description automatically generated">
            <a:extLst>
              <a:ext uri="{FF2B5EF4-FFF2-40B4-BE49-F238E27FC236}">
                <a16:creationId xmlns:a16="http://schemas.microsoft.com/office/drawing/2014/main" id="{FBFAE627-9F9D-4F03-9051-E1AA466E71DA}"/>
              </a:ext>
            </a:extLst>
          </p:cNvPr>
          <p:cNvPicPr>
            <a:picLocks noChangeAspect="1"/>
          </p:cNvPicPr>
          <p:nvPr/>
        </p:nvPicPr>
        <p:blipFill rotWithShape="1">
          <a:blip r:embed="rId11" cstate="screen">
            <a:duotone>
              <a:prstClr val="black"/>
              <a:srgbClr val="74BF4B">
                <a:tint val="45000"/>
                <a:satMod val="400000"/>
              </a:srgbClr>
            </a:duotone>
            <a:extLst>
              <a:ext uri="{BEBA8EAE-BF5A-486C-A8C5-ECC9F3942E4B}">
                <a14:imgProps xmlns:a14="http://schemas.microsoft.com/office/drawing/2010/main">
                  <a14:imgLayer r:embed="rId12">
                    <a14:imgEffect>
                      <a14:brightnessContrast bright="-30000"/>
                    </a14:imgEffect>
                  </a14:imgLayer>
                </a14:imgProps>
              </a:ext>
              <a:ext uri="{28A0092B-C50C-407E-A947-70E740481C1C}">
                <a14:useLocalDpi xmlns:a14="http://schemas.microsoft.com/office/drawing/2010/main"/>
              </a:ext>
            </a:extLst>
          </a:blip>
          <a:srcRect/>
          <a:stretch/>
        </p:blipFill>
        <p:spPr>
          <a:xfrm>
            <a:off x="6898509" y="1526052"/>
            <a:ext cx="781502" cy="782160"/>
          </a:xfrm>
          <a:prstGeom prst="rect">
            <a:avLst/>
          </a:prstGeom>
        </p:spPr>
      </p:pic>
      <p:grpSp>
        <p:nvGrpSpPr>
          <p:cNvPr id="280" name="Group 279">
            <a:extLst>
              <a:ext uri="{FF2B5EF4-FFF2-40B4-BE49-F238E27FC236}">
                <a16:creationId xmlns:a16="http://schemas.microsoft.com/office/drawing/2014/main" id="{04F5AAB0-6E1C-4E03-82B3-FFB57529D101}"/>
              </a:ext>
            </a:extLst>
          </p:cNvPr>
          <p:cNvGrpSpPr/>
          <p:nvPr/>
        </p:nvGrpSpPr>
        <p:grpSpPr>
          <a:xfrm>
            <a:off x="7494638" y="2800516"/>
            <a:ext cx="563748" cy="410239"/>
            <a:chOff x="6404781" y="2654311"/>
            <a:chExt cx="996476" cy="725135"/>
          </a:xfrm>
        </p:grpSpPr>
        <p:sp>
          <p:nvSpPr>
            <p:cNvPr id="271" name="TextBox 270">
              <a:extLst>
                <a:ext uri="{FF2B5EF4-FFF2-40B4-BE49-F238E27FC236}">
                  <a16:creationId xmlns:a16="http://schemas.microsoft.com/office/drawing/2014/main" id="{A5E0D019-CC7A-45DC-B105-60F1D6086EB0}"/>
                </a:ext>
              </a:extLst>
            </p:cNvPr>
            <p:cNvSpPr txBox="1"/>
            <p:nvPr/>
          </p:nvSpPr>
          <p:spPr>
            <a:xfrm>
              <a:off x="7187339" y="2654311"/>
              <a:ext cx="109499" cy="166878"/>
            </a:xfrm>
            <a:custGeom>
              <a:avLst/>
              <a:gdLst/>
              <a:ahLst/>
              <a:cxnLst/>
              <a:rect l="l" t="t" r="r" b="b"/>
              <a:pathLst>
                <a:path w="109499" h="166878">
                  <a:moveTo>
                    <a:pt x="54864" y="0"/>
                  </a:moveTo>
                  <a:cubicBezTo>
                    <a:pt x="62636" y="0"/>
                    <a:pt x="69837" y="1600"/>
                    <a:pt x="76467" y="4801"/>
                  </a:cubicBezTo>
                  <a:cubicBezTo>
                    <a:pt x="83096" y="8001"/>
                    <a:pt x="88887" y="12992"/>
                    <a:pt x="93840" y="19774"/>
                  </a:cubicBezTo>
                  <a:cubicBezTo>
                    <a:pt x="98793" y="26556"/>
                    <a:pt x="102641" y="35204"/>
                    <a:pt x="105385" y="45720"/>
                  </a:cubicBezTo>
                  <a:cubicBezTo>
                    <a:pt x="108128" y="56236"/>
                    <a:pt x="109499" y="68809"/>
                    <a:pt x="109499" y="83439"/>
                  </a:cubicBezTo>
                  <a:cubicBezTo>
                    <a:pt x="109499" y="98069"/>
                    <a:pt x="108128" y="110642"/>
                    <a:pt x="105385" y="121158"/>
                  </a:cubicBezTo>
                  <a:cubicBezTo>
                    <a:pt x="102641" y="131674"/>
                    <a:pt x="98793" y="140322"/>
                    <a:pt x="93840" y="147104"/>
                  </a:cubicBezTo>
                  <a:cubicBezTo>
                    <a:pt x="88887" y="153886"/>
                    <a:pt x="83096" y="158877"/>
                    <a:pt x="76467" y="162077"/>
                  </a:cubicBezTo>
                  <a:cubicBezTo>
                    <a:pt x="69837" y="165278"/>
                    <a:pt x="62636" y="166878"/>
                    <a:pt x="54864" y="166878"/>
                  </a:cubicBezTo>
                  <a:cubicBezTo>
                    <a:pt x="47092" y="166878"/>
                    <a:pt x="39853" y="165240"/>
                    <a:pt x="33147" y="161963"/>
                  </a:cubicBezTo>
                  <a:cubicBezTo>
                    <a:pt x="26441" y="158687"/>
                    <a:pt x="20650" y="153657"/>
                    <a:pt x="15773" y="146876"/>
                  </a:cubicBezTo>
                  <a:cubicBezTo>
                    <a:pt x="10897" y="140094"/>
                    <a:pt x="7049" y="131445"/>
                    <a:pt x="4229" y="120929"/>
                  </a:cubicBezTo>
                  <a:cubicBezTo>
                    <a:pt x="1410" y="110414"/>
                    <a:pt x="0" y="97917"/>
                    <a:pt x="0" y="83439"/>
                  </a:cubicBezTo>
                  <a:cubicBezTo>
                    <a:pt x="0" y="68809"/>
                    <a:pt x="1410" y="56236"/>
                    <a:pt x="4229" y="45720"/>
                  </a:cubicBezTo>
                  <a:cubicBezTo>
                    <a:pt x="7049" y="35204"/>
                    <a:pt x="10897" y="26556"/>
                    <a:pt x="15773" y="19774"/>
                  </a:cubicBezTo>
                  <a:cubicBezTo>
                    <a:pt x="20650" y="12992"/>
                    <a:pt x="26441" y="8001"/>
                    <a:pt x="33147" y="4801"/>
                  </a:cubicBezTo>
                  <a:cubicBezTo>
                    <a:pt x="39853" y="1600"/>
                    <a:pt x="47092" y="0"/>
                    <a:pt x="54864" y="0"/>
                  </a:cubicBezTo>
                  <a:close/>
                  <a:moveTo>
                    <a:pt x="54864" y="10516"/>
                  </a:moveTo>
                  <a:cubicBezTo>
                    <a:pt x="41758" y="10516"/>
                    <a:pt x="31471" y="16459"/>
                    <a:pt x="24003" y="28346"/>
                  </a:cubicBezTo>
                  <a:cubicBezTo>
                    <a:pt x="16535" y="40234"/>
                    <a:pt x="12802" y="58598"/>
                    <a:pt x="12802" y="83439"/>
                  </a:cubicBezTo>
                  <a:cubicBezTo>
                    <a:pt x="12802" y="108280"/>
                    <a:pt x="16535" y="126644"/>
                    <a:pt x="24003" y="138532"/>
                  </a:cubicBezTo>
                  <a:cubicBezTo>
                    <a:pt x="31471" y="150419"/>
                    <a:pt x="41758" y="156362"/>
                    <a:pt x="54864" y="156362"/>
                  </a:cubicBezTo>
                  <a:cubicBezTo>
                    <a:pt x="67970" y="156362"/>
                    <a:pt x="78257" y="150419"/>
                    <a:pt x="85725" y="138532"/>
                  </a:cubicBezTo>
                  <a:cubicBezTo>
                    <a:pt x="93193" y="126644"/>
                    <a:pt x="96926" y="108280"/>
                    <a:pt x="96926" y="83439"/>
                  </a:cubicBezTo>
                  <a:cubicBezTo>
                    <a:pt x="96926" y="58598"/>
                    <a:pt x="93193" y="40234"/>
                    <a:pt x="85725" y="28346"/>
                  </a:cubicBezTo>
                  <a:cubicBezTo>
                    <a:pt x="78257" y="16459"/>
                    <a:pt x="67970" y="10516"/>
                    <a:pt x="54864" y="10516"/>
                  </a:cubicBezTo>
                  <a:close/>
                </a:path>
              </a:pathLst>
            </a:custGeom>
            <a:solidFill>
              <a:srgbClr val="0D274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endParaRPr>
            </a:p>
          </p:txBody>
        </p:sp>
        <p:sp>
          <p:nvSpPr>
            <p:cNvPr id="272" name="TextBox 271">
              <a:extLst>
                <a:ext uri="{FF2B5EF4-FFF2-40B4-BE49-F238E27FC236}">
                  <a16:creationId xmlns:a16="http://schemas.microsoft.com/office/drawing/2014/main" id="{26270455-F4E0-4C68-A6E8-DEDBAFBD47E3}"/>
                </a:ext>
              </a:extLst>
            </p:cNvPr>
            <p:cNvSpPr txBox="1"/>
            <p:nvPr/>
          </p:nvSpPr>
          <p:spPr>
            <a:xfrm>
              <a:off x="7351879" y="2657740"/>
              <a:ext cx="49378" cy="160020"/>
            </a:xfrm>
            <a:custGeom>
              <a:avLst/>
              <a:gdLst/>
              <a:ahLst/>
              <a:cxnLst/>
              <a:rect l="l" t="t" r="r" b="b"/>
              <a:pathLst>
                <a:path w="49378" h="160020">
                  <a:moveTo>
                    <a:pt x="37262" y="0"/>
                  </a:moveTo>
                  <a:lnTo>
                    <a:pt x="49378" y="0"/>
                  </a:lnTo>
                  <a:lnTo>
                    <a:pt x="49378" y="160020"/>
                  </a:lnTo>
                  <a:lnTo>
                    <a:pt x="37034" y="160020"/>
                  </a:lnTo>
                  <a:lnTo>
                    <a:pt x="37034" y="13259"/>
                  </a:lnTo>
                  <a:lnTo>
                    <a:pt x="0" y="34290"/>
                  </a:lnTo>
                  <a:lnTo>
                    <a:pt x="0" y="21260"/>
                  </a:lnTo>
                  <a:lnTo>
                    <a:pt x="37262" y="0"/>
                  </a:lnTo>
                  <a:close/>
                </a:path>
              </a:pathLst>
            </a:custGeom>
            <a:solidFill>
              <a:srgbClr val="0D274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endParaRPr>
            </a:p>
          </p:txBody>
        </p:sp>
        <p:sp>
          <p:nvSpPr>
            <p:cNvPr id="273" name="TextBox 272">
              <a:extLst>
                <a:ext uri="{FF2B5EF4-FFF2-40B4-BE49-F238E27FC236}">
                  <a16:creationId xmlns:a16="http://schemas.microsoft.com/office/drawing/2014/main" id="{40A89648-66CF-44DB-B8F8-630D377FF499}"/>
                </a:ext>
              </a:extLst>
            </p:cNvPr>
            <p:cNvSpPr txBox="1"/>
            <p:nvPr/>
          </p:nvSpPr>
          <p:spPr>
            <a:xfrm>
              <a:off x="7028106" y="2654311"/>
              <a:ext cx="109499" cy="166878"/>
            </a:xfrm>
            <a:custGeom>
              <a:avLst/>
              <a:gdLst/>
              <a:ahLst/>
              <a:cxnLst/>
              <a:rect l="l" t="t" r="r" b="b"/>
              <a:pathLst>
                <a:path w="109499" h="166878">
                  <a:moveTo>
                    <a:pt x="54864" y="0"/>
                  </a:moveTo>
                  <a:cubicBezTo>
                    <a:pt x="62636" y="0"/>
                    <a:pt x="69837" y="1600"/>
                    <a:pt x="76467" y="4801"/>
                  </a:cubicBezTo>
                  <a:cubicBezTo>
                    <a:pt x="83096" y="8001"/>
                    <a:pt x="88887" y="12992"/>
                    <a:pt x="93840" y="19774"/>
                  </a:cubicBezTo>
                  <a:cubicBezTo>
                    <a:pt x="98793" y="26556"/>
                    <a:pt x="102641" y="35204"/>
                    <a:pt x="105385" y="45720"/>
                  </a:cubicBezTo>
                  <a:cubicBezTo>
                    <a:pt x="108128" y="56236"/>
                    <a:pt x="109499" y="68809"/>
                    <a:pt x="109499" y="83439"/>
                  </a:cubicBezTo>
                  <a:cubicBezTo>
                    <a:pt x="109499" y="98069"/>
                    <a:pt x="108128" y="110642"/>
                    <a:pt x="105385" y="121158"/>
                  </a:cubicBezTo>
                  <a:cubicBezTo>
                    <a:pt x="102641" y="131674"/>
                    <a:pt x="98793" y="140322"/>
                    <a:pt x="93840" y="147104"/>
                  </a:cubicBezTo>
                  <a:cubicBezTo>
                    <a:pt x="88887" y="153886"/>
                    <a:pt x="83096" y="158877"/>
                    <a:pt x="76467" y="162077"/>
                  </a:cubicBezTo>
                  <a:cubicBezTo>
                    <a:pt x="69837" y="165278"/>
                    <a:pt x="62636" y="166878"/>
                    <a:pt x="54864" y="166878"/>
                  </a:cubicBezTo>
                  <a:cubicBezTo>
                    <a:pt x="47092" y="166878"/>
                    <a:pt x="39853" y="165240"/>
                    <a:pt x="33147" y="161963"/>
                  </a:cubicBezTo>
                  <a:cubicBezTo>
                    <a:pt x="26441" y="158687"/>
                    <a:pt x="20650" y="153657"/>
                    <a:pt x="15773" y="146876"/>
                  </a:cubicBezTo>
                  <a:cubicBezTo>
                    <a:pt x="10897" y="140094"/>
                    <a:pt x="7049" y="131445"/>
                    <a:pt x="4229" y="120929"/>
                  </a:cubicBezTo>
                  <a:cubicBezTo>
                    <a:pt x="1410" y="110414"/>
                    <a:pt x="0" y="97917"/>
                    <a:pt x="0" y="83439"/>
                  </a:cubicBezTo>
                  <a:cubicBezTo>
                    <a:pt x="0" y="68809"/>
                    <a:pt x="1410" y="56236"/>
                    <a:pt x="4229" y="45720"/>
                  </a:cubicBezTo>
                  <a:cubicBezTo>
                    <a:pt x="7049" y="35204"/>
                    <a:pt x="10897" y="26556"/>
                    <a:pt x="15773" y="19774"/>
                  </a:cubicBezTo>
                  <a:cubicBezTo>
                    <a:pt x="20650" y="12992"/>
                    <a:pt x="26441" y="8001"/>
                    <a:pt x="33147" y="4801"/>
                  </a:cubicBezTo>
                  <a:cubicBezTo>
                    <a:pt x="39853" y="1600"/>
                    <a:pt x="47092" y="0"/>
                    <a:pt x="54864" y="0"/>
                  </a:cubicBezTo>
                  <a:close/>
                  <a:moveTo>
                    <a:pt x="54864" y="10516"/>
                  </a:moveTo>
                  <a:cubicBezTo>
                    <a:pt x="41758" y="10516"/>
                    <a:pt x="31471" y="16459"/>
                    <a:pt x="24003" y="28346"/>
                  </a:cubicBezTo>
                  <a:cubicBezTo>
                    <a:pt x="16535" y="40234"/>
                    <a:pt x="12802" y="58598"/>
                    <a:pt x="12802" y="83439"/>
                  </a:cubicBezTo>
                  <a:cubicBezTo>
                    <a:pt x="12802" y="108280"/>
                    <a:pt x="16535" y="126644"/>
                    <a:pt x="24003" y="138532"/>
                  </a:cubicBezTo>
                  <a:cubicBezTo>
                    <a:pt x="31471" y="150419"/>
                    <a:pt x="41758" y="156362"/>
                    <a:pt x="54864" y="156362"/>
                  </a:cubicBezTo>
                  <a:cubicBezTo>
                    <a:pt x="67970" y="156362"/>
                    <a:pt x="78257" y="150419"/>
                    <a:pt x="85725" y="138532"/>
                  </a:cubicBezTo>
                  <a:cubicBezTo>
                    <a:pt x="93193" y="126644"/>
                    <a:pt x="96926" y="108280"/>
                    <a:pt x="96926" y="83439"/>
                  </a:cubicBezTo>
                  <a:cubicBezTo>
                    <a:pt x="96926" y="58598"/>
                    <a:pt x="93193" y="40234"/>
                    <a:pt x="85725" y="28346"/>
                  </a:cubicBezTo>
                  <a:cubicBezTo>
                    <a:pt x="78257" y="16459"/>
                    <a:pt x="67970" y="10516"/>
                    <a:pt x="54864" y="10516"/>
                  </a:cubicBezTo>
                  <a:close/>
                </a:path>
              </a:pathLst>
            </a:custGeom>
            <a:solidFill>
              <a:srgbClr val="0D274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endParaRPr>
            </a:p>
          </p:txBody>
        </p:sp>
        <p:sp>
          <p:nvSpPr>
            <p:cNvPr id="274" name="TextBox 273">
              <a:extLst>
                <a:ext uri="{FF2B5EF4-FFF2-40B4-BE49-F238E27FC236}">
                  <a16:creationId xmlns:a16="http://schemas.microsoft.com/office/drawing/2014/main" id="{0DC9EA38-E318-4A39-9D2D-E0D65FA0AC01}"/>
                </a:ext>
              </a:extLst>
            </p:cNvPr>
            <p:cNvSpPr txBox="1"/>
            <p:nvPr/>
          </p:nvSpPr>
          <p:spPr>
            <a:xfrm>
              <a:off x="6404781" y="2654311"/>
              <a:ext cx="109499" cy="166878"/>
            </a:xfrm>
            <a:custGeom>
              <a:avLst/>
              <a:gdLst/>
              <a:ahLst/>
              <a:cxnLst/>
              <a:rect l="l" t="t" r="r" b="b"/>
              <a:pathLst>
                <a:path w="109499" h="166878">
                  <a:moveTo>
                    <a:pt x="54864" y="0"/>
                  </a:moveTo>
                  <a:cubicBezTo>
                    <a:pt x="62636" y="0"/>
                    <a:pt x="69837" y="1600"/>
                    <a:pt x="76467" y="4801"/>
                  </a:cubicBezTo>
                  <a:cubicBezTo>
                    <a:pt x="83096" y="8001"/>
                    <a:pt x="88887" y="12992"/>
                    <a:pt x="93840" y="19774"/>
                  </a:cubicBezTo>
                  <a:cubicBezTo>
                    <a:pt x="98793" y="26556"/>
                    <a:pt x="102641" y="35204"/>
                    <a:pt x="105385" y="45720"/>
                  </a:cubicBezTo>
                  <a:cubicBezTo>
                    <a:pt x="108128" y="56236"/>
                    <a:pt x="109499" y="68809"/>
                    <a:pt x="109499" y="83439"/>
                  </a:cubicBezTo>
                  <a:cubicBezTo>
                    <a:pt x="109499" y="98069"/>
                    <a:pt x="108128" y="110642"/>
                    <a:pt x="105385" y="121158"/>
                  </a:cubicBezTo>
                  <a:cubicBezTo>
                    <a:pt x="102641" y="131674"/>
                    <a:pt x="98793" y="140322"/>
                    <a:pt x="93840" y="147104"/>
                  </a:cubicBezTo>
                  <a:cubicBezTo>
                    <a:pt x="88887" y="153886"/>
                    <a:pt x="83096" y="158877"/>
                    <a:pt x="76467" y="162077"/>
                  </a:cubicBezTo>
                  <a:cubicBezTo>
                    <a:pt x="69837" y="165278"/>
                    <a:pt x="62636" y="166878"/>
                    <a:pt x="54864" y="166878"/>
                  </a:cubicBezTo>
                  <a:cubicBezTo>
                    <a:pt x="47092" y="166878"/>
                    <a:pt x="39853" y="165240"/>
                    <a:pt x="33147" y="161963"/>
                  </a:cubicBezTo>
                  <a:cubicBezTo>
                    <a:pt x="26441" y="158687"/>
                    <a:pt x="20650" y="153657"/>
                    <a:pt x="15773" y="146876"/>
                  </a:cubicBezTo>
                  <a:cubicBezTo>
                    <a:pt x="10897" y="140094"/>
                    <a:pt x="7049" y="131445"/>
                    <a:pt x="4229" y="120929"/>
                  </a:cubicBezTo>
                  <a:cubicBezTo>
                    <a:pt x="1410" y="110414"/>
                    <a:pt x="0" y="97917"/>
                    <a:pt x="0" y="83439"/>
                  </a:cubicBezTo>
                  <a:cubicBezTo>
                    <a:pt x="0" y="68809"/>
                    <a:pt x="1410" y="56236"/>
                    <a:pt x="4229" y="45720"/>
                  </a:cubicBezTo>
                  <a:cubicBezTo>
                    <a:pt x="7049" y="35204"/>
                    <a:pt x="10897" y="26556"/>
                    <a:pt x="15773" y="19774"/>
                  </a:cubicBezTo>
                  <a:cubicBezTo>
                    <a:pt x="20650" y="12992"/>
                    <a:pt x="26441" y="8001"/>
                    <a:pt x="33147" y="4801"/>
                  </a:cubicBezTo>
                  <a:cubicBezTo>
                    <a:pt x="39853" y="1600"/>
                    <a:pt x="47092" y="0"/>
                    <a:pt x="54864" y="0"/>
                  </a:cubicBezTo>
                  <a:close/>
                  <a:moveTo>
                    <a:pt x="54864" y="10516"/>
                  </a:moveTo>
                  <a:cubicBezTo>
                    <a:pt x="41758" y="10516"/>
                    <a:pt x="31471" y="16459"/>
                    <a:pt x="24003" y="28346"/>
                  </a:cubicBezTo>
                  <a:cubicBezTo>
                    <a:pt x="16535" y="40234"/>
                    <a:pt x="12802" y="58598"/>
                    <a:pt x="12802" y="83439"/>
                  </a:cubicBezTo>
                  <a:cubicBezTo>
                    <a:pt x="12802" y="108280"/>
                    <a:pt x="16535" y="126644"/>
                    <a:pt x="24003" y="138532"/>
                  </a:cubicBezTo>
                  <a:cubicBezTo>
                    <a:pt x="31471" y="150419"/>
                    <a:pt x="41758" y="156362"/>
                    <a:pt x="54864" y="156362"/>
                  </a:cubicBezTo>
                  <a:cubicBezTo>
                    <a:pt x="67970" y="156362"/>
                    <a:pt x="78257" y="150419"/>
                    <a:pt x="85725" y="138532"/>
                  </a:cubicBezTo>
                  <a:cubicBezTo>
                    <a:pt x="93193" y="126644"/>
                    <a:pt x="96926" y="108280"/>
                    <a:pt x="96926" y="83439"/>
                  </a:cubicBezTo>
                  <a:cubicBezTo>
                    <a:pt x="96926" y="58598"/>
                    <a:pt x="93193" y="40234"/>
                    <a:pt x="85725" y="28346"/>
                  </a:cubicBezTo>
                  <a:cubicBezTo>
                    <a:pt x="78257" y="16459"/>
                    <a:pt x="67970" y="10516"/>
                    <a:pt x="54864" y="10516"/>
                  </a:cubicBezTo>
                  <a:close/>
                </a:path>
              </a:pathLst>
            </a:custGeom>
            <a:solidFill>
              <a:srgbClr val="0D274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endParaRPr>
            </a:p>
          </p:txBody>
        </p:sp>
        <p:sp>
          <p:nvSpPr>
            <p:cNvPr id="275" name="TextBox 274">
              <a:extLst>
                <a:ext uri="{FF2B5EF4-FFF2-40B4-BE49-F238E27FC236}">
                  <a16:creationId xmlns:a16="http://schemas.microsoft.com/office/drawing/2014/main" id="{ECAF4F26-9D99-4A22-A05B-FAC5E225089F}"/>
                </a:ext>
              </a:extLst>
            </p:cNvPr>
            <p:cNvSpPr txBox="1"/>
            <p:nvPr/>
          </p:nvSpPr>
          <p:spPr>
            <a:xfrm>
              <a:off x="6570119" y="2927747"/>
              <a:ext cx="109499" cy="166878"/>
            </a:xfrm>
            <a:custGeom>
              <a:avLst/>
              <a:gdLst/>
              <a:ahLst/>
              <a:cxnLst/>
              <a:rect l="l" t="t" r="r" b="b"/>
              <a:pathLst>
                <a:path w="109499" h="166878">
                  <a:moveTo>
                    <a:pt x="54864" y="0"/>
                  </a:moveTo>
                  <a:cubicBezTo>
                    <a:pt x="62636" y="0"/>
                    <a:pt x="69837" y="1600"/>
                    <a:pt x="76467" y="4801"/>
                  </a:cubicBezTo>
                  <a:cubicBezTo>
                    <a:pt x="83096" y="8001"/>
                    <a:pt x="88887" y="12992"/>
                    <a:pt x="93840" y="19774"/>
                  </a:cubicBezTo>
                  <a:cubicBezTo>
                    <a:pt x="98793" y="26556"/>
                    <a:pt x="102641" y="35204"/>
                    <a:pt x="105385" y="45720"/>
                  </a:cubicBezTo>
                  <a:cubicBezTo>
                    <a:pt x="108128" y="56236"/>
                    <a:pt x="109499" y="68809"/>
                    <a:pt x="109499" y="83439"/>
                  </a:cubicBezTo>
                  <a:cubicBezTo>
                    <a:pt x="109499" y="98069"/>
                    <a:pt x="108128" y="110642"/>
                    <a:pt x="105385" y="121158"/>
                  </a:cubicBezTo>
                  <a:cubicBezTo>
                    <a:pt x="102641" y="131674"/>
                    <a:pt x="98793" y="140322"/>
                    <a:pt x="93840" y="147104"/>
                  </a:cubicBezTo>
                  <a:cubicBezTo>
                    <a:pt x="88887" y="153886"/>
                    <a:pt x="83096" y="158877"/>
                    <a:pt x="76467" y="162077"/>
                  </a:cubicBezTo>
                  <a:cubicBezTo>
                    <a:pt x="69837" y="165278"/>
                    <a:pt x="62636" y="166878"/>
                    <a:pt x="54864" y="166878"/>
                  </a:cubicBezTo>
                  <a:cubicBezTo>
                    <a:pt x="47092" y="166878"/>
                    <a:pt x="39853" y="165240"/>
                    <a:pt x="33147" y="161963"/>
                  </a:cubicBezTo>
                  <a:cubicBezTo>
                    <a:pt x="26441" y="158687"/>
                    <a:pt x="20650" y="153657"/>
                    <a:pt x="15773" y="146876"/>
                  </a:cubicBezTo>
                  <a:cubicBezTo>
                    <a:pt x="10897" y="140094"/>
                    <a:pt x="7049" y="131445"/>
                    <a:pt x="4229" y="120929"/>
                  </a:cubicBezTo>
                  <a:cubicBezTo>
                    <a:pt x="1410" y="110414"/>
                    <a:pt x="0" y="97917"/>
                    <a:pt x="0" y="83439"/>
                  </a:cubicBezTo>
                  <a:cubicBezTo>
                    <a:pt x="0" y="68809"/>
                    <a:pt x="1410" y="56236"/>
                    <a:pt x="4229" y="45720"/>
                  </a:cubicBezTo>
                  <a:cubicBezTo>
                    <a:pt x="7049" y="35204"/>
                    <a:pt x="10897" y="26556"/>
                    <a:pt x="15773" y="19774"/>
                  </a:cubicBezTo>
                  <a:cubicBezTo>
                    <a:pt x="20650" y="12992"/>
                    <a:pt x="26441" y="8001"/>
                    <a:pt x="33147" y="4801"/>
                  </a:cubicBezTo>
                  <a:cubicBezTo>
                    <a:pt x="39853" y="1600"/>
                    <a:pt x="47092" y="0"/>
                    <a:pt x="54864" y="0"/>
                  </a:cubicBezTo>
                  <a:close/>
                  <a:moveTo>
                    <a:pt x="54864" y="10516"/>
                  </a:moveTo>
                  <a:cubicBezTo>
                    <a:pt x="41758" y="10516"/>
                    <a:pt x="31471" y="16459"/>
                    <a:pt x="24003" y="28346"/>
                  </a:cubicBezTo>
                  <a:cubicBezTo>
                    <a:pt x="16535" y="40234"/>
                    <a:pt x="12802" y="58598"/>
                    <a:pt x="12802" y="83439"/>
                  </a:cubicBezTo>
                  <a:cubicBezTo>
                    <a:pt x="12802" y="108280"/>
                    <a:pt x="16535" y="126644"/>
                    <a:pt x="24003" y="138532"/>
                  </a:cubicBezTo>
                  <a:cubicBezTo>
                    <a:pt x="31471" y="150419"/>
                    <a:pt x="41758" y="156362"/>
                    <a:pt x="54864" y="156362"/>
                  </a:cubicBezTo>
                  <a:cubicBezTo>
                    <a:pt x="67970" y="156362"/>
                    <a:pt x="78257" y="150419"/>
                    <a:pt x="85725" y="138532"/>
                  </a:cubicBezTo>
                  <a:cubicBezTo>
                    <a:pt x="93193" y="126644"/>
                    <a:pt x="96926" y="108280"/>
                    <a:pt x="96926" y="83439"/>
                  </a:cubicBezTo>
                  <a:cubicBezTo>
                    <a:pt x="96926" y="58598"/>
                    <a:pt x="93193" y="40234"/>
                    <a:pt x="85725" y="28346"/>
                  </a:cubicBezTo>
                  <a:cubicBezTo>
                    <a:pt x="78257" y="16459"/>
                    <a:pt x="67970" y="10516"/>
                    <a:pt x="54864" y="10516"/>
                  </a:cubicBezTo>
                  <a:close/>
                </a:path>
              </a:pathLst>
            </a:custGeom>
            <a:solidFill>
              <a:srgbClr val="0D274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endParaRPr>
            </a:p>
          </p:txBody>
        </p:sp>
        <p:sp>
          <p:nvSpPr>
            <p:cNvPr id="276" name="TextBox 275">
              <a:extLst>
                <a:ext uri="{FF2B5EF4-FFF2-40B4-BE49-F238E27FC236}">
                  <a16:creationId xmlns:a16="http://schemas.microsoft.com/office/drawing/2014/main" id="{4DECC2A7-A9CA-45DC-8293-F31C849697BF}"/>
                </a:ext>
              </a:extLst>
            </p:cNvPr>
            <p:cNvSpPr txBox="1"/>
            <p:nvPr/>
          </p:nvSpPr>
          <p:spPr>
            <a:xfrm>
              <a:off x="6734659" y="2931176"/>
              <a:ext cx="49378" cy="160020"/>
            </a:xfrm>
            <a:custGeom>
              <a:avLst/>
              <a:gdLst/>
              <a:ahLst/>
              <a:cxnLst/>
              <a:rect l="l" t="t" r="r" b="b"/>
              <a:pathLst>
                <a:path w="49378" h="160020">
                  <a:moveTo>
                    <a:pt x="37262" y="0"/>
                  </a:moveTo>
                  <a:lnTo>
                    <a:pt x="49378" y="0"/>
                  </a:lnTo>
                  <a:lnTo>
                    <a:pt x="49378" y="160020"/>
                  </a:lnTo>
                  <a:lnTo>
                    <a:pt x="37034" y="160020"/>
                  </a:lnTo>
                  <a:lnTo>
                    <a:pt x="37034" y="13259"/>
                  </a:lnTo>
                  <a:lnTo>
                    <a:pt x="0" y="34290"/>
                  </a:lnTo>
                  <a:lnTo>
                    <a:pt x="0" y="21260"/>
                  </a:lnTo>
                  <a:lnTo>
                    <a:pt x="37262" y="0"/>
                  </a:lnTo>
                  <a:close/>
                </a:path>
              </a:pathLst>
            </a:custGeom>
            <a:solidFill>
              <a:srgbClr val="0D274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endParaRPr>
            </a:p>
          </p:txBody>
        </p:sp>
        <p:sp>
          <p:nvSpPr>
            <p:cNvPr id="277" name="TextBox 276">
              <a:extLst>
                <a:ext uri="{FF2B5EF4-FFF2-40B4-BE49-F238E27FC236}">
                  <a16:creationId xmlns:a16="http://schemas.microsoft.com/office/drawing/2014/main" id="{DC30CB8B-655D-47F6-B69B-4FDE9C95BE08}"/>
                </a:ext>
              </a:extLst>
            </p:cNvPr>
            <p:cNvSpPr txBox="1"/>
            <p:nvPr/>
          </p:nvSpPr>
          <p:spPr>
            <a:xfrm>
              <a:off x="7351879" y="3219426"/>
              <a:ext cx="49378" cy="160020"/>
            </a:xfrm>
            <a:custGeom>
              <a:avLst/>
              <a:gdLst/>
              <a:ahLst/>
              <a:cxnLst/>
              <a:rect l="l" t="t" r="r" b="b"/>
              <a:pathLst>
                <a:path w="49378" h="160020">
                  <a:moveTo>
                    <a:pt x="37262" y="0"/>
                  </a:moveTo>
                  <a:lnTo>
                    <a:pt x="49378" y="0"/>
                  </a:lnTo>
                  <a:lnTo>
                    <a:pt x="49378" y="160020"/>
                  </a:lnTo>
                  <a:lnTo>
                    <a:pt x="37034" y="160020"/>
                  </a:lnTo>
                  <a:lnTo>
                    <a:pt x="37034" y="13259"/>
                  </a:lnTo>
                  <a:lnTo>
                    <a:pt x="0" y="34290"/>
                  </a:lnTo>
                  <a:lnTo>
                    <a:pt x="0" y="21260"/>
                  </a:lnTo>
                  <a:lnTo>
                    <a:pt x="37262" y="0"/>
                  </a:lnTo>
                  <a:close/>
                </a:path>
              </a:pathLst>
            </a:custGeom>
            <a:solidFill>
              <a:srgbClr val="0D274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endParaRPr>
            </a:p>
          </p:txBody>
        </p:sp>
        <p:sp>
          <p:nvSpPr>
            <p:cNvPr id="278" name="TextBox 277">
              <a:extLst>
                <a:ext uri="{FF2B5EF4-FFF2-40B4-BE49-F238E27FC236}">
                  <a16:creationId xmlns:a16="http://schemas.microsoft.com/office/drawing/2014/main" id="{0C0D51A9-A57F-4E0A-AC07-3B7F6368F5AF}"/>
                </a:ext>
              </a:extLst>
            </p:cNvPr>
            <p:cNvSpPr txBox="1"/>
            <p:nvPr/>
          </p:nvSpPr>
          <p:spPr>
            <a:xfrm>
              <a:off x="7045540" y="3219426"/>
              <a:ext cx="49378" cy="160020"/>
            </a:xfrm>
            <a:custGeom>
              <a:avLst/>
              <a:gdLst/>
              <a:ahLst/>
              <a:cxnLst/>
              <a:rect l="l" t="t" r="r" b="b"/>
              <a:pathLst>
                <a:path w="49378" h="160020">
                  <a:moveTo>
                    <a:pt x="37262" y="0"/>
                  </a:moveTo>
                  <a:lnTo>
                    <a:pt x="49378" y="0"/>
                  </a:lnTo>
                  <a:lnTo>
                    <a:pt x="49378" y="160020"/>
                  </a:lnTo>
                  <a:lnTo>
                    <a:pt x="37034" y="160020"/>
                  </a:lnTo>
                  <a:lnTo>
                    <a:pt x="37034" y="13259"/>
                  </a:lnTo>
                  <a:lnTo>
                    <a:pt x="0" y="34290"/>
                  </a:lnTo>
                  <a:lnTo>
                    <a:pt x="0" y="21260"/>
                  </a:lnTo>
                  <a:lnTo>
                    <a:pt x="37262" y="0"/>
                  </a:lnTo>
                  <a:close/>
                </a:path>
              </a:pathLst>
            </a:custGeom>
            <a:solidFill>
              <a:srgbClr val="0D274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endParaRPr>
            </a:p>
          </p:txBody>
        </p:sp>
        <p:sp>
          <p:nvSpPr>
            <p:cNvPr id="279" name="TextBox 278">
              <a:extLst>
                <a:ext uri="{FF2B5EF4-FFF2-40B4-BE49-F238E27FC236}">
                  <a16:creationId xmlns:a16="http://schemas.microsoft.com/office/drawing/2014/main" id="{15A14E55-BF9F-41EC-992B-2FF3D7FB9881}"/>
                </a:ext>
              </a:extLst>
            </p:cNvPr>
            <p:cNvSpPr txBox="1"/>
            <p:nvPr/>
          </p:nvSpPr>
          <p:spPr>
            <a:xfrm>
              <a:off x="6899940" y="3219426"/>
              <a:ext cx="49378" cy="160020"/>
            </a:xfrm>
            <a:custGeom>
              <a:avLst/>
              <a:gdLst/>
              <a:ahLst/>
              <a:cxnLst/>
              <a:rect l="l" t="t" r="r" b="b"/>
              <a:pathLst>
                <a:path w="49378" h="160020">
                  <a:moveTo>
                    <a:pt x="37262" y="0"/>
                  </a:moveTo>
                  <a:lnTo>
                    <a:pt x="49378" y="0"/>
                  </a:lnTo>
                  <a:lnTo>
                    <a:pt x="49378" y="160020"/>
                  </a:lnTo>
                  <a:lnTo>
                    <a:pt x="37034" y="160020"/>
                  </a:lnTo>
                  <a:lnTo>
                    <a:pt x="37034" y="13259"/>
                  </a:lnTo>
                  <a:lnTo>
                    <a:pt x="0" y="34290"/>
                  </a:lnTo>
                  <a:lnTo>
                    <a:pt x="0" y="21260"/>
                  </a:lnTo>
                  <a:lnTo>
                    <a:pt x="37262" y="0"/>
                  </a:lnTo>
                  <a:close/>
                </a:path>
              </a:pathLst>
            </a:custGeom>
            <a:solidFill>
              <a:srgbClr val="0D274D"/>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endParaRPr>
            </a:p>
          </p:txBody>
        </p:sp>
      </p:grpSp>
      <p:pic>
        <p:nvPicPr>
          <p:cNvPr id="207" name="Picture 206" descr="A picture containing gear, ware, wheel&#10;&#10;Description automatically generated">
            <a:extLst>
              <a:ext uri="{FF2B5EF4-FFF2-40B4-BE49-F238E27FC236}">
                <a16:creationId xmlns:a16="http://schemas.microsoft.com/office/drawing/2014/main" id="{0DD5BD93-1AB9-4890-ACDE-56E64329E5ED}"/>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rot="20643933" flipH="1">
            <a:off x="6526229" y="2489198"/>
            <a:ext cx="1161323" cy="1119188"/>
          </a:xfrm>
          <a:prstGeom prst="rect">
            <a:avLst/>
          </a:prstGeom>
        </p:spPr>
      </p:pic>
      <p:grpSp>
        <p:nvGrpSpPr>
          <p:cNvPr id="157" name="Group 4">
            <a:extLst>
              <a:ext uri="{FF2B5EF4-FFF2-40B4-BE49-F238E27FC236}">
                <a16:creationId xmlns:a16="http://schemas.microsoft.com/office/drawing/2014/main" id="{42A1A622-1C53-4AB7-8724-DE236FF12BE8}"/>
              </a:ext>
            </a:extLst>
          </p:cNvPr>
          <p:cNvGrpSpPr>
            <a:grpSpLocks noChangeAspect="1"/>
          </p:cNvGrpSpPr>
          <p:nvPr/>
        </p:nvGrpSpPr>
        <p:grpSpPr bwMode="auto">
          <a:xfrm>
            <a:off x="6190001" y="2457498"/>
            <a:ext cx="700287" cy="722030"/>
            <a:chOff x="1461" y="1465"/>
            <a:chExt cx="773" cy="797"/>
          </a:xfrm>
        </p:grpSpPr>
        <p:sp>
          <p:nvSpPr>
            <p:cNvPr id="160" name="AutoShape 3">
              <a:extLst>
                <a:ext uri="{FF2B5EF4-FFF2-40B4-BE49-F238E27FC236}">
                  <a16:creationId xmlns:a16="http://schemas.microsoft.com/office/drawing/2014/main" id="{60F59AF7-F927-4A84-AE85-FE6A86876FCE}"/>
                </a:ext>
              </a:extLst>
            </p:cNvPr>
            <p:cNvSpPr>
              <a:spLocks noChangeAspect="1" noChangeArrowheads="1" noTextEdit="1"/>
            </p:cNvSpPr>
            <p:nvPr/>
          </p:nvSpPr>
          <p:spPr bwMode="auto">
            <a:xfrm>
              <a:off x="1461" y="1465"/>
              <a:ext cx="773" cy="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61" name="Freeform 5">
              <a:extLst>
                <a:ext uri="{FF2B5EF4-FFF2-40B4-BE49-F238E27FC236}">
                  <a16:creationId xmlns:a16="http://schemas.microsoft.com/office/drawing/2014/main" id="{400DAFB0-461E-4553-85FD-964B1E7E2223}"/>
                </a:ext>
              </a:extLst>
            </p:cNvPr>
            <p:cNvSpPr>
              <a:spLocks/>
            </p:cNvSpPr>
            <p:nvPr/>
          </p:nvSpPr>
          <p:spPr bwMode="auto">
            <a:xfrm>
              <a:off x="1421" y="1453"/>
              <a:ext cx="813" cy="819"/>
            </a:xfrm>
            <a:custGeom>
              <a:avLst/>
              <a:gdLst>
                <a:gd name="T0" fmla="*/ 185 w 341"/>
                <a:gd name="T1" fmla="*/ 339 h 342"/>
                <a:gd name="T2" fmla="*/ 134 w 341"/>
                <a:gd name="T3" fmla="*/ 331 h 342"/>
                <a:gd name="T4" fmla="*/ 28 w 341"/>
                <a:gd name="T5" fmla="*/ 121 h 342"/>
                <a:gd name="T6" fmla="*/ 110 w 341"/>
                <a:gd name="T7" fmla="*/ 24 h 342"/>
                <a:gd name="T8" fmla="*/ 234 w 341"/>
                <a:gd name="T9" fmla="*/ 13 h 342"/>
                <a:gd name="T10" fmla="*/ 299 w 341"/>
                <a:gd name="T11" fmla="*/ 53 h 342"/>
                <a:gd name="T12" fmla="*/ 298 w 341"/>
                <a:gd name="T13" fmla="*/ 54 h 342"/>
                <a:gd name="T14" fmla="*/ 234 w 341"/>
                <a:gd name="T15" fmla="*/ 15 h 342"/>
                <a:gd name="T16" fmla="*/ 111 w 341"/>
                <a:gd name="T17" fmla="*/ 25 h 342"/>
                <a:gd name="T18" fmla="*/ 30 w 341"/>
                <a:gd name="T19" fmla="*/ 122 h 342"/>
                <a:gd name="T20" fmla="*/ 135 w 341"/>
                <a:gd name="T21" fmla="*/ 329 h 342"/>
                <a:gd name="T22" fmla="*/ 258 w 341"/>
                <a:gd name="T23" fmla="*/ 319 h 342"/>
                <a:gd name="T24" fmla="*/ 339 w 341"/>
                <a:gd name="T25" fmla="*/ 222 h 342"/>
                <a:gd name="T26" fmla="*/ 341 w 341"/>
                <a:gd name="T27" fmla="*/ 223 h 342"/>
                <a:gd name="T28" fmla="*/ 259 w 341"/>
                <a:gd name="T29" fmla="*/ 320 h 342"/>
                <a:gd name="T30" fmla="*/ 185 w 341"/>
                <a:gd name="T31" fmla="*/ 33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1" h="342">
                  <a:moveTo>
                    <a:pt x="185" y="339"/>
                  </a:moveTo>
                  <a:cubicBezTo>
                    <a:pt x="168" y="339"/>
                    <a:pt x="151" y="336"/>
                    <a:pt x="134" y="331"/>
                  </a:cubicBezTo>
                  <a:cubicBezTo>
                    <a:pt x="48" y="303"/>
                    <a:pt x="0" y="209"/>
                    <a:pt x="28" y="121"/>
                  </a:cubicBezTo>
                  <a:cubicBezTo>
                    <a:pt x="41" y="79"/>
                    <a:pt x="70" y="44"/>
                    <a:pt x="110" y="24"/>
                  </a:cubicBezTo>
                  <a:cubicBezTo>
                    <a:pt x="149" y="3"/>
                    <a:pt x="193" y="0"/>
                    <a:pt x="234" y="13"/>
                  </a:cubicBezTo>
                  <a:cubicBezTo>
                    <a:pt x="259" y="21"/>
                    <a:pt x="281" y="35"/>
                    <a:pt x="299" y="53"/>
                  </a:cubicBezTo>
                  <a:cubicBezTo>
                    <a:pt x="298" y="54"/>
                    <a:pt x="298" y="54"/>
                    <a:pt x="298" y="54"/>
                  </a:cubicBezTo>
                  <a:cubicBezTo>
                    <a:pt x="280" y="37"/>
                    <a:pt x="258" y="23"/>
                    <a:pt x="234" y="15"/>
                  </a:cubicBezTo>
                  <a:cubicBezTo>
                    <a:pt x="193" y="2"/>
                    <a:pt x="149" y="6"/>
                    <a:pt x="111" y="25"/>
                  </a:cubicBezTo>
                  <a:cubicBezTo>
                    <a:pt x="72" y="45"/>
                    <a:pt x="43" y="80"/>
                    <a:pt x="30" y="122"/>
                  </a:cubicBezTo>
                  <a:cubicBezTo>
                    <a:pt x="2" y="208"/>
                    <a:pt x="50" y="301"/>
                    <a:pt x="135" y="329"/>
                  </a:cubicBezTo>
                  <a:cubicBezTo>
                    <a:pt x="176" y="342"/>
                    <a:pt x="220" y="338"/>
                    <a:pt x="258" y="319"/>
                  </a:cubicBezTo>
                  <a:cubicBezTo>
                    <a:pt x="297" y="299"/>
                    <a:pt x="326" y="264"/>
                    <a:pt x="339" y="222"/>
                  </a:cubicBezTo>
                  <a:cubicBezTo>
                    <a:pt x="341" y="223"/>
                    <a:pt x="341" y="223"/>
                    <a:pt x="341" y="223"/>
                  </a:cubicBezTo>
                  <a:cubicBezTo>
                    <a:pt x="328" y="265"/>
                    <a:pt x="299" y="300"/>
                    <a:pt x="259" y="320"/>
                  </a:cubicBezTo>
                  <a:cubicBezTo>
                    <a:pt x="236" y="333"/>
                    <a:pt x="210" y="339"/>
                    <a:pt x="185" y="33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62" name="Freeform 6">
              <a:extLst>
                <a:ext uri="{FF2B5EF4-FFF2-40B4-BE49-F238E27FC236}">
                  <a16:creationId xmlns:a16="http://schemas.microsoft.com/office/drawing/2014/main" id="{532A3B94-3318-48C3-8F56-BCCF2F0A4BEC}"/>
                </a:ext>
              </a:extLst>
            </p:cNvPr>
            <p:cNvSpPr>
              <a:spLocks/>
            </p:cNvSpPr>
            <p:nvPr/>
          </p:nvSpPr>
          <p:spPr bwMode="auto">
            <a:xfrm>
              <a:off x="1454" y="1719"/>
              <a:ext cx="48" cy="253"/>
            </a:xfrm>
            <a:custGeom>
              <a:avLst/>
              <a:gdLst>
                <a:gd name="T0" fmla="*/ 9 w 20"/>
                <a:gd name="T1" fmla="*/ 106 h 106"/>
                <a:gd name="T2" fmla="*/ 14 w 20"/>
                <a:gd name="T3" fmla="*/ 0 h 106"/>
                <a:gd name="T4" fmla="*/ 20 w 20"/>
                <a:gd name="T5" fmla="*/ 2 h 106"/>
                <a:gd name="T6" fmla="*/ 16 w 20"/>
                <a:gd name="T7" fmla="*/ 104 h 106"/>
                <a:gd name="T8" fmla="*/ 9 w 20"/>
                <a:gd name="T9" fmla="*/ 106 h 106"/>
              </a:gdLst>
              <a:ahLst/>
              <a:cxnLst>
                <a:cxn ang="0">
                  <a:pos x="T0" y="T1"/>
                </a:cxn>
                <a:cxn ang="0">
                  <a:pos x="T2" y="T3"/>
                </a:cxn>
                <a:cxn ang="0">
                  <a:pos x="T4" y="T5"/>
                </a:cxn>
                <a:cxn ang="0">
                  <a:pos x="T6" y="T7"/>
                </a:cxn>
                <a:cxn ang="0">
                  <a:pos x="T8" y="T9"/>
                </a:cxn>
              </a:cxnLst>
              <a:rect l="0" t="0" r="r" b="b"/>
              <a:pathLst>
                <a:path w="20" h="106">
                  <a:moveTo>
                    <a:pt x="9" y="106"/>
                  </a:moveTo>
                  <a:cubicBezTo>
                    <a:pt x="0" y="71"/>
                    <a:pt x="1" y="34"/>
                    <a:pt x="14" y="0"/>
                  </a:cubicBezTo>
                  <a:cubicBezTo>
                    <a:pt x="20" y="2"/>
                    <a:pt x="20" y="2"/>
                    <a:pt x="20" y="2"/>
                  </a:cubicBezTo>
                  <a:cubicBezTo>
                    <a:pt x="8" y="35"/>
                    <a:pt x="7" y="71"/>
                    <a:pt x="16" y="104"/>
                  </a:cubicBezTo>
                  <a:lnTo>
                    <a:pt x="9"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158" name="Oval 157">
            <a:extLst>
              <a:ext uri="{FF2B5EF4-FFF2-40B4-BE49-F238E27FC236}">
                <a16:creationId xmlns:a16="http://schemas.microsoft.com/office/drawing/2014/main" id="{1260D945-313F-4BB0-A447-0D119401CC77}"/>
              </a:ext>
            </a:extLst>
          </p:cNvPr>
          <p:cNvSpPr/>
          <p:nvPr/>
        </p:nvSpPr>
        <p:spPr>
          <a:xfrm>
            <a:off x="6303067" y="2489282"/>
            <a:ext cx="657522" cy="658720"/>
          </a:xfrm>
          <a:prstGeom prst="ellipse">
            <a:avLst/>
          </a:prstGeom>
          <a:solidFill>
            <a:schemeClr val="accent1">
              <a:alpha val="60000"/>
            </a:scheme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spTree>
    <p:extLst>
      <p:ext uri="{BB962C8B-B14F-4D97-AF65-F5344CB8AC3E}">
        <p14:creationId xmlns:p14="http://schemas.microsoft.com/office/powerpoint/2010/main" val="15019097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55" name="Oval 154">
            <a:extLst>
              <a:ext uri="{FF2B5EF4-FFF2-40B4-BE49-F238E27FC236}">
                <a16:creationId xmlns:a16="http://schemas.microsoft.com/office/drawing/2014/main" id="{101AC86E-5B3E-4741-A0A4-91B9BC2E6704}"/>
              </a:ext>
            </a:extLst>
          </p:cNvPr>
          <p:cNvSpPr/>
          <p:nvPr/>
        </p:nvSpPr>
        <p:spPr>
          <a:xfrm>
            <a:off x="7160989" y="2060043"/>
            <a:ext cx="816466" cy="816466"/>
          </a:xfrm>
          <a:prstGeom prst="ellipse">
            <a:avLst/>
          </a:prstGeom>
          <a:noFill/>
          <a:ln w="127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E4471"/>
              </a:solidFill>
              <a:effectLst/>
              <a:uLnTx/>
              <a:uFillTx/>
              <a:ea typeface="+mn-ea"/>
              <a:cs typeface="+mn-cs"/>
            </a:endParaRPr>
          </a:p>
        </p:txBody>
      </p:sp>
      <p:cxnSp>
        <p:nvCxnSpPr>
          <p:cNvPr id="171" name="Straight Connector 170">
            <a:extLst>
              <a:ext uri="{FF2B5EF4-FFF2-40B4-BE49-F238E27FC236}">
                <a16:creationId xmlns:a16="http://schemas.microsoft.com/office/drawing/2014/main" id="{B8FFAF31-F8B3-42EB-A435-006F83D34B94}"/>
              </a:ext>
            </a:extLst>
          </p:cNvPr>
          <p:cNvCxnSpPr>
            <a:cxnSpLocks/>
          </p:cNvCxnSpPr>
          <p:nvPr/>
        </p:nvCxnSpPr>
        <p:spPr>
          <a:xfrm>
            <a:off x="8355191" y="1647643"/>
            <a:ext cx="0" cy="655287"/>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9E66C312-75FE-4F42-8B85-F5ABBCB98BFD}"/>
              </a:ext>
            </a:extLst>
          </p:cNvPr>
          <p:cNvCxnSpPr>
            <a:cxnSpLocks/>
          </p:cNvCxnSpPr>
          <p:nvPr/>
        </p:nvCxnSpPr>
        <p:spPr>
          <a:xfrm flipH="1">
            <a:off x="2616702" y="2306784"/>
            <a:ext cx="0" cy="18288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3D77F2EF-74BD-4C0F-9460-0F6DC528AC4F}"/>
              </a:ext>
            </a:extLst>
          </p:cNvPr>
          <p:cNvCxnSpPr>
            <a:cxnSpLocks/>
          </p:cNvCxnSpPr>
          <p:nvPr/>
        </p:nvCxnSpPr>
        <p:spPr>
          <a:xfrm flipH="1">
            <a:off x="1575304" y="2306784"/>
            <a:ext cx="0" cy="18288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6B7B588C-D43B-469D-87C2-EA3FA76F5E16}"/>
              </a:ext>
            </a:extLst>
          </p:cNvPr>
          <p:cNvCxnSpPr>
            <a:cxnSpLocks/>
          </p:cNvCxnSpPr>
          <p:nvPr/>
        </p:nvCxnSpPr>
        <p:spPr>
          <a:xfrm flipH="1">
            <a:off x="4178799" y="2306784"/>
            <a:ext cx="0" cy="18288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45896583-4C16-4ECA-AC55-C3FFA1B6C609}"/>
              </a:ext>
            </a:extLst>
          </p:cNvPr>
          <p:cNvCxnSpPr>
            <a:cxnSpLocks/>
          </p:cNvCxnSpPr>
          <p:nvPr/>
        </p:nvCxnSpPr>
        <p:spPr>
          <a:xfrm flipH="1">
            <a:off x="5220197" y="2306784"/>
            <a:ext cx="0" cy="18288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94416317-D8C4-40E7-91C4-A5A3431BD088}"/>
              </a:ext>
            </a:extLst>
          </p:cNvPr>
          <p:cNvCxnSpPr>
            <a:cxnSpLocks/>
          </p:cNvCxnSpPr>
          <p:nvPr/>
        </p:nvCxnSpPr>
        <p:spPr>
          <a:xfrm>
            <a:off x="6261596" y="2306784"/>
            <a:ext cx="0" cy="18288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CE0B0EB1-94EF-4341-8F62-B688D6938D8B}"/>
              </a:ext>
            </a:extLst>
          </p:cNvPr>
          <p:cNvCxnSpPr>
            <a:cxnSpLocks/>
          </p:cNvCxnSpPr>
          <p:nvPr/>
        </p:nvCxnSpPr>
        <p:spPr>
          <a:xfrm>
            <a:off x="533907" y="1647643"/>
            <a:ext cx="0" cy="842021"/>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C6337E7C-E491-4989-8342-3E8B0DB76A7E}"/>
              </a:ext>
            </a:extLst>
          </p:cNvPr>
          <p:cNvCxnSpPr>
            <a:cxnSpLocks/>
          </p:cNvCxnSpPr>
          <p:nvPr/>
        </p:nvCxnSpPr>
        <p:spPr>
          <a:xfrm>
            <a:off x="3657187" y="2306783"/>
            <a:ext cx="0" cy="64008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0702313E-3D56-4FC0-924A-86FCD2222BEF}"/>
              </a:ext>
            </a:extLst>
          </p:cNvPr>
          <p:cNvCxnSpPr>
            <a:cxnSpLocks/>
          </p:cNvCxnSpPr>
          <p:nvPr/>
        </p:nvCxnSpPr>
        <p:spPr>
          <a:xfrm>
            <a:off x="3137401" y="1647643"/>
            <a:ext cx="0" cy="842021"/>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936F082C-2340-4293-A7A1-D944A823F7A7}"/>
              </a:ext>
            </a:extLst>
          </p:cNvPr>
          <p:cNvCxnSpPr>
            <a:cxnSpLocks/>
          </p:cNvCxnSpPr>
          <p:nvPr/>
        </p:nvCxnSpPr>
        <p:spPr>
          <a:xfrm flipH="1">
            <a:off x="4699498" y="2306783"/>
            <a:ext cx="1" cy="64008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C49027D3-B3FC-414B-9444-12F80D94CF0F}"/>
              </a:ext>
            </a:extLst>
          </p:cNvPr>
          <p:cNvCxnSpPr>
            <a:cxnSpLocks/>
          </p:cNvCxnSpPr>
          <p:nvPr/>
        </p:nvCxnSpPr>
        <p:spPr>
          <a:xfrm>
            <a:off x="5740896" y="1647643"/>
            <a:ext cx="0" cy="129922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7AFC8ED-D518-41C2-A0BF-6B72679F01C0}"/>
              </a:ext>
            </a:extLst>
          </p:cNvPr>
          <p:cNvSpPr>
            <a:spLocks noGrp="1"/>
          </p:cNvSpPr>
          <p:nvPr>
            <p:ph type="title"/>
          </p:nvPr>
        </p:nvSpPr>
        <p:spPr/>
        <p:txBody>
          <a:bodyPr/>
          <a:lstStyle/>
          <a:p>
            <a:r>
              <a:rPr lang="en-US"/>
              <a:t>Only Cisco has put in the work and earned the right to deliver a true platform</a:t>
            </a:r>
          </a:p>
        </p:txBody>
      </p:sp>
      <p:sp>
        <p:nvSpPr>
          <p:cNvPr id="4" name="See once,...">
            <a:extLst>
              <a:ext uri="{FF2B5EF4-FFF2-40B4-BE49-F238E27FC236}">
                <a16:creationId xmlns:a16="http://schemas.microsoft.com/office/drawing/2014/main" id="{6004C8A2-CFB0-40E4-9874-8F90A19BCD33}"/>
              </a:ext>
            </a:extLst>
          </p:cNvPr>
          <p:cNvSpPr txBox="1">
            <a:spLocks/>
          </p:cNvSpPr>
          <p:nvPr/>
        </p:nvSpPr>
        <p:spPr bwMode="auto">
          <a:xfrm>
            <a:off x="531812" y="3930987"/>
            <a:ext cx="2693457" cy="58169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lnSpc>
                <a:spcPct val="90000"/>
              </a:lnSpc>
              <a:defRPr/>
            </a:pPr>
            <a:r>
              <a:rPr lang="en-US" sz="1400">
                <a:solidFill>
                  <a:schemeClr val="bg2"/>
                </a:solidFill>
                <a:ea typeface="ＭＳ Ｐゴシック" charset="0"/>
              </a:rPr>
              <a:t>Developed more </a:t>
            </a:r>
          </a:p>
          <a:p>
            <a:pPr algn="ctr">
              <a:lnSpc>
                <a:spcPct val="90000"/>
              </a:lnSpc>
              <a:defRPr/>
            </a:pPr>
            <a:r>
              <a:rPr lang="en-US" sz="1400">
                <a:solidFill>
                  <a:schemeClr val="bg2"/>
                </a:solidFill>
                <a:ea typeface="ＭＳ Ｐゴシック" charset="0"/>
              </a:rPr>
              <a:t>cutting–edge integrations</a:t>
            </a:r>
            <a:br>
              <a:rPr lang="en-US" sz="1400">
                <a:solidFill>
                  <a:schemeClr val="bg2"/>
                </a:solidFill>
                <a:ea typeface="ＭＳ Ｐゴシック" charset="0"/>
              </a:rPr>
            </a:br>
            <a:r>
              <a:rPr lang="en-US" sz="1400">
                <a:solidFill>
                  <a:schemeClr val="bg2"/>
                </a:solidFill>
                <a:ea typeface="ＭＳ Ｐゴシック" charset="0"/>
              </a:rPr>
              <a:t>than any other vendor</a:t>
            </a:r>
          </a:p>
        </p:txBody>
      </p:sp>
      <p:sp>
        <p:nvSpPr>
          <p:cNvPr id="5" name="Security that works...">
            <a:extLst>
              <a:ext uri="{FF2B5EF4-FFF2-40B4-BE49-F238E27FC236}">
                <a16:creationId xmlns:a16="http://schemas.microsoft.com/office/drawing/2014/main" id="{F946A7BE-415A-4B73-8FFA-FF2F307AC40C}"/>
              </a:ext>
            </a:extLst>
          </p:cNvPr>
          <p:cNvSpPr txBox="1">
            <a:spLocks/>
          </p:cNvSpPr>
          <p:nvPr/>
        </p:nvSpPr>
        <p:spPr bwMode="auto">
          <a:xfrm>
            <a:off x="3225269" y="3930987"/>
            <a:ext cx="2693457" cy="38779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lnSpc>
                <a:spcPct val="90000"/>
              </a:lnSpc>
              <a:defRPr/>
            </a:pPr>
            <a:r>
              <a:rPr lang="en-US" sz="1400">
                <a:solidFill>
                  <a:schemeClr val="bg2"/>
                </a:solidFill>
                <a:ea typeface="ＭＳ Ｐゴシック" charset="0"/>
              </a:rPr>
              <a:t>Embedded security </a:t>
            </a:r>
          </a:p>
          <a:p>
            <a:pPr algn="ctr">
              <a:lnSpc>
                <a:spcPct val="90000"/>
              </a:lnSpc>
              <a:defRPr/>
            </a:pPr>
            <a:r>
              <a:rPr lang="en-US" sz="1400">
                <a:solidFill>
                  <a:schemeClr val="bg2"/>
                </a:solidFill>
                <a:ea typeface="ＭＳ Ｐゴシック" charset="0"/>
              </a:rPr>
              <a:t>directly into the network </a:t>
            </a:r>
          </a:p>
        </p:txBody>
      </p:sp>
      <p:sp>
        <p:nvSpPr>
          <p:cNvPr id="6" name="Better efficacy and...">
            <a:extLst>
              <a:ext uri="{FF2B5EF4-FFF2-40B4-BE49-F238E27FC236}">
                <a16:creationId xmlns:a16="http://schemas.microsoft.com/office/drawing/2014/main" id="{022EFE09-D0AA-4C1B-BCA4-FFE140239E7D}"/>
              </a:ext>
            </a:extLst>
          </p:cNvPr>
          <p:cNvSpPr txBox="1">
            <a:spLocks/>
          </p:cNvSpPr>
          <p:nvPr/>
        </p:nvSpPr>
        <p:spPr bwMode="auto">
          <a:xfrm>
            <a:off x="5918726" y="3930987"/>
            <a:ext cx="2693457" cy="58169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lnSpc>
                <a:spcPct val="90000"/>
              </a:lnSpc>
              <a:defRPr/>
            </a:pPr>
            <a:r>
              <a:rPr lang="en-US" sz="1400">
                <a:solidFill>
                  <a:schemeClr val="bg2"/>
                </a:solidFill>
                <a:ea typeface="ＭＳ Ｐゴシック" charset="0"/>
              </a:rPr>
              <a:t>Created an open </a:t>
            </a:r>
          </a:p>
          <a:p>
            <a:pPr algn="ctr">
              <a:lnSpc>
                <a:spcPct val="90000"/>
              </a:lnSpc>
              <a:defRPr/>
            </a:pPr>
            <a:r>
              <a:rPr lang="en-US" sz="1400">
                <a:solidFill>
                  <a:schemeClr val="bg2"/>
                </a:solidFill>
                <a:ea typeface="ＭＳ Ｐゴシック" charset="0"/>
              </a:rPr>
              <a:t>platform that covers </a:t>
            </a:r>
          </a:p>
          <a:p>
            <a:pPr algn="ctr">
              <a:lnSpc>
                <a:spcPct val="90000"/>
              </a:lnSpc>
              <a:defRPr/>
            </a:pPr>
            <a:r>
              <a:rPr lang="en-US" sz="1400">
                <a:solidFill>
                  <a:schemeClr val="bg2"/>
                </a:solidFill>
                <a:ea typeface="ＭＳ Ｐゴシック" charset="0"/>
              </a:rPr>
              <a:t>every threat vector</a:t>
            </a:r>
          </a:p>
        </p:txBody>
      </p:sp>
      <p:cxnSp>
        <p:nvCxnSpPr>
          <p:cNvPr id="7" name="Straight Connector 6">
            <a:extLst>
              <a:ext uri="{FF2B5EF4-FFF2-40B4-BE49-F238E27FC236}">
                <a16:creationId xmlns:a16="http://schemas.microsoft.com/office/drawing/2014/main" id="{651A8716-4615-4107-B00A-3A7D0899666B}"/>
              </a:ext>
            </a:extLst>
          </p:cNvPr>
          <p:cNvCxnSpPr>
            <a:cxnSpLocks/>
          </p:cNvCxnSpPr>
          <p:nvPr/>
        </p:nvCxnSpPr>
        <p:spPr>
          <a:xfrm>
            <a:off x="3225269" y="4059229"/>
            <a:ext cx="0" cy="259556"/>
          </a:xfrm>
          <a:prstGeom prst="line">
            <a:avLst/>
          </a:prstGeom>
          <a:ln w="12700" cap="rnd">
            <a:gradFill flip="none" rotWithShape="1">
              <a:gsLst>
                <a:gs pos="0">
                  <a:schemeClr val="tx2">
                    <a:alpha val="0"/>
                  </a:schemeClr>
                </a:gs>
                <a:gs pos="100000">
                  <a:schemeClr val="tx2"/>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69125D2-AC29-4F03-A390-F7218279177A}"/>
              </a:ext>
            </a:extLst>
          </p:cNvPr>
          <p:cNvCxnSpPr>
            <a:cxnSpLocks/>
          </p:cNvCxnSpPr>
          <p:nvPr/>
        </p:nvCxnSpPr>
        <p:spPr>
          <a:xfrm>
            <a:off x="5918726" y="4059229"/>
            <a:ext cx="0" cy="259556"/>
          </a:xfrm>
          <a:prstGeom prst="line">
            <a:avLst/>
          </a:prstGeom>
          <a:ln w="12700" cap="rnd">
            <a:gradFill flip="none" rotWithShape="1">
              <a:gsLst>
                <a:gs pos="0">
                  <a:schemeClr val="tx2">
                    <a:alpha val="0"/>
                  </a:schemeClr>
                </a:gs>
                <a:gs pos="100000">
                  <a:schemeClr val="tx2"/>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8E08AFB-EE8D-42C1-BAF8-751438A5DA2A}"/>
              </a:ext>
            </a:extLst>
          </p:cNvPr>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accent4"/>
                </a:solidFill>
                <a:latin typeface="+mn-lt"/>
                <a:ea typeface="+mn-ea"/>
                <a:cs typeface="CiscoSans Thin"/>
              </a:rPr>
              <a:t>© 2019  Cisco and/or its affiliates. All rights reserved. Cisco Confidential</a:t>
            </a:r>
          </a:p>
        </p:txBody>
      </p:sp>
      <p:cxnSp>
        <p:nvCxnSpPr>
          <p:cNvPr id="135" name="Straight Connector 134">
            <a:extLst>
              <a:ext uri="{FF2B5EF4-FFF2-40B4-BE49-F238E27FC236}">
                <a16:creationId xmlns:a16="http://schemas.microsoft.com/office/drawing/2014/main" id="{D90DA191-D776-4FB3-8116-1DA5A286F811}"/>
              </a:ext>
            </a:extLst>
          </p:cNvPr>
          <p:cNvCxnSpPr>
            <a:cxnSpLocks/>
          </p:cNvCxnSpPr>
          <p:nvPr/>
        </p:nvCxnSpPr>
        <p:spPr>
          <a:xfrm>
            <a:off x="533400" y="2306784"/>
            <a:ext cx="8092440" cy="0"/>
          </a:xfrm>
          <a:prstGeom prst="line">
            <a:avLst/>
          </a:prstGeom>
          <a:ln w="31750" cap="flat" cmpd="sng" algn="ctr">
            <a:solidFill>
              <a:schemeClr val="bg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196" name="Group 195">
            <a:extLst>
              <a:ext uri="{FF2B5EF4-FFF2-40B4-BE49-F238E27FC236}">
                <a16:creationId xmlns:a16="http://schemas.microsoft.com/office/drawing/2014/main" id="{E791A2A0-DF19-41C1-89BE-A992EB910997}"/>
              </a:ext>
            </a:extLst>
          </p:cNvPr>
          <p:cNvGrpSpPr/>
          <p:nvPr/>
        </p:nvGrpSpPr>
        <p:grpSpPr>
          <a:xfrm>
            <a:off x="7213396" y="2112450"/>
            <a:ext cx="711652" cy="711652"/>
            <a:chOff x="8853864" y="2570014"/>
            <a:chExt cx="899902" cy="899902"/>
          </a:xfrm>
        </p:grpSpPr>
        <p:sp>
          <p:nvSpPr>
            <p:cNvPr id="138" name="Oval 137">
              <a:extLst>
                <a:ext uri="{FF2B5EF4-FFF2-40B4-BE49-F238E27FC236}">
                  <a16:creationId xmlns:a16="http://schemas.microsoft.com/office/drawing/2014/main" id="{D045FF76-5CC4-4C18-9B7D-1978210A41D1}"/>
                </a:ext>
              </a:extLst>
            </p:cNvPr>
            <p:cNvSpPr/>
            <p:nvPr/>
          </p:nvSpPr>
          <p:spPr>
            <a:xfrm>
              <a:off x="8853864" y="2570014"/>
              <a:ext cx="899902" cy="899902"/>
            </a:xfrm>
            <a:prstGeom prst="ellipse">
              <a:avLst/>
            </a:prstGeom>
            <a:solidFill>
              <a:schemeClr val="tx1"/>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1E4471"/>
                </a:solidFill>
                <a:effectLst/>
                <a:uLnTx/>
                <a:uFillTx/>
                <a:ea typeface="+mn-ea"/>
                <a:cs typeface="+mn-cs"/>
              </a:endParaRPr>
            </a:p>
          </p:txBody>
        </p:sp>
        <p:sp>
          <p:nvSpPr>
            <p:cNvPr id="139" name="Rectangle 138">
              <a:extLst>
                <a:ext uri="{FF2B5EF4-FFF2-40B4-BE49-F238E27FC236}">
                  <a16:creationId xmlns:a16="http://schemas.microsoft.com/office/drawing/2014/main" id="{02D36050-4C3F-4DA2-8D28-96793428553A}"/>
                </a:ext>
              </a:extLst>
            </p:cNvPr>
            <p:cNvSpPr/>
            <p:nvPr/>
          </p:nvSpPr>
          <p:spPr>
            <a:xfrm>
              <a:off x="8967162" y="2837687"/>
              <a:ext cx="673836" cy="254361"/>
            </a:xfrm>
            <a:prstGeom prst="rect">
              <a:avLst/>
            </a:prstGeom>
            <a:no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457200" rtl="0" eaLnBrk="1" fontAlgn="base" latinLnBrk="0" hangingPunct="1">
                <a:lnSpc>
                  <a:spcPct val="100000"/>
                </a:lnSpc>
                <a:spcBef>
                  <a:spcPct val="0"/>
                </a:spcBef>
                <a:spcAft>
                  <a:spcPts val="600"/>
                </a:spcAft>
                <a:buClrTx/>
                <a:buSzTx/>
                <a:buFontTx/>
                <a:buNone/>
                <a:tabLst/>
                <a:defRPr/>
              </a:pPr>
              <a:r>
                <a:rPr kumimoji="0" lang="en-US" sz="1000" b="1" i="0" u="none" strike="noStrike" kern="1200" cap="none" spc="-20" normalizeH="0" baseline="0" noProof="0">
                  <a:ln>
                    <a:noFill/>
                  </a:ln>
                  <a:solidFill>
                    <a:schemeClr val="accent2"/>
                  </a:solidFill>
                  <a:effectLst/>
                  <a:uLnTx/>
                  <a:uFillTx/>
                </a:rPr>
                <a:t>Cisco</a:t>
              </a:r>
              <a:br>
                <a:rPr kumimoji="0" lang="en-US" sz="1000" b="1" i="0" u="none" strike="noStrike" kern="1200" cap="none" spc="-20" normalizeH="0" baseline="0" noProof="0">
                  <a:ln>
                    <a:noFill/>
                  </a:ln>
                  <a:solidFill>
                    <a:schemeClr val="accent2"/>
                  </a:solidFill>
                  <a:effectLst/>
                  <a:uLnTx/>
                  <a:uFillTx/>
                </a:rPr>
              </a:br>
              <a:r>
                <a:rPr kumimoji="0" lang="en-US" sz="1000" b="1" i="0" u="none" strike="noStrike" kern="1200" cap="none" spc="-20" normalizeH="0" baseline="0" noProof="0">
                  <a:ln>
                    <a:noFill/>
                  </a:ln>
                  <a:solidFill>
                    <a:schemeClr val="accent2"/>
                  </a:solidFill>
                  <a:effectLst/>
                  <a:uLnTx/>
                  <a:uFillTx/>
                </a:rPr>
                <a:t>Security</a:t>
              </a:r>
              <a:br>
                <a:rPr kumimoji="0" lang="en-US" sz="1000" b="1" i="0" u="none" strike="noStrike" kern="1200" cap="none" spc="-20" normalizeH="0" baseline="0" noProof="0">
                  <a:ln>
                    <a:noFill/>
                  </a:ln>
                  <a:solidFill>
                    <a:schemeClr val="accent2"/>
                  </a:solidFill>
                  <a:effectLst/>
                  <a:uLnTx/>
                  <a:uFillTx/>
                </a:rPr>
              </a:br>
              <a:r>
                <a:rPr kumimoji="0" lang="en-US" sz="1000" b="1" i="0" u="none" strike="noStrike" kern="1200" cap="none" spc="-20" normalizeH="0" baseline="0" noProof="0">
                  <a:ln>
                    <a:noFill/>
                  </a:ln>
                  <a:solidFill>
                    <a:schemeClr val="accent2"/>
                  </a:solidFill>
                  <a:effectLst/>
                  <a:uLnTx/>
                  <a:uFillTx/>
                </a:rPr>
                <a:t>Platform</a:t>
              </a:r>
            </a:p>
          </p:txBody>
        </p:sp>
      </p:grpSp>
      <p:sp>
        <p:nvSpPr>
          <p:cNvPr id="140" name="Oval 139">
            <a:extLst>
              <a:ext uri="{FF2B5EF4-FFF2-40B4-BE49-F238E27FC236}">
                <a16:creationId xmlns:a16="http://schemas.microsoft.com/office/drawing/2014/main" id="{13A4C055-3C29-41D7-A007-01518EAF7135}"/>
              </a:ext>
            </a:extLst>
          </p:cNvPr>
          <p:cNvSpPr/>
          <p:nvPr/>
        </p:nvSpPr>
        <p:spPr>
          <a:xfrm>
            <a:off x="4635491" y="2242776"/>
            <a:ext cx="128016" cy="1280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1E4471"/>
              </a:solidFill>
              <a:effectLst/>
              <a:uLnTx/>
              <a:uFillTx/>
              <a:ea typeface="+mn-ea"/>
              <a:cs typeface="+mn-cs"/>
            </a:endParaRPr>
          </a:p>
        </p:txBody>
      </p:sp>
      <p:sp>
        <p:nvSpPr>
          <p:cNvPr id="141" name="Oval 140">
            <a:extLst>
              <a:ext uri="{FF2B5EF4-FFF2-40B4-BE49-F238E27FC236}">
                <a16:creationId xmlns:a16="http://schemas.microsoft.com/office/drawing/2014/main" id="{23AFDF74-0750-4D18-AF7D-1F6D5AF9EC45}"/>
              </a:ext>
            </a:extLst>
          </p:cNvPr>
          <p:cNvSpPr/>
          <p:nvPr/>
        </p:nvSpPr>
        <p:spPr>
          <a:xfrm>
            <a:off x="469899" y="2242776"/>
            <a:ext cx="128016" cy="1280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1E4471"/>
              </a:solidFill>
              <a:effectLst/>
              <a:uLnTx/>
              <a:uFillTx/>
              <a:ea typeface="+mn-ea"/>
              <a:cs typeface="+mn-cs"/>
            </a:endParaRPr>
          </a:p>
        </p:txBody>
      </p:sp>
      <p:sp>
        <p:nvSpPr>
          <p:cNvPr id="142" name="Oval 141">
            <a:extLst>
              <a:ext uri="{FF2B5EF4-FFF2-40B4-BE49-F238E27FC236}">
                <a16:creationId xmlns:a16="http://schemas.microsoft.com/office/drawing/2014/main" id="{17410769-430E-4313-BA71-1EC66671DB23}"/>
              </a:ext>
            </a:extLst>
          </p:cNvPr>
          <p:cNvSpPr/>
          <p:nvPr/>
        </p:nvSpPr>
        <p:spPr>
          <a:xfrm>
            <a:off x="4114792" y="2242776"/>
            <a:ext cx="128016" cy="1280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1E4471"/>
              </a:solidFill>
              <a:effectLst/>
              <a:uLnTx/>
              <a:uFillTx/>
              <a:ea typeface="+mn-ea"/>
              <a:cs typeface="+mn-cs"/>
            </a:endParaRPr>
          </a:p>
        </p:txBody>
      </p:sp>
      <p:sp>
        <p:nvSpPr>
          <p:cNvPr id="143" name="Oval 142">
            <a:extLst>
              <a:ext uri="{FF2B5EF4-FFF2-40B4-BE49-F238E27FC236}">
                <a16:creationId xmlns:a16="http://schemas.microsoft.com/office/drawing/2014/main" id="{033B7F1B-CF80-4B50-8368-88F771C81E7F}"/>
              </a:ext>
            </a:extLst>
          </p:cNvPr>
          <p:cNvSpPr/>
          <p:nvPr/>
        </p:nvSpPr>
        <p:spPr>
          <a:xfrm>
            <a:off x="990598" y="2242776"/>
            <a:ext cx="128016" cy="1280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1E4471"/>
              </a:solidFill>
              <a:effectLst/>
              <a:uLnTx/>
              <a:uFillTx/>
              <a:ea typeface="+mn-ea"/>
              <a:cs typeface="+mn-cs"/>
            </a:endParaRPr>
          </a:p>
        </p:txBody>
      </p:sp>
      <p:sp>
        <p:nvSpPr>
          <p:cNvPr id="144" name="Oval 143">
            <a:extLst>
              <a:ext uri="{FF2B5EF4-FFF2-40B4-BE49-F238E27FC236}">
                <a16:creationId xmlns:a16="http://schemas.microsoft.com/office/drawing/2014/main" id="{78401744-1EC9-4561-A29A-697F44D2A879}"/>
              </a:ext>
            </a:extLst>
          </p:cNvPr>
          <p:cNvSpPr/>
          <p:nvPr/>
        </p:nvSpPr>
        <p:spPr>
          <a:xfrm>
            <a:off x="1511297" y="2242776"/>
            <a:ext cx="128016" cy="1280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1E4471"/>
              </a:solidFill>
              <a:effectLst/>
              <a:uLnTx/>
              <a:uFillTx/>
              <a:ea typeface="+mn-ea"/>
              <a:cs typeface="+mn-cs"/>
            </a:endParaRPr>
          </a:p>
        </p:txBody>
      </p:sp>
      <p:sp>
        <p:nvSpPr>
          <p:cNvPr id="145" name="Oval 144">
            <a:extLst>
              <a:ext uri="{FF2B5EF4-FFF2-40B4-BE49-F238E27FC236}">
                <a16:creationId xmlns:a16="http://schemas.microsoft.com/office/drawing/2014/main" id="{6974FD6B-20AA-4AD0-8D48-9B0D55AA5B11}"/>
              </a:ext>
            </a:extLst>
          </p:cNvPr>
          <p:cNvSpPr/>
          <p:nvPr/>
        </p:nvSpPr>
        <p:spPr>
          <a:xfrm>
            <a:off x="2031996" y="2242776"/>
            <a:ext cx="128016" cy="1280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1E4471"/>
              </a:solidFill>
              <a:effectLst/>
              <a:uLnTx/>
              <a:uFillTx/>
              <a:ea typeface="+mn-ea"/>
              <a:cs typeface="+mn-cs"/>
            </a:endParaRPr>
          </a:p>
        </p:txBody>
      </p:sp>
      <p:sp>
        <p:nvSpPr>
          <p:cNvPr id="146" name="Oval 145">
            <a:extLst>
              <a:ext uri="{FF2B5EF4-FFF2-40B4-BE49-F238E27FC236}">
                <a16:creationId xmlns:a16="http://schemas.microsoft.com/office/drawing/2014/main" id="{1CE8E7E8-1656-4373-BE21-191576D7D081}"/>
              </a:ext>
            </a:extLst>
          </p:cNvPr>
          <p:cNvSpPr/>
          <p:nvPr/>
        </p:nvSpPr>
        <p:spPr>
          <a:xfrm>
            <a:off x="2552695" y="2242776"/>
            <a:ext cx="128016" cy="1280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1E4471"/>
              </a:solidFill>
              <a:effectLst/>
              <a:uLnTx/>
              <a:uFillTx/>
              <a:ea typeface="+mn-ea"/>
              <a:cs typeface="+mn-cs"/>
            </a:endParaRPr>
          </a:p>
        </p:txBody>
      </p:sp>
      <p:sp>
        <p:nvSpPr>
          <p:cNvPr id="147" name="Oval 146">
            <a:extLst>
              <a:ext uri="{FF2B5EF4-FFF2-40B4-BE49-F238E27FC236}">
                <a16:creationId xmlns:a16="http://schemas.microsoft.com/office/drawing/2014/main" id="{A5F1C676-D5A2-4881-8299-E55E8E43926E}"/>
              </a:ext>
            </a:extLst>
          </p:cNvPr>
          <p:cNvSpPr/>
          <p:nvPr/>
        </p:nvSpPr>
        <p:spPr>
          <a:xfrm>
            <a:off x="3594093" y="2242776"/>
            <a:ext cx="128016" cy="1280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1E4471"/>
              </a:solidFill>
              <a:effectLst/>
              <a:uLnTx/>
              <a:uFillTx/>
              <a:ea typeface="+mn-ea"/>
              <a:cs typeface="+mn-cs"/>
            </a:endParaRPr>
          </a:p>
        </p:txBody>
      </p:sp>
      <p:sp>
        <p:nvSpPr>
          <p:cNvPr id="148" name="Oval 147">
            <a:extLst>
              <a:ext uri="{FF2B5EF4-FFF2-40B4-BE49-F238E27FC236}">
                <a16:creationId xmlns:a16="http://schemas.microsoft.com/office/drawing/2014/main" id="{9AF823C2-339E-4F8F-A3D9-0A07FFD66ABC}"/>
              </a:ext>
            </a:extLst>
          </p:cNvPr>
          <p:cNvSpPr/>
          <p:nvPr/>
        </p:nvSpPr>
        <p:spPr>
          <a:xfrm>
            <a:off x="3073394" y="2242776"/>
            <a:ext cx="128016" cy="1280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1E4471"/>
              </a:solidFill>
              <a:effectLst/>
              <a:uLnTx/>
              <a:uFillTx/>
              <a:ea typeface="+mn-ea"/>
              <a:cs typeface="+mn-cs"/>
            </a:endParaRPr>
          </a:p>
        </p:txBody>
      </p:sp>
      <p:sp>
        <p:nvSpPr>
          <p:cNvPr id="149" name="Oval 148">
            <a:extLst>
              <a:ext uri="{FF2B5EF4-FFF2-40B4-BE49-F238E27FC236}">
                <a16:creationId xmlns:a16="http://schemas.microsoft.com/office/drawing/2014/main" id="{A5F957FA-0536-4B49-8362-35ECA8C48ECD}"/>
              </a:ext>
            </a:extLst>
          </p:cNvPr>
          <p:cNvSpPr/>
          <p:nvPr/>
        </p:nvSpPr>
        <p:spPr>
          <a:xfrm>
            <a:off x="5156190" y="2242776"/>
            <a:ext cx="128016" cy="1280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1E4471"/>
              </a:solidFill>
              <a:effectLst/>
              <a:uLnTx/>
              <a:uFillTx/>
              <a:ea typeface="+mn-ea"/>
              <a:cs typeface="+mn-cs"/>
            </a:endParaRPr>
          </a:p>
        </p:txBody>
      </p:sp>
      <p:sp>
        <p:nvSpPr>
          <p:cNvPr id="150" name="Oval 149">
            <a:extLst>
              <a:ext uri="{FF2B5EF4-FFF2-40B4-BE49-F238E27FC236}">
                <a16:creationId xmlns:a16="http://schemas.microsoft.com/office/drawing/2014/main" id="{081190AA-9EAC-45EF-BDE9-F1B3C18583DE}"/>
              </a:ext>
            </a:extLst>
          </p:cNvPr>
          <p:cNvSpPr/>
          <p:nvPr/>
        </p:nvSpPr>
        <p:spPr>
          <a:xfrm>
            <a:off x="5676889" y="2242776"/>
            <a:ext cx="128016" cy="1280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1E4471"/>
              </a:solidFill>
              <a:effectLst/>
              <a:uLnTx/>
              <a:uFillTx/>
              <a:ea typeface="+mn-ea"/>
              <a:cs typeface="+mn-cs"/>
            </a:endParaRPr>
          </a:p>
        </p:txBody>
      </p:sp>
      <p:sp>
        <p:nvSpPr>
          <p:cNvPr id="151" name="Oval 150">
            <a:extLst>
              <a:ext uri="{FF2B5EF4-FFF2-40B4-BE49-F238E27FC236}">
                <a16:creationId xmlns:a16="http://schemas.microsoft.com/office/drawing/2014/main" id="{908283CF-9A13-42C9-BB93-561694668505}"/>
              </a:ext>
            </a:extLst>
          </p:cNvPr>
          <p:cNvSpPr/>
          <p:nvPr/>
        </p:nvSpPr>
        <p:spPr>
          <a:xfrm>
            <a:off x="6197588" y="2242776"/>
            <a:ext cx="128016" cy="1280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1E4471"/>
              </a:solidFill>
              <a:effectLst/>
              <a:uLnTx/>
              <a:uFillTx/>
              <a:ea typeface="+mn-ea"/>
              <a:cs typeface="+mn-cs"/>
            </a:endParaRPr>
          </a:p>
        </p:txBody>
      </p:sp>
      <p:sp>
        <p:nvSpPr>
          <p:cNvPr id="152" name="Oval 151">
            <a:extLst>
              <a:ext uri="{FF2B5EF4-FFF2-40B4-BE49-F238E27FC236}">
                <a16:creationId xmlns:a16="http://schemas.microsoft.com/office/drawing/2014/main" id="{608C39C0-4840-4D30-BBEB-6EFC521BCB87}"/>
              </a:ext>
            </a:extLst>
          </p:cNvPr>
          <p:cNvSpPr/>
          <p:nvPr/>
        </p:nvSpPr>
        <p:spPr>
          <a:xfrm>
            <a:off x="6718287" y="2242776"/>
            <a:ext cx="128016" cy="1280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1E4471"/>
              </a:solidFill>
              <a:effectLst/>
              <a:uLnTx/>
              <a:uFillTx/>
              <a:ea typeface="+mn-ea"/>
              <a:cs typeface="+mn-cs"/>
            </a:endParaRPr>
          </a:p>
        </p:txBody>
      </p:sp>
      <p:sp>
        <p:nvSpPr>
          <p:cNvPr id="153" name="Oval 152">
            <a:extLst>
              <a:ext uri="{FF2B5EF4-FFF2-40B4-BE49-F238E27FC236}">
                <a16:creationId xmlns:a16="http://schemas.microsoft.com/office/drawing/2014/main" id="{A7EF8AAC-F51F-49B4-893A-29FC3419CD1C}"/>
              </a:ext>
            </a:extLst>
          </p:cNvPr>
          <p:cNvSpPr/>
          <p:nvPr/>
        </p:nvSpPr>
        <p:spPr>
          <a:xfrm>
            <a:off x="8292147" y="2242776"/>
            <a:ext cx="128016" cy="1280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1E4471"/>
              </a:solidFill>
              <a:effectLst/>
              <a:uLnTx/>
              <a:uFillTx/>
              <a:ea typeface="+mn-ea"/>
              <a:cs typeface="+mn-cs"/>
            </a:endParaRPr>
          </a:p>
        </p:txBody>
      </p:sp>
      <p:sp>
        <p:nvSpPr>
          <p:cNvPr id="167" name="Rectangle 166">
            <a:extLst>
              <a:ext uri="{FF2B5EF4-FFF2-40B4-BE49-F238E27FC236}">
                <a16:creationId xmlns:a16="http://schemas.microsoft.com/office/drawing/2014/main" id="{84F61729-F626-4194-B9A0-28FDA490EA75}"/>
              </a:ext>
            </a:extLst>
          </p:cNvPr>
          <p:cNvSpPr/>
          <p:nvPr/>
        </p:nvSpPr>
        <p:spPr>
          <a:xfrm>
            <a:off x="3137401" y="1046333"/>
            <a:ext cx="1570819" cy="553998"/>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eaLnBrk="1" latinLnBrk="0" hangingPunct="1">
              <a:lnSpc>
                <a:spcPct val="100000"/>
              </a:lnSpc>
              <a:buClrTx/>
              <a:buSzTx/>
              <a:buFontTx/>
              <a:buNone/>
              <a:tabLst/>
              <a:defRPr/>
            </a:pPr>
            <a:r>
              <a:rPr lang="en-US" sz="900">
                <a:solidFill>
                  <a:schemeClr val="tx2"/>
                </a:solidFill>
                <a:latin typeface="CiscoSansTT" panose="020B0503020201020303" pitchFamily="34" charset="0"/>
                <a:ea typeface="ＭＳ Ｐゴシック" charset="0"/>
              </a:rPr>
              <a:t>Began acquiring new technologies and innovating at a rapid pace</a:t>
            </a:r>
          </a:p>
        </p:txBody>
      </p:sp>
      <p:sp>
        <p:nvSpPr>
          <p:cNvPr id="168" name="Rectangle 167">
            <a:extLst>
              <a:ext uri="{FF2B5EF4-FFF2-40B4-BE49-F238E27FC236}">
                <a16:creationId xmlns:a16="http://schemas.microsoft.com/office/drawing/2014/main" id="{95DDB39B-2845-4552-A347-C0A67986EB5D}"/>
              </a:ext>
            </a:extLst>
          </p:cNvPr>
          <p:cNvSpPr/>
          <p:nvPr/>
        </p:nvSpPr>
        <p:spPr>
          <a:xfrm>
            <a:off x="6973178" y="1046333"/>
            <a:ext cx="1382013" cy="553998"/>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spAutoFit/>
          </a:bodyPr>
          <a:lstStyle/>
          <a:p>
            <a:pPr marL="0" marR="0" lvl="0" indent="0" algn="r" eaLnBrk="1" latinLnBrk="0" hangingPunct="1">
              <a:lnSpc>
                <a:spcPct val="100000"/>
              </a:lnSpc>
              <a:buClrTx/>
              <a:buSzTx/>
              <a:buFontTx/>
              <a:buNone/>
              <a:tabLst/>
              <a:defRPr/>
            </a:pPr>
            <a:r>
              <a:rPr lang="en-US" sz="900" dirty="0">
                <a:solidFill>
                  <a:schemeClr val="tx2"/>
                </a:solidFill>
                <a:latin typeface="CiscoSansTT" panose="020B0503020201020303" pitchFamily="34" charset="0"/>
                <a:ea typeface="ＭＳ Ｐゴシック" charset="0"/>
              </a:rPr>
              <a:t>The broadest, most integrated security platform on the planet gets even better</a:t>
            </a:r>
          </a:p>
        </p:txBody>
      </p:sp>
      <p:sp>
        <p:nvSpPr>
          <p:cNvPr id="169" name="Rectangle 168">
            <a:extLst>
              <a:ext uri="{FF2B5EF4-FFF2-40B4-BE49-F238E27FC236}">
                <a16:creationId xmlns:a16="http://schemas.microsoft.com/office/drawing/2014/main" id="{6972FB46-03ED-4F4E-8619-55398B469996}"/>
              </a:ext>
            </a:extLst>
          </p:cNvPr>
          <p:cNvSpPr/>
          <p:nvPr/>
        </p:nvSpPr>
        <p:spPr>
          <a:xfrm>
            <a:off x="5740897" y="1046333"/>
            <a:ext cx="1232282" cy="553998"/>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marR="0" lvl="0" indent="0" eaLnBrk="1" latinLnBrk="0" hangingPunct="1">
              <a:lnSpc>
                <a:spcPct val="100000"/>
              </a:lnSpc>
              <a:buClrTx/>
              <a:buSzTx/>
              <a:buFontTx/>
              <a:buNone/>
              <a:tabLst/>
              <a:defRPr/>
            </a:pPr>
            <a:r>
              <a:rPr lang="en-US" sz="900">
                <a:solidFill>
                  <a:schemeClr val="tx2"/>
                </a:solidFill>
                <a:latin typeface="CiscoSansTT" panose="020B0503020201020303" pitchFamily="34" charset="0"/>
                <a:ea typeface="ＭＳ Ｐゴシック" charset="0"/>
              </a:rPr>
              <a:t>Unified networking </a:t>
            </a:r>
          </a:p>
          <a:p>
            <a:pPr marL="0" marR="0" lvl="0" indent="0" eaLnBrk="1" latinLnBrk="0" hangingPunct="1">
              <a:lnSpc>
                <a:spcPct val="100000"/>
              </a:lnSpc>
              <a:buClrTx/>
              <a:buSzTx/>
              <a:buFontTx/>
              <a:buNone/>
              <a:tabLst/>
              <a:defRPr/>
            </a:pPr>
            <a:r>
              <a:rPr lang="en-US" sz="900">
                <a:solidFill>
                  <a:schemeClr val="tx2"/>
                </a:solidFill>
                <a:latin typeface="CiscoSansTT" panose="020B0503020201020303" pitchFamily="34" charset="0"/>
                <a:ea typeface="ＭＳ Ｐゴシック" charset="0"/>
              </a:rPr>
              <a:t>and security</a:t>
            </a:r>
          </a:p>
        </p:txBody>
      </p:sp>
      <p:sp>
        <p:nvSpPr>
          <p:cNvPr id="170" name="Rectangle 169">
            <a:extLst>
              <a:ext uri="{FF2B5EF4-FFF2-40B4-BE49-F238E27FC236}">
                <a16:creationId xmlns:a16="http://schemas.microsoft.com/office/drawing/2014/main" id="{A45B84E0-D35A-45BE-B61B-EB8A5F25D0BC}"/>
              </a:ext>
            </a:extLst>
          </p:cNvPr>
          <p:cNvSpPr/>
          <p:nvPr/>
        </p:nvSpPr>
        <p:spPr>
          <a:xfrm>
            <a:off x="531812" y="1046333"/>
            <a:ext cx="1570819" cy="553998"/>
          </a:xfrm>
          <a:prstGeom prst="rect">
            <a:avLst/>
          </a:prstGeom>
          <a:no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defRPr/>
            </a:pPr>
            <a:r>
              <a:rPr lang="en-US" sz="900">
                <a:solidFill>
                  <a:schemeClr val="tx2"/>
                </a:solidFill>
                <a:latin typeface="CiscoSansTT" panose="020B0503020201020303" pitchFamily="34" charset="0"/>
                <a:ea typeface="ＭＳ Ｐゴシック" charset="0"/>
              </a:rPr>
              <a:t>Started with foundational </a:t>
            </a:r>
          </a:p>
          <a:p>
            <a:pPr>
              <a:defRPr/>
            </a:pPr>
            <a:r>
              <a:rPr lang="en-US" sz="900">
                <a:solidFill>
                  <a:schemeClr val="tx2"/>
                </a:solidFill>
                <a:latin typeface="CiscoSansTT" panose="020B0503020201020303" pitchFamily="34" charset="0"/>
                <a:ea typeface="ＭＳ Ｐゴシック" charset="0"/>
              </a:rPr>
              <a:t>security solutions</a:t>
            </a:r>
          </a:p>
        </p:txBody>
      </p:sp>
      <p:cxnSp>
        <p:nvCxnSpPr>
          <p:cNvPr id="173" name="Straight Connector 172">
            <a:extLst>
              <a:ext uri="{FF2B5EF4-FFF2-40B4-BE49-F238E27FC236}">
                <a16:creationId xmlns:a16="http://schemas.microsoft.com/office/drawing/2014/main" id="{ACBF1111-D3EA-41C3-8D8B-93C64874FC8D}"/>
              </a:ext>
            </a:extLst>
          </p:cNvPr>
          <p:cNvCxnSpPr>
            <a:cxnSpLocks/>
          </p:cNvCxnSpPr>
          <p:nvPr/>
        </p:nvCxnSpPr>
        <p:spPr>
          <a:xfrm>
            <a:off x="469899" y="1647643"/>
            <a:ext cx="118872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B766932B-8910-4CCE-B4C6-B31D4DD59BE8}"/>
              </a:ext>
            </a:extLst>
          </p:cNvPr>
          <p:cNvCxnSpPr>
            <a:cxnSpLocks/>
          </p:cNvCxnSpPr>
          <p:nvPr/>
        </p:nvCxnSpPr>
        <p:spPr>
          <a:xfrm>
            <a:off x="3073394" y="1647643"/>
            <a:ext cx="118872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4908080F-AEAF-4DF7-B9C0-16ACE1ED27D6}"/>
              </a:ext>
            </a:extLst>
          </p:cNvPr>
          <p:cNvCxnSpPr>
            <a:cxnSpLocks/>
          </p:cNvCxnSpPr>
          <p:nvPr/>
        </p:nvCxnSpPr>
        <p:spPr>
          <a:xfrm>
            <a:off x="5676889" y="1647643"/>
            <a:ext cx="118872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5564CCFC-0F82-44F8-8D9B-E17EEA10B180}"/>
              </a:ext>
            </a:extLst>
          </p:cNvPr>
          <p:cNvCxnSpPr>
            <a:cxnSpLocks/>
          </p:cNvCxnSpPr>
          <p:nvPr/>
        </p:nvCxnSpPr>
        <p:spPr>
          <a:xfrm>
            <a:off x="7231443" y="1647643"/>
            <a:ext cx="1188720" cy="0"/>
          </a:xfrm>
          <a:prstGeom prst="line">
            <a:avLst/>
          </a:prstGeom>
          <a:ln>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77" name="Rectangle 176">
            <a:extLst>
              <a:ext uri="{FF2B5EF4-FFF2-40B4-BE49-F238E27FC236}">
                <a16:creationId xmlns:a16="http://schemas.microsoft.com/office/drawing/2014/main" id="{3C271E49-5301-4F3D-91BD-E2528537E913}"/>
              </a:ext>
            </a:extLst>
          </p:cNvPr>
          <p:cNvSpPr/>
          <p:nvPr/>
        </p:nvSpPr>
        <p:spPr>
          <a:xfrm>
            <a:off x="344913" y="2550188"/>
            <a:ext cx="842010" cy="415498"/>
          </a:xfrm>
          <a:prstGeom prst="rect">
            <a:avLst/>
          </a:prstGeom>
        </p:spPr>
        <p:txBody>
          <a:bodyPr wrap="square" lIns="0" tIns="0" rIns="0" bIns="0">
            <a:noAutofit/>
          </a:bodyP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err="1">
                <a:ln>
                  <a:noFill/>
                </a:ln>
                <a:solidFill>
                  <a:schemeClr val="bg2"/>
                </a:solidFill>
                <a:effectLst/>
                <a:uLnTx/>
                <a:uFillTx/>
                <a:latin typeface="+mn-lt"/>
              </a:rPr>
              <a:t>TrustSec</a:t>
            </a:r>
            <a:br>
              <a:rPr kumimoji="0" lang="en-US" sz="900" b="0" i="1" u="none" strike="noStrike" kern="1200" cap="none" spc="0" normalizeH="0" baseline="0" noProof="0">
                <a:ln>
                  <a:noFill/>
                </a:ln>
                <a:solidFill>
                  <a:schemeClr val="bg2"/>
                </a:solidFill>
                <a:effectLst/>
                <a:uLnTx/>
                <a:uFillTx/>
                <a:latin typeface="+mn-lt"/>
              </a:rPr>
            </a:br>
            <a:r>
              <a:rPr kumimoji="0" lang="en-US" sz="900" b="0" i="1" u="none" strike="noStrike" kern="1200" cap="none" spc="0" normalizeH="0" baseline="0" noProof="0">
                <a:ln>
                  <a:noFill/>
                </a:ln>
                <a:solidFill>
                  <a:schemeClr val="bg2"/>
                </a:solidFill>
                <a:effectLst/>
                <a:uLnTx/>
                <a:uFillTx/>
                <a:latin typeface="+mn-lt"/>
              </a:rPr>
              <a:t>Email Security</a:t>
            </a:r>
          </a:p>
          <a:p>
            <a:pPr marL="0" marR="0" lvl="0" indent="0"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latin typeface="+mn-lt"/>
              </a:rPr>
              <a:t>Web Security</a:t>
            </a:r>
          </a:p>
        </p:txBody>
      </p:sp>
      <p:sp>
        <p:nvSpPr>
          <p:cNvPr id="178" name="Rectangle 177">
            <a:extLst>
              <a:ext uri="{FF2B5EF4-FFF2-40B4-BE49-F238E27FC236}">
                <a16:creationId xmlns:a16="http://schemas.microsoft.com/office/drawing/2014/main" id="{5E5E3F67-17B8-4EEB-90AF-9B398B533CF2}"/>
              </a:ext>
            </a:extLst>
          </p:cNvPr>
          <p:cNvSpPr/>
          <p:nvPr/>
        </p:nvSpPr>
        <p:spPr>
          <a:xfrm>
            <a:off x="4519960" y="3005628"/>
            <a:ext cx="790327" cy="415498"/>
          </a:xfrm>
          <a:prstGeom prst="rect">
            <a:avLst/>
          </a:prstGeom>
        </p:spPr>
        <p:txBody>
          <a:bodyPr wrap="square" lIns="0" tIns="0" rIns="0" bIns="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latin typeface="+mn-lt"/>
              </a:rPr>
              <a:t>Umbrella</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err="1">
                <a:ln>
                  <a:noFill/>
                </a:ln>
                <a:solidFill>
                  <a:schemeClr val="bg2"/>
                </a:solidFill>
                <a:effectLst/>
                <a:uLnTx/>
                <a:uFillTx/>
                <a:latin typeface="+mn-lt"/>
              </a:rPr>
              <a:t>Stealthwatch</a:t>
            </a:r>
            <a:r>
              <a:rPr kumimoji="0" lang="en-US" sz="900" b="0" i="1" u="none" strike="noStrike" kern="1200" cap="none" spc="0" normalizeH="0" baseline="0" noProof="0">
                <a:ln>
                  <a:noFill/>
                </a:ln>
                <a:solidFill>
                  <a:schemeClr val="bg2"/>
                </a:solidFill>
                <a:effectLst/>
                <a:uLnTx/>
                <a:uFillTx/>
                <a:latin typeface="+mn-lt"/>
              </a:rPr>
              <a:t>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err="1">
                <a:ln>
                  <a:noFill/>
                </a:ln>
                <a:solidFill>
                  <a:schemeClr val="bg2"/>
                </a:solidFill>
                <a:effectLst/>
                <a:uLnTx/>
                <a:uFillTx/>
                <a:latin typeface="+mn-lt"/>
              </a:rPr>
              <a:t>Tetration</a:t>
            </a:r>
            <a:endParaRPr kumimoji="0" lang="en-US" sz="900" b="0" i="1" u="none" strike="noStrike" kern="1200" cap="none" spc="0" normalizeH="0" baseline="0" noProof="0">
              <a:ln>
                <a:noFill/>
              </a:ln>
              <a:solidFill>
                <a:schemeClr val="bg2"/>
              </a:solidFill>
              <a:effectLst/>
              <a:uLnTx/>
              <a:uFillTx/>
              <a:latin typeface="+mn-lt"/>
            </a:endParaRPr>
          </a:p>
        </p:txBody>
      </p:sp>
      <p:sp>
        <p:nvSpPr>
          <p:cNvPr id="179" name="Rectangle 178">
            <a:extLst>
              <a:ext uri="{FF2B5EF4-FFF2-40B4-BE49-F238E27FC236}">
                <a16:creationId xmlns:a16="http://schemas.microsoft.com/office/drawing/2014/main" id="{9C17929E-7DF1-4CD6-9B39-D6EF6AD56CF6}"/>
              </a:ext>
            </a:extLst>
          </p:cNvPr>
          <p:cNvSpPr/>
          <p:nvPr/>
        </p:nvSpPr>
        <p:spPr>
          <a:xfrm>
            <a:off x="5550362" y="3005628"/>
            <a:ext cx="1422467" cy="553998"/>
          </a:xfrm>
          <a:prstGeom prst="rect">
            <a:avLst/>
          </a:prstGeom>
        </p:spPr>
        <p:txBody>
          <a:bodyPr wrap="square" lIns="0" tIns="0" rIns="0" bIns="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latin typeface="+mn-lt"/>
              </a:rPr>
              <a:t>SD-WAN</a:t>
            </a:r>
            <a:br>
              <a:rPr kumimoji="0" lang="en-US" sz="900" b="0" i="1" u="none" strike="noStrike" kern="1200" cap="none" spc="0" normalizeH="0" baseline="0" noProof="0">
                <a:ln>
                  <a:noFill/>
                </a:ln>
                <a:solidFill>
                  <a:schemeClr val="bg2"/>
                </a:solidFill>
                <a:effectLst/>
                <a:uLnTx/>
                <a:uFillTx/>
                <a:latin typeface="+mn-lt"/>
              </a:rPr>
            </a:br>
            <a:r>
              <a:rPr kumimoji="0" lang="en-US" sz="900" b="0" i="1" u="none" strike="noStrike" kern="1200" cap="none" spc="0" normalizeH="0" baseline="0" noProof="0">
                <a:ln>
                  <a:noFill/>
                </a:ln>
                <a:solidFill>
                  <a:schemeClr val="bg2"/>
                </a:solidFill>
                <a:effectLst/>
                <a:uLnTx/>
                <a:uFillTx/>
                <a:latin typeface="+mn-lt"/>
              </a:rPr>
              <a:t>SD-Access</a:t>
            </a:r>
            <a:br>
              <a:rPr lang="en-US" sz="900" i="1">
                <a:solidFill>
                  <a:schemeClr val="bg2"/>
                </a:solidFill>
                <a:latin typeface="+mn-lt"/>
              </a:rPr>
            </a:br>
            <a:r>
              <a:rPr lang="en-US" sz="900" i="1">
                <a:solidFill>
                  <a:schemeClr val="bg2"/>
                </a:solidFill>
                <a:latin typeface="+mn-lt"/>
              </a:rPr>
              <a:t>AppDynamics</a:t>
            </a:r>
            <a:endParaRPr kumimoji="0" lang="en-US" sz="900" b="0" i="1" u="none" strike="noStrike" kern="1200" cap="none" spc="0" normalizeH="0" baseline="0" noProof="0">
              <a:ln>
                <a:noFill/>
              </a:ln>
              <a:solidFill>
                <a:schemeClr val="bg2"/>
              </a:solidFill>
              <a:effectLst/>
              <a:uLnTx/>
              <a:uFillTx/>
              <a:latin typeface="+mn-lt"/>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latin typeface="+mn-lt"/>
              </a:rPr>
              <a:t>Stealthwatch Cloud </a:t>
            </a:r>
          </a:p>
        </p:txBody>
      </p:sp>
      <p:sp>
        <p:nvSpPr>
          <p:cNvPr id="180" name="Rectangle 179">
            <a:extLst>
              <a:ext uri="{FF2B5EF4-FFF2-40B4-BE49-F238E27FC236}">
                <a16:creationId xmlns:a16="http://schemas.microsoft.com/office/drawing/2014/main" id="{5295C39F-501B-4814-B85B-794565E0A0B7}"/>
              </a:ext>
            </a:extLst>
          </p:cNvPr>
          <p:cNvSpPr/>
          <p:nvPr/>
        </p:nvSpPr>
        <p:spPr>
          <a:xfrm>
            <a:off x="6132729" y="2550188"/>
            <a:ext cx="1037410" cy="276999"/>
          </a:xfrm>
          <a:prstGeom prst="rect">
            <a:avLst/>
          </a:prstGeom>
        </p:spPr>
        <p:txBody>
          <a:bodyPr wrap="square" lIns="0" tIns="0" rIns="0" bIns="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latin typeface="+mn-lt"/>
              </a:rPr>
              <a:t>Duo</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latin typeface="+mn-lt"/>
              </a:rPr>
              <a:t>Threat Response</a:t>
            </a:r>
          </a:p>
        </p:txBody>
      </p:sp>
      <p:sp>
        <p:nvSpPr>
          <p:cNvPr id="181" name="Rectangle 180">
            <a:extLst>
              <a:ext uri="{FF2B5EF4-FFF2-40B4-BE49-F238E27FC236}">
                <a16:creationId xmlns:a16="http://schemas.microsoft.com/office/drawing/2014/main" id="{57EB2E0E-3115-418C-AE6B-8D26A67A72D0}"/>
              </a:ext>
            </a:extLst>
          </p:cNvPr>
          <p:cNvSpPr/>
          <p:nvPr/>
        </p:nvSpPr>
        <p:spPr>
          <a:xfrm>
            <a:off x="3065743" y="3005628"/>
            <a:ext cx="1182888" cy="415498"/>
          </a:xfrm>
          <a:prstGeom prst="rect">
            <a:avLst/>
          </a:prstGeom>
        </p:spPr>
        <p:txBody>
          <a:bodyPr wrap="square" lIns="0" tIns="0" rIns="0" bIns="0">
            <a:noAutofit/>
          </a:bodyPr>
          <a:lstStyle/>
          <a:p>
            <a:pPr lvl="0">
              <a:defRPr/>
            </a:pPr>
            <a:r>
              <a:rPr lang="en-US" sz="900" i="1">
                <a:solidFill>
                  <a:schemeClr val="bg2"/>
                </a:solidFill>
                <a:latin typeface="+mn-lt"/>
              </a:rPr>
              <a:t>Cognitive Intelligence</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latin typeface="+mn-lt"/>
              </a:rPr>
              <a:t>AMP for Endpoint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latin typeface="+mn-lt"/>
              </a:rPr>
              <a:t>NGIPS</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latin typeface="+mn-lt"/>
              </a:rPr>
              <a:t>ACI </a:t>
            </a:r>
          </a:p>
        </p:txBody>
      </p:sp>
      <p:sp>
        <p:nvSpPr>
          <p:cNvPr id="182" name="Rectangle 181">
            <a:extLst>
              <a:ext uri="{FF2B5EF4-FFF2-40B4-BE49-F238E27FC236}">
                <a16:creationId xmlns:a16="http://schemas.microsoft.com/office/drawing/2014/main" id="{C2DAE842-AA3B-43E6-9874-8CE60901FBEB}"/>
              </a:ext>
            </a:extLst>
          </p:cNvPr>
          <p:cNvSpPr/>
          <p:nvPr/>
        </p:nvSpPr>
        <p:spPr>
          <a:xfrm>
            <a:off x="3004586" y="2550188"/>
            <a:ext cx="571649" cy="276999"/>
          </a:xfrm>
          <a:prstGeom prst="rect">
            <a:avLst/>
          </a:prstGeom>
        </p:spPr>
        <p:txBody>
          <a:bodyPr wrap="square" lIns="0" tIns="0" rIns="0" bIns="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latin typeface="+mn-lt"/>
                <a:ea typeface="ＭＳ Ｐゴシック" charset="0"/>
              </a:rPr>
              <a:t>Meraki </a:t>
            </a:r>
            <a:br>
              <a:rPr kumimoji="0" lang="en-US" sz="900" b="0" i="1" u="none" strike="noStrike" kern="1200" cap="none" spc="0" normalizeH="0" baseline="0" noProof="0">
                <a:ln>
                  <a:noFill/>
                </a:ln>
                <a:solidFill>
                  <a:schemeClr val="bg2"/>
                </a:solidFill>
                <a:effectLst/>
                <a:uLnTx/>
                <a:uFillTx/>
                <a:latin typeface="+mn-lt"/>
                <a:ea typeface="ＭＳ Ｐゴシック" charset="0"/>
              </a:rPr>
            </a:br>
            <a:endParaRPr kumimoji="0" lang="en-US" sz="900" b="0" i="1" u="none" strike="noStrike" kern="1200" cap="none" spc="0" normalizeH="0" baseline="0" noProof="0">
              <a:ln>
                <a:noFill/>
              </a:ln>
              <a:solidFill>
                <a:schemeClr val="bg2"/>
              </a:solidFill>
              <a:effectLst/>
              <a:uLnTx/>
              <a:uFillTx/>
              <a:latin typeface="+mn-lt"/>
              <a:ea typeface="ＭＳ Ｐゴシック" charset="0"/>
            </a:endParaRPr>
          </a:p>
        </p:txBody>
      </p:sp>
      <p:sp>
        <p:nvSpPr>
          <p:cNvPr id="183" name="Rectangle 182">
            <a:extLst>
              <a:ext uri="{FF2B5EF4-FFF2-40B4-BE49-F238E27FC236}">
                <a16:creationId xmlns:a16="http://schemas.microsoft.com/office/drawing/2014/main" id="{CB602124-10F2-4B15-8839-79FE53ADF82E}"/>
              </a:ext>
            </a:extLst>
          </p:cNvPr>
          <p:cNvSpPr/>
          <p:nvPr/>
        </p:nvSpPr>
        <p:spPr>
          <a:xfrm>
            <a:off x="3968918" y="2550188"/>
            <a:ext cx="666572" cy="415498"/>
          </a:xfrm>
          <a:prstGeom prst="rect">
            <a:avLst/>
          </a:prstGeom>
        </p:spPr>
        <p:txBody>
          <a:bodyPr wrap="square" lIns="0" tIns="0" rIns="0" bIns="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latin typeface="+mn-lt"/>
              </a:rPr>
              <a:t>NGFW</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latin typeface="+mn-lt"/>
              </a:rPr>
              <a:t>AnyConnect</a:t>
            </a:r>
            <a:br>
              <a:rPr kumimoji="0" lang="en-US" sz="900" b="0" i="1" u="none" strike="noStrike" kern="1200" cap="none" spc="0" normalizeH="0" baseline="0" noProof="0">
                <a:ln>
                  <a:noFill/>
                </a:ln>
                <a:solidFill>
                  <a:schemeClr val="bg2"/>
                </a:solidFill>
                <a:effectLst/>
                <a:uLnTx/>
                <a:uFillTx/>
                <a:latin typeface="+mn-lt"/>
              </a:rPr>
            </a:br>
            <a:endParaRPr kumimoji="0" lang="en-US" sz="900" b="0" i="1" u="none" strike="noStrike" kern="1200" cap="none" spc="0" normalizeH="0" baseline="0" noProof="0">
              <a:ln>
                <a:noFill/>
              </a:ln>
              <a:solidFill>
                <a:schemeClr val="bg2"/>
              </a:solidFill>
              <a:effectLst/>
              <a:uLnTx/>
              <a:uFillTx/>
              <a:latin typeface="+mn-lt"/>
            </a:endParaRPr>
          </a:p>
        </p:txBody>
      </p:sp>
      <p:sp>
        <p:nvSpPr>
          <p:cNvPr id="184" name="Rectangle 183">
            <a:extLst>
              <a:ext uri="{FF2B5EF4-FFF2-40B4-BE49-F238E27FC236}">
                <a16:creationId xmlns:a16="http://schemas.microsoft.com/office/drawing/2014/main" id="{FC8EFAB2-9F5E-4EF4-986A-E7BD35883F0A}"/>
              </a:ext>
            </a:extLst>
          </p:cNvPr>
          <p:cNvSpPr/>
          <p:nvPr/>
        </p:nvSpPr>
        <p:spPr>
          <a:xfrm>
            <a:off x="5030788" y="2550188"/>
            <a:ext cx="705270" cy="553998"/>
          </a:xfrm>
          <a:prstGeom prst="rect">
            <a:avLst/>
          </a:prstGeom>
        </p:spPr>
        <p:txBody>
          <a:bodyPr wrap="square" lIns="0" tIns="0" rIns="0" bIns="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latin typeface="+mn-lt"/>
              </a:rPr>
              <a:t>Defense Orchestrator</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err="1">
                <a:ln>
                  <a:noFill/>
                </a:ln>
                <a:solidFill>
                  <a:schemeClr val="bg2"/>
                </a:solidFill>
                <a:effectLst/>
                <a:uLnTx/>
                <a:uFillTx/>
                <a:latin typeface="+mn-lt"/>
              </a:rPr>
              <a:t>Cloudlock</a:t>
            </a:r>
            <a:endParaRPr kumimoji="0" lang="en-US" sz="900" b="0" i="1" u="none" strike="noStrike" kern="1200" cap="none" spc="0" normalizeH="0" baseline="0" noProof="0">
              <a:ln>
                <a:noFill/>
              </a:ln>
              <a:solidFill>
                <a:schemeClr val="bg2"/>
              </a:solidFill>
              <a:effectLst/>
              <a:uLnTx/>
              <a:uFillTx/>
              <a:latin typeface="+mn-lt"/>
            </a:endParaRPr>
          </a:p>
        </p:txBody>
      </p:sp>
      <p:sp>
        <p:nvSpPr>
          <p:cNvPr id="185" name="Rectangle 184">
            <a:extLst>
              <a:ext uri="{FF2B5EF4-FFF2-40B4-BE49-F238E27FC236}">
                <a16:creationId xmlns:a16="http://schemas.microsoft.com/office/drawing/2014/main" id="{378A25C5-ED9B-4503-8A0C-1EFA6E0FCCBA}"/>
              </a:ext>
            </a:extLst>
          </p:cNvPr>
          <p:cNvSpPr/>
          <p:nvPr/>
        </p:nvSpPr>
        <p:spPr>
          <a:xfrm>
            <a:off x="1420705" y="2550188"/>
            <a:ext cx="842011" cy="276999"/>
          </a:xfrm>
          <a:prstGeom prst="rect">
            <a:avLst/>
          </a:prstGeom>
        </p:spPr>
        <p:txBody>
          <a:bodyPr wrap="square" lIns="0" tIns="0" rIns="0" bIns="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latin typeface="+mn-lt"/>
              </a:rPr>
              <a:t>Cloud Web Security</a:t>
            </a:r>
          </a:p>
        </p:txBody>
      </p:sp>
      <p:sp>
        <p:nvSpPr>
          <p:cNvPr id="186" name="Rectangle 185">
            <a:extLst>
              <a:ext uri="{FF2B5EF4-FFF2-40B4-BE49-F238E27FC236}">
                <a16:creationId xmlns:a16="http://schemas.microsoft.com/office/drawing/2014/main" id="{F18F0964-500B-4970-A356-DB0248FD48CE}"/>
              </a:ext>
            </a:extLst>
          </p:cNvPr>
          <p:cNvSpPr/>
          <p:nvPr/>
        </p:nvSpPr>
        <p:spPr>
          <a:xfrm>
            <a:off x="2412694" y="2550188"/>
            <a:ext cx="658181" cy="507831"/>
          </a:xfrm>
          <a:prstGeom prst="rect">
            <a:avLst/>
          </a:prstGeom>
        </p:spPr>
        <p:txBody>
          <a:bodyPr wrap="square" lIns="0" tIns="0" rIns="0" bIns="0">
            <a:noAutofit/>
          </a:bodyPr>
          <a:lstStyle/>
          <a:p>
            <a:r>
              <a:rPr lang="en-US" sz="900" i="1">
                <a:solidFill>
                  <a:schemeClr val="bg2"/>
                </a:solidFill>
                <a:latin typeface="+mn-lt"/>
              </a:rPr>
              <a:t>Identity Services Engine</a:t>
            </a:r>
            <a:endParaRPr lang="en-US">
              <a:solidFill>
                <a:schemeClr val="bg2"/>
              </a:solidFill>
              <a:latin typeface="+mn-lt"/>
            </a:endParaRPr>
          </a:p>
        </p:txBody>
      </p:sp>
      <p:sp>
        <p:nvSpPr>
          <p:cNvPr id="187" name="Rectangle 186">
            <a:extLst>
              <a:ext uri="{FF2B5EF4-FFF2-40B4-BE49-F238E27FC236}">
                <a16:creationId xmlns:a16="http://schemas.microsoft.com/office/drawing/2014/main" id="{D2FE04FD-1FBC-4596-A3D5-4B34B5BFF786}"/>
              </a:ext>
            </a:extLst>
          </p:cNvPr>
          <p:cNvSpPr/>
          <p:nvPr/>
        </p:nvSpPr>
        <p:spPr>
          <a:xfrm>
            <a:off x="8196034" y="2043201"/>
            <a:ext cx="318313" cy="1384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ea typeface="+mn-ea"/>
                <a:cs typeface="+mn-cs"/>
              </a:rPr>
              <a:t>2020</a:t>
            </a:r>
            <a:endParaRPr kumimoji="0" lang="en-US" sz="600" b="0" i="1" u="none" strike="noStrike" kern="1200" cap="none" spc="0" normalizeH="0" baseline="0" noProof="0">
              <a:ln>
                <a:noFill/>
              </a:ln>
              <a:solidFill>
                <a:schemeClr val="bg2"/>
              </a:solidFill>
              <a:effectLst/>
              <a:uLnTx/>
              <a:uFillTx/>
              <a:ea typeface="+mn-ea"/>
              <a:cs typeface="+mn-cs"/>
            </a:endParaRPr>
          </a:p>
        </p:txBody>
      </p:sp>
      <p:sp>
        <p:nvSpPr>
          <p:cNvPr id="188" name="Rectangle 187">
            <a:extLst>
              <a:ext uri="{FF2B5EF4-FFF2-40B4-BE49-F238E27FC236}">
                <a16:creationId xmlns:a16="http://schemas.microsoft.com/office/drawing/2014/main" id="{69A3EA4A-31B1-46C4-9B16-B48A1BA01C9A}"/>
              </a:ext>
            </a:extLst>
          </p:cNvPr>
          <p:cNvSpPr/>
          <p:nvPr/>
        </p:nvSpPr>
        <p:spPr>
          <a:xfrm>
            <a:off x="372655" y="2043201"/>
            <a:ext cx="318313" cy="1384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ea typeface="+mn-ea"/>
                <a:cs typeface="+mn-cs"/>
              </a:rPr>
              <a:t>2007</a:t>
            </a:r>
            <a:endParaRPr kumimoji="0" lang="en-US" sz="600" b="0" i="1" u="none" strike="noStrike" kern="1200" cap="none" spc="0" normalizeH="0" baseline="0" noProof="0">
              <a:ln>
                <a:noFill/>
              </a:ln>
              <a:solidFill>
                <a:schemeClr val="bg2"/>
              </a:solidFill>
              <a:effectLst/>
              <a:uLnTx/>
              <a:uFillTx/>
              <a:ea typeface="+mn-ea"/>
              <a:cs typeface="+mn-cs"/>
            </a:endParaRPr>
          </a:p>
        </p:txBody>
      </p:sp>
      <p:sp>
        <p:nvSpPr>
          <p:cNvPr id="189" name="Rectangle 188">
            <a:extLst>
              <a:ext uri="{FF2B5EF4-FFF2-40B4-BE49-F238E27FC236}">
                <a16:creationId xmlns:a16="http://schemas.microsoft.com/office/drawing/2014/main" id="{B57D8CB8-10F2-46C8-9FF7-02EBA7BE02C5}"/>
              </a:ext>
            </a:extLst>
          </p:cNvPr>
          <p:cNvSpPr/>
          <p:nvPr/>
        </p:nvSpPr>
        <p:spPr>
          <a:xfrm>
            <a:off x="4539643" y="2043201"/>
            <a:ext cx="318313" cy="1384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ea typeface="+mn-ea"/>
                <a:cs typeface="+mn-cs"/>
              </a:rPr>
              <a:t>2015</a:t>
            </a:r>
            <a:endParaRPr kumimoji="0" lang="en-US" sz="600" b="0" i="1" u="none" strike="noStrike" kern="1200" cap="none" spc="0" normalizeH="0" baseline="0" noProof="0">
              <a:ln>
                <a:noFill/>
              </a:ln>
              <a:solidFill>
                <a:schemeClr val="bg2"/>
              </a:solidFill>
              <a:effectLst/>
              <a:uLnTx/>
              <a:uFillTx/>
              <a:ea typeface="+mn-ea"/>
              <a:cs typeface="+mn-cs"/>
            </a:endParaRPr>
          </a:p>
        </p:txBody>
      </p:sp>
      <p:sp>
        <p:nvSpPr>
          <p:cNvPr id="190" name="Rectangle 189">
            <a:extLst>
              <a:ext uri="{FF2B5EF4-FFF2-40B4-BE49-F238E27FC236}">
                <a16:creationId xmlns:a16="http://schemas.microsoft.com/office/drawing/2014/main" id="{84ED0A2B-57AA-46EC-9E87-EC8C0AC439D8}"/>
              </a:ext>
            </a:extLst>
          </p:cNvPr>
          <p:cNvSpPr/>
          <p:nvPr/>
        </p:nvSpPr>
        <p:spPr>
          <a:xfrm>
            <a:off x="3497896" y="2043201"/>
            <a:ext cx="318313" cy="1384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ea typeface="+mn-ea"/>
                <a:cs typeface="+mn-cs"/>
              </a:rPr>
              <a:t>2013</a:t>
            </a:r>
            <a:endParaRPr kumimoji="0" lang="en-US" sz="600" b="0" i="1" u="none" strike="noStrike" kern="1200" cap="none" spc="0" normalizeH="0" baseline="0" noProof="0">
              <a:ln>
                <a:noFill/>
              </a:ln>
              <a:solidFill>
                <a:schemeClr val="bg2"/>
              </a:solidFill>
              <a:effectLst/>
              <a:uLnTx/>
              <a:uFillTx/>
              <a:ea typeface="+mn-ea"/>
              <a:cs typeface="+mn-cs"/>
            </a:endParaRPr>
          </a:p>
        </p:txBody>
      </p:sp>
      <p:sp>
        <p:nvSpPr>
          <p:cNvPr id="191" name="Rectangle 190">
            <a:extLst>
              <a:ext uri="{FF2B5EF4-FFF2-40B4-BE49-F238E27FC236}">
                <a16:creationId xmlns:a16="http://schemas.microsoft.com/office/drawing/2014/main" id="{4B84B5C5-D46D-4D52-BBF2-A6E2C56CEBCB}"/>
              </a:ext>
            </a:extLst>
          </p:cNvPr>
          <p:cNvSpPr/>
          <p:nvPr/>
        </p:nvSpPr>
        <p:spPr>
          <a:xfrm>
            <a:off x="5581390" y="2043201"/>
            <a:ext cx="318313" cy="1384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ea typeface="+mn-ea"/>
                <a:cs typeface="+mn-cs"/>
              </a:rPr>
              <a:t>2017</a:t>
            </a:r>
            <a:endParaRPr kumimoji="0" lang="en-US" sz="600" b="0" i="1" u="none" strike="noStrike" kern="1200" cap="none" spc="0" normalizeH="0" baseline="0" noProof="0">
              <a:ln>
                <a:noFill/>
              </a:ln>
              <a:solidFill>
                <a:schemeClr val="bg2"/>
              </a:solidFill>
              <a:effectLst/>
              <a:uLnTx/>
              <a:uFillTx/>
              <a:ea typeface="+mn-ea"/>
              <a:cs typeface="+mn-cs"/>
            </a:endParaRPr>
          </a:p>
        </p:txBody>
      </p:sp>
      <p:sp>
        <p:nvSpPr>
          <p:cNvPr id="192" name="Rectangle 191">
            <a:extLst>
              <a:ext uri="{FF2B5EF4-FFF2-40B4-BE49-F238E27FC236}">
                <a16:creationId xmlns:a16="http://schemas.microsoft.com/office/drawing/2014/main" id="{9630E710-8E8D-4D57-BEC7-988E3DB2A344}"/>
              </a:ext>
            </a:extLst>
          </p:cNvPr>
          <p:cNvSpPr/>
          <p:nvPr/>
        </p:nvSpPr>
        <p:spPr>
          <a:xfrm>
            <a:off x="1414402" y="2043201"/>
            <a:ext cx="318313" cy="1384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ea typeface="+mn-ea"/>
                <a:cs typeface="+mn-cs"/>
              </a:rPr>
              <a:t>2009</a:t>
            </a:r>
            <a:endParaRPr kumimoji="0" lang="en-US" sz="600" b="0" i="1" u="none" strike="noStrike" kern="1200" cap="none" spc="0" normalizeH="0" baseline="0" noProof="0">
              <a:ln>
                <a:noFill/>
              </a:ln>
              <a:solidFill>
                <a:schemeClr val="bg2"/>
              </a:solidFill>
              <a:effectLst/>
              <a:uLnTx/>
              <a:uFillTx/>
              <a:ea typeface="+mn-ea"/>
              <a:cs typeface="+mn-cs"/>
            </a:endParaRPr>
          </a:p>
        </p:txBody>
      </p:sp>
      <p:sp>
        <p:nvSpPr>
          <p:cNvPr id="193" name="Rectangle 192">
            <a:extLst>
              <a:ext uri="{FF2B5EF4-FFF2-40B4-BE49-F238E27FC236}">
                <a16:creationId xmlns:a16="http://schemas.microsoft.com/office/drawing/2014/main" id="{630ED315-507C-43EA-A4B1-810B78E9770E}"/>
              </a:ext>
            </a:extLst>
          </p:cNvPr>
          <p:cNvSpPr/>
          <p:nvPr/>
        </p:nvSpPr>
        <p:spPr>
          <a:xfrm>
            <a:off x="2456149" y="2043201"/>
            <a:ext cx="318313" cy="1384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ea typeface="+mn-ea"/>
                <a:cs typeface="+mn-cs"/>
              </a:rPr>
              <a:t>2011</a:t>
            </a:r>
            <a:endParaRPr kumimoji="0" lang="en-US" sz="600" b="0" i="1" u="none" strike="noStrike" kern="1200" cap="none" spc="0" normalizeH="0" baseline="0" noProof="0">
              <a:ln>
                <a:noFill/>
              </a:ln>
              <a:solidFill>
                <a:schemeClr val="bg2"/>
              </a:solidFill>
              <a:effectLst/>
              <a:uLnTx/>
              <a:uFillTx/>
              <a:ea typeface="+mn-ea"/>
              <a:cs typeface="+mn-cs"/>
            </a:endParaRPr>
          </a:p>
        </p:txBody>
      </p:sp>
      <p:sp>
        <p:nvSpPr>
          <p:cNvPr id="194" name="Rectangle 193">
            <a:extLst>
              <a:ext uri="{FF2B5EF4-FFF2-40B4-BE49-F238E27FC236}">
                <a16:creationId xmlns:a16="http://schemas.microsoft.com/office/drawing/2014/main" id="{F9D6F3BD-E64A-4CB3-8EB0-9E962B93288B}"/>
              </a:ext>
            </a:extLst>
          </p:cNvPr>
          <p:cNvSpPr/>
          <p:nvPr/>
        </p:nvSpPr>
        <p:spPr>
          <a:xfrm>
            <a:off x="6623139" y="2043201"/>
            <a:ext cx="318313" cy="13849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chemeClr val="bg2"/>
                </a:solidFill>
                <a:effectLst/>
                <a:uLnTx/>
                <a:uFillTx/>
                <a:ea typeface="+mn-ea"/>
                <a:cs typeface="+mn-cs"/>
              </a:rPr>
              <a:t>2019</a:t>
            </a:r>
            <a:endParaRPr kumimoji="0" lang="en-US" sz="600" b="0" i="1" u="none" strike="noStrike" kern="1200" cap="none" spc="0" normalizeH="0" baseline="0" noProof="0">
              <a:ln>
                <a:noFill/>
              </a:ln>
              <a:solidFill>
                <a:schemeClr val="bg2"/>
              </a:solidFill>
              <a:effectLst/>
              <a:uLnTx/>
              <a:uFillTx/>
              <a:ea typeface="+mn-ea"/>
              <a:cs typeface="+mn-cs"/>
            </a:endParaRPr>
          </a:p>
        </p:txBody>
      </p:sp>
      <p:cxnSp>
        <p:nvCxnSpPr>
          <p:cNvPr id="11" name="Straight Connector 10">
            <a:extLst>
              <a:ext uri="{FF2B5EF4-FFF2-40B4-BE49-F238E27FC236}">
                <a16:creationId xmlns:a16="http://schemas.microsoft.com/office/drawing/2014/main" id="{77D53569-9E22-441B-84D0-68B9EE870316}"/>
              </a:ext>
            </a:extLst>
          </p:cNvPr>
          <p:cNvCxnSpPr/>
          <p:nvPr/>
        </p:nvCxnSpPr>
        <p:spPr>
          <a:xfrm>
            <a:off x="1424756" y="3648526"/>
            <a:ext cx="64214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8339717-7A57-4993-8B93-D607FA98BB36}"/>
              </a:ext>
            </a:extLst>
          </p:cNvPr>
          <p:cNvCxnSpPr/>
          <p:nvPr/>
        </p:nvCxnSpPr>
        <p:spPr>
          <a:xfrm>
            <a:off x="1626112" y="3728355"/>
            <a:ext cx="642146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71296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cxnSp>
        <p:nvCxnSpPr>
          <p:cNvPr id="30" name="Straight Connector 29">
            <a:extLst>
              <a:ext uri="{FF2B5EF4-FFF2-40B4-BE49-F238E27FC236}">
                <a16:creationId xmlns:a16="http://schemas.microsoft.com/office/drawing/2014/main" id="{57EE2ADF-11F2-4407-A910-7358AFDF057D}"/>
              </a:ext>
            </a:extLst>
          </p:cNvPr>
          <p:cNvCxnSpPr>
            <a:cxnSpLocks/>
          </p:cNvCxnSpPr>
          <p:nvPr/>
        </p:nvCxnSpPr>
        <p:spPr>
          <a:xfrm>
            <a:off x="2373313" y="1795775"/>
            <a:ext cx="4397375" cy="0"/>
          </a:xfrm>
          <a:prstGeom prst="line">
            <a:avLst/>
          </a:prstGeom>
          <a:ln>
            <a:solidFill>
              <a:schemeClr val="accent4"/>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2B63A8F4-0197-4181-B4F8-9EF1F562191B}"/>
              </a:ext>
            </a:extLst>
          </p:cNvPr>
          <p:cNvSpPr/>
          <p:nvPr/>
        </p:nvSpPr>
        <p:spPr>
          <a:xfrm>
            <a:off x="2959100" y="1692246"/>
            <a:ext cx="2748147" cy="207058"/>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8" name="Straight Connector 147">
            <a:extLst>
              <a:ext uri="{FF2B5EF4-FFF2-40B4-BE49-F238E27FC236}">
                <a16:creationId xmlns:a16="http://schemas.microsoft.com/office/drawing/2014/main" id="{B179D2D4-F730-4F80-81CC-EE8D25380C6A}"/>
              </a:ext>
            </a:extLst>
          </p:cNvPr>
          <p:cNvCxnSpPr>
            <a:cxnSpLocks/>
          </p:cNvCxnSpPr>
          <p:nvPr/>
        </p:nvCxnSpPr>
        <p:spPr>
          <a:xfrm>
            <a:off x="2373313" y="2737360"/>
            <a:ext cx="4397375" cy="0"/>
          </a:xfrm>
          <a:prstGeom prst="line">
            <a:avLst/>
          </a:prstGeom>
          <a:ln>
            <a:solidFill>
              <a:schemeClr val="accent4"/>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9" name="Rectangle 148">
            <a:extLst>
              <a:ext uri="{FF2B5EF4-FFF2-40B4-BE49-F238E27FC236}">
                <a16:creationId xmlns:a16="http://schemas.microsoft.com/office/drawing/2014/main" id="{5F8A8FB4-E7CF-479E-A206-1B4D624AAD7E}"/>
              </a:ext>
            </a:extLst>
          </p:cNvPr>
          <p:cNvSpPr/>
          <p:nvPr/>
        </p:nvSpPr>
        <p:spPr>
          <a:xfrm>
            <a:off x="3016233" y="2633831"/>
            <a:ext cx="2984515" cy="207058"/>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0" name="Straight Connector 149">
            <a:extLst>
              <a:ext uri="{FF2B5EF4-FFF2-40B4-BE49-F238E27FC236}">
                <a16:creationId xmlns:a16="http://schemas.microsoft.com/office/drawing/2014/main" id="{604FD797-C450-4A28-BB09-6F1F1CA83D1E}"/>
              </a:ext>
            </a:extLst>
          </p:cNvPr>
          <p:cNvCxnSpPr>
            <a:cxnSpLocks/>
          </p:cNvCxnSpPr>
          <p:nvPr/>
        </p:nvCxnSpPr>
        <p:spPr>
          <a:xfrm>
            <a:off x="2373313" y="3684793"/>
            <a:ext cx="4397375" cy="0"/>
          </a:xfrm>
          <a:prstGeom prst="line">
            <a:avLst/>
          </a:prstGeom>
          <a:ln>
            <a:solidFill>
              <a:schemeClr val="accent4"/>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1" name="Rectangle 150">
            <a:extLst>
              <a:ext uri="{FF2B5EF4-FFF2-40B4-BE49-F238E27FC236}">
                <a16:creationId xmlns:a16="http://schemas.microsoft.com/office/drawing/2014/main" id="{6CBF1ADB-F755-4BE4-A20E-EAF155176B42}"/>
              </a:ext>
            </a:extLst>
          </p:cNvPr>
          <p:cNvSpPr/>
          <p:nvPr/>
        </p:nvSpPr>
        <p:spPr>
          <a:xfrm>
            <a:off x="2959100" y="3581264"/>
            <a:ext cx="2991140" cy="207058"/>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Title 1">
            <a:extLst>
              <a:ext uri="{FF2B5EF4-FFF2-40B4-BE49-F238E27FC236}">
                <a16:creationId xmlns:a16="http://schemas.microsoft.com/office/drawing/2014/main" id="{62E94876-640B-4136-8CA5-257839110663}"/>
              </a:ext>
            </a:extLst>
          </p:cNvPr>
          <p:cNvSpPr>
            <a:spLocks noGrp="1"/>
          </p:cNvSpPr>
          <p:nvPr>
            <p:ph type="title"/>
          </p:nvPr>
        </p:nvSpPr>
        <p:spPr>
          <a:xfrm>
            <a:off x="533400" y="630803"/>
            <a:ext cx="8077200" cy="430887"/>
          </a:xfrm>
        </p:spPr>
        <p:txBody>
          <a:bodyPr/>
          <a:lstStyle/>
          <a:p>
            <a:r>
              <a:rPr lang="en-US">
                <a:solidFill>
                  <a:schemeClr val="bg2"/>
                </a:solidFill>
              </a:rPr>
              <a:t>Move faster and do more with smarter security</a:t>
            </a:r>
          </a:p>
        </p:txBody>
      </p:sp>
      <p:sp>
        <p:nvSpPr>
          <p:cNvPr id="108" name="Open APIs">
            <a:extLst>
              <a:ext uri="{FF2B5EF4-FFF2-40B4-BE49-F238E27FC236}">
                <a16:creationId xmlns:a16="http://schemas.microsoft.com/office/drawing/2014/main" id="{C9FBA5F5-7202-41A2-9FA3-7E81EEB67A4C}"/>
              </a:ext>
            </a:extLst>
          </p:cNvPr>
          <p:cNvSpPr/>
          <p:nvPr/>
        </p:nvSpPr>
        <p:spPr>
          <a:xfrm>
            <a:off x="1198008" y="1611109"/>
            <a:ext cx="387927" cy="369332"/>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t>Open</a:t>
            </a:r>
            <a:b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br>
            <a: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t>APIs</a:t>
            </a:r>
          </a:p>
        </p:txBody>
      </p:sp>
      <p:sp>
        <p:nvSpPr>
          <p:cNvPr id="15386" name="Security Standards">
            <a:extLst>
              <a:ext uri="{FF2B5EF4-FFF2-40B4-BE49-F238E27FC236}">
                <a16:creationId xmlns:a16="http://schemas.microsoft.com/office/drawing/2014/main" id="{E94B28A4-2481-42DC-AB5A-1D858D542B32}"/>
              </a:ext>
            </a:extLst>
          </p:cNvPr>
          <p:cNvSpPr/>
          <p:nvPr/>
        </p:nvSpPr>
        <p:spPr>
          <a:xfrm>
            <a:off x="1040112" y="2552694"/>
            <a:ext cx="703719" cy="369332"/>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t>Security</a:t>
            </a:r>
            <a:b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br>
            <a: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t>standards</a:t>
            </a:r>
          </a:p>
        </p:txBody>
      </p:sp>
      <p:sp>
        <p:nvSpPr>
          <p:cNvPr id="114" name="Published open...">
            <a:extLst>
              <a:ext uri="{FF2B5EF4-FFF2-40B4-BE49-F238E27FC236}">
                <a16:creationId xmlns:a16="http://schemas.microsoft.com/office/drawing/2014/main" id="{2231DCB6-BB69-40CA-BF3B-C59898DD9FA1}"/>
              </a:ext>
            </a:extLst>
          </p:cNvPr>
          <p:cNvSpPr/>
          <p:nvPr/>
        </p:nvSpPr>
        <p:spPr>
          <a:xfrm>
            <a:off x="945535" y="3500127"/>
            <a:ext cx="892873" cy="369332"/>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t>Published</a:t>
            </a:r>
            <a:b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br>
            <a: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t>open source</a:t>
            </a:r>
          </a:p>
        </p:txBody>
      </p:sp>
      <p:sp>
        <p:nvSpPr>
          <p:cNvPr id="15381" name="Academic and industry...">
            <a:extLst>
              <a:ext uri="{FF2B5EF4-FFF2-40B4-BE49-F238E27FC236}">
                <a16:creationId xmlns:a16="http://schemas.microsoft.com/office/drawing/2014/main" id="{8C91DAB3-9B20-4575-843E-B2E0BB7B6085}"/>
              </a:ext>
            </a:extLst>
          </p:cNvPr>
          <p:cNvSpPr txBox="1"/>
          <p:nvPr/>
        </p:nvSpPr>
        <p:spPr>
          <a:xfrm>
            <a:off x="6908449" y="1611109"/>
            <a:ext cx="1687963" cy="369332"/>
          </a:xfrm>
          <a:prstGeom prst="rect">
            <a:avLst/>
          </a:prstGeom>
          <a:noFill/>
        </p:spPr>
        <p:txBody>
          <a:bodyPr wrap="none" lIns="0" tIns="0" rIns="0" bIns="0" rtlCol="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t>Academic and industry</a:t>
            </a:r>
            <a:b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br>
            <a: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t>validated technology</a:t>
            </a:r>
          </a:p>
        </p:txBody>
      </p:sp>
      <p:sp>
        <p:nvSpPr>
          <p:cNvPr id="157" name="Shared policy...">
            <a:extLst>
              <a:ext uri="{FF2B5EF4-FFF2-40B4-BE49-F238E27FC236}">
                <a16:creationId xmlns:a16="http://schemas.microsoft.com/office/drawing/2014/main" id="{821CA10B-54B8-411A-84E7-2BFA70C24505}"/>
              </a:ext>
            </a:extLst>
          </p:cNvPr>
          <p:cNvSpPr txBox="1"/>
          <p:nvPr/>
        </p:nvSpPr>
        <p:spPr>
          <a:xfrm>
            <a:off x="6903640" y="2552694"/>
            <a:ext cx="1697581" cy="369332"/>
          </a:xfrm>
          <a:prstGeom prst="rect">
            <a:avLst/>
          </a:prstGeom>
          <a:noFill/>
        </p:spPr>
        <p:txBody>
          <a:bodyPr wrap="none" lIns="0" tIns="0" rIns="0" bIns="0" rtlCol="0" anchor="ctr">
            <a:spAutoFit/>
          </a:bodyPr>
          <a:lstStyle/>
          <a:p>
            <a:pPr marR="0" lvl="0" algn="ctr" defTabSz="457200" rtl="0" eaLnBrk="1" fontAlgn="base" latinLnBrk="0" hangingPunct="1">
              <a:lnSpc>
                <a:spcPct val="100000"/>
              </a:lnSpc>
              <a:spcBef>
                <a:spcPct val="0"/>
              </a:spcBef>
              <a:spcAft>
                <a:spcPct val="0"/>
              </a:spcAft>
              <a:buClrTx/>
              <a:buSzTx/>
              <a:tabLst/>
              <a:defRPr/>
            </a:pPr>
            <a: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t>Shared policy, context</a:t>
            </a:r>
            <a:r>
              <a:rPr kumimoji="0" lang="en-US" sz="1200" b="0" i="0" u="none" strike="noStrike" kern="1200" cap="none" spc="0" normalizeH="0" baseline="0" noProof="0">
                <a:ln>
                  <a:noFill/>
                </a:ln>
                <a:solidFill>
                  <a:schemeClr val="bg2"/>
                </a:solidFill>
                <a:effectLst/>
                <a:uLnTx/>
                <a:uFillTx/>
                <a:latin typeface="CiscoSansTT" panose="020B0503020201020303" pitchFamily="34" charset="0"/>
              </a:rPr>
              <a:t>,</a:t>
            </a:r>
            <a:endParaRPr lang="en-US" sz="1200">
              <a:solidFill>
                <a:schemeClr val="bg2"/>
              </a:solidFill>
              <a:latin typeface="CiscoSansTT" panose="020B0503020201020303" pitchFamily="34" charset="0"/>
            </a:endParaRPr>
          </a:p>
          <a:p>
            <a:pPr marR="0" lvl="0" algn="ctr" defTabSz="457200" rtl="0" eaLnBrk="1" fontAlgn="base" latinLnBrk="0" hangingPunct="1">
              <a:lnSpc>
                <a:spcPct val="100000"/>
              </a:lnSpc>
              <a:spcBef>
                <a:spcPct val="0"/>
              </a:spcBef>
              <a:spcAft>
                <a:spcPct val="0"/>
              </a:spcAft>
              <a:buClrTx/>
              <a:buSzTx/>
              <a:tabLst/>
              <a:defRPr/>
            </a:pPr>
            <a:r>
              <a:rPr lang="en-US" sz="1200">
                <a:solidFill>
                  <a:schemeClr val="bg2"/>
                </a:solidFill>
                <a:latin typeface="CiscoSansTT" panose="020B0503020201020303" pitchFamily="34" charset="0"/>
              </a:rPr>
              <a:t>and</a:t>
            </a:r>
            <a: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t> data</a:t>
            </a:r>
          </a:p>
        </p:txBody>
      </p:sp>
      <p:sp>
        <p:nvSpPr>
          <p:cNvPr id="313" name="Talos Security....">
            <a:extLst>
              <a:ext uri="{FF2B5EF4-FFF2-40B4-BE49-F238E27FC236}">
                <a16:creationId xmlns:a16="http://schemas.microsoft.com/office/drawing/2014/main" id="{F400B53A-6954-47D5-945A-973B7DBFCDF3}"/>
              </a:ext>
            </a:extLst>
          </p:cNvPr>
          <p:cNvSpPr txBox="1"/>
          <p:nvPr/>
        </p:nvSpPr>
        <p:spPr>
          <a:xfrm>
            <a:off x="7233859" y="3500127"/>
            <a:ext cx="1037143" cy="369332"/>
          </a:xfrm>
          <a:prstGeom prst="rect">
            <a:avLst/>
          </a:prstGeom>
          <a:noFill/>
        </p:spPr>
        <p:txBody>
          <a:bodyPr wrap="none" lIns="0" tIns="0" rIns="0" bIns="0" rtlCol="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err="1">
                <a:ln>
                  <a:noFill/>
                </a:ln>
                <a:solidFill>
                  <a:schemeClr val="bg2"/>
                </a:solidFill>
                <a:effectLst/>
                <a:uLnTx/>
                <a:uFillTx/>
                <a:latin typeface="CiscoSansTT" panose="020B0503020201020303" pitchFamily="34" charset="0"/>
                <a:ea typeface="ＭＳ Ｐゴシック" charset="0"/>
              </a:rPr>
              <a:t>Talos</a:t>
            </a:r>
            <a: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t> security </a:t>
            </a:r>
            <a:b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br>
            <a:r>
              <a:rPr kumimoji="0" lang="en-US" sz="12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t>expertise</a:t>
            </a:r>
          </a:p>
        </p:txBody>
      </p:sp>
      <p:sp>
        <p:nvSpPr>
          <p:cNvPr id="58" name="Arc 57">
            <a:extLst>
              <a:ext uri="{FF2B5EF4-FFF2-40B4-BE49-F238E27FC236}">
                <a16:creationId xmlns:a16="http://schemas.microsoft.com/office/drawing/2014/main" id="{18114D98-B188-4DD1-99AC-BD39A80779BC}"/>
              </a:ext>
            </a:extLst>
          </p:cNvPr>
          <p:cNvSpPr>
            <a:spLocks/>
          </p:cNvSpPr>
          <p:nvPr/>
        </p:nvSpPr>
        <p:spPr>
          <a:xfrm rot="13500000">
            <a:off x="3302432" y="1561011"/>
            <a:ext cx="2412431" cy="2414547"/>
          </a:xfrm>
          <a:prstGeom prst="arc">
            <a:avLst>
              <a:gd name="adj1" fmla="val 2702021"/>
              <a:gd name="adj2" fmla="val 14226927"/>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cxnSp>
        <p:nvCxnSpPr>
          <p:cNvPr id="123" name="Straight Connector 122">
            <a:extLst>
              <a:ext uri="{FF2B5EF4-FFF2-40B4-BE49-F238E27FC236}">
                <a16:creationId xmlns:a16="http://schemas.microsoft.com/office/drawing/2014/main" id="{B024C1DF-878D-4825-B9B5-62CDC63820FF}"/>
              </a:ext>
            </a:extLst>
          </p:cNvPr>
          <p:cNvCxnSpPr>
            <a:cxnSpLocks/>
          </p:cNvCxnSpPr>
          <p:nvPr/>
        </p:nvCxnSpPr>
        <p:spPr>
          <a:xfrm>
            <a:off x="5490725" y="1570376"/>
            <a:ext cx="0" cy="48550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4A789147-6499-4C26-AB40-BDD533BA41C9}"/>
              </a:ext>
            </a:extLst>
          </p:cNvPr>
          <p:cNvCxnSpPr>
            <a:cxnSpLocks/>
          </p:cNvCxnSpPr>
          <p:nvPr/>
        </p:nvCxnSpPr>
        <p:spPr>
          <a:xfrm>
            <a:off x="5438554" y="1835685"/>
            <a:ext cx="0" cy="15702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4" name="Rectangle: Rounded Corners 163">
            <a:extLst>
              <a:ext uri="{FF2B5EF4-FFF2-40B4-BE49-F238E27FC236}">
                <a16:creationId xmlns:a16="http://schemas.microsoft.com/office/drawing/2014/main" id="{25EF1838-D3F3-436F-B251-19E675BCFA22}"/>
              </a:ext>
            </a:extLst>
          </p:cNvPr>
          <p:cNvSpPr/>
          <p:nvPr/>
        </p:nvSpPr>
        <p:spPr>
          <a:xfrm>
            <a:off x="3366653" y="1755030"/>
            <a:ext cx="699490" cy="437182"/>
          </a:xfrm>
          <a:prstGeom prst="roundRect">
            <a:avLst/>
          </a:prstGeom>
          <a:solidFill>
            <a:schemeClr val="bg2">
              <a:alpha val="40000"/>
            </a:schemeClr>
          </a:solidFill>
          <a:ln w="9239" cap="flat">
            <a:noFill/>
            <a:prstDash val="solid"/>
            <a:miter/>
          </a:ln>
        </p:spPr>
        <p:txBody>
          <a:bodyPr rtlCol="0" anchor="ctr"/>
          <a:lstStyle/>
          <a:p>
            <a:endParaRPr lang="en-US" sz="1400"/>
          </a:p>
        </p:txBody>
      </p:sp>
      <p:sp>
        <p:nvSpPr>
          <p:cNvPr id="162" name="Rectangle: Rounded Corners 161">
            <a:extLst>
              <a:ext uri="{FF2B5EF4-FFF2-40B4-BE49-F238E27FC236}">
                <a16:creationId xmlns:a16="http://schemas.microsoft.com/office/drawing/2014/main" id="{1E787B4C-1F01-42CF-9876-942BC5537937}"/>
              </a:ext>
            </a:extLst>
          </p:cNvPr>
          <p:cNvSpPr/>
          <p:nvPr/>
        </p:nvSpPr>
        <p:spPr>
          <a:xfrm>
            <a:off x="3194295" y="1641257"/>
            <a:ext cx="699489" cy="437182"/>
          </a:xfrm>
          <a:prstGeom prst="roundRect">
            <a:avLst/>
          </a:prstGeom>
          <a:solidFill>
            <a:schemeClr val="bg2">
              <a:alpha val="40000"/>
            </a:schemeClr>
          </a:solidFill>
          <a:ln w="9239" cap="flat">
            <a:noFill/>
            <a:prstDash val="solid"/>
            <a:miter/>
          </a:ln>
        </p:spPr>
        <p:txBody>
          <a:bodyPr rtlCol="0" anchor="ctr"/>
          <a:lstStyle/>
          <a:p>
            <a:endParaRPr lang="en-US" sz="1400">
              <a:latin typeface="Arial" charset="0"/>
              <a:ea typeface="ＭＳ Ｐゴシック" charset="0"/>
            </a:endParaRPr>
          </a:p>
        </p:txBody>
      </p:sp>
      <p:sp>
        <p:nvSpPr>
          <p:cNvPr id="25" name="Oval 24">
            <a:extLst>
              <a:ext uri="{FF2B5EF4-FFF2-40B4-BE49-F238E27FC236}">
                <a16:creationId xmlns:a16="http://schemas.microsoft.com/office/drawing/2014/main" id="{02F1D14B-9583-4572-AB90-8852BC3B44A3}"/>
              </a:ext>
            </a:extLst>
          </p:cNvPr>
          <p:cNvSpPr/>
          <p:nvPr/>
        </p:nvSpPr>
        <p:spPr>
          <a:xfrm rot="20779670">
            <a:off x="3406744" y="3377644"/>
            <a:ext cx="2505444" cy="622345"/>
          </a:xfrm>
          <a:prstGeom prst="ellipse">
            <a:avLst/>
          </a:prstGeom>
          <a:solidFill>
            <a:schemeClr val="accent4">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cxnSp>
        <p:nvCxnSpPr>
          <p:cNvPr id="122" name="Straight Connector 121">
            <a:extLst>
              <a:ext uri="{FF2B5EF4-FFF2-40B4-BE49-F238E27FC236}">
                <a16:creationId xmlns:a16="http://schemas.microsoft.com/office/drawing/2014/main" id="{204DA598-49F1-473D-BFB7-5CBCB0765229}"/>
              </a:ext>
            </a:extLst>
          </p:cNvPr>
          <p:cNvCxnSpPr>
            <a:cxnSpLocks/>
          </p:cNvCxnSpPr>
          <p:nvPr/>
        </p:nvCxnSpPr>
        <p:spPr>
          <a:xfrm>
            <a:off x="3923777" y="3882652"/>
            <a:ext cx="0" cy="48550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2" name="Freeform: Shape 101">
            <a:extLst>
              <a:ext uri="{FF2B5EF4-FFF2-40B4-BE49-F238E27FC236}">
                <a16:creationId xmlns:a16="http://schemas.microsoft.com/office/drawing/2014/main" id="{229E35DB-B736-4F1F-ACCC-75DAB257FA03}"/>
              </a:ext>
            </a:extLst>
          </p:cNvPr>
          <p:cNvSpPr/>
          <p:nvPr/>
        </p:nvSpPr>
        <p:spPr>
          <a:xfrm>
            <a:off x="3413648" y="1683595"/>
            <a:ext cx="1058058" cy="2164530"/>
          </a:xfrm>
          <a:custGeom>
            <a:avLst/>
            <a:gdLst>
              <a:gd name="connsiteX0" fmla="*/ 1256269 w 1256269"/>
              <a:gd name="connsiteY0" fmla="*/ 0 h 2570021"/>
              <a:gd name="connsiteX1" fmla="*/ 1256269 w 1256269"/>
              <a:gd name="connsiteY1" fmla="*/ 2570021 h 2570021"/>
              <a:gd name="connsiteX2" fmla="*/ 1154998 w 1256269"/>
              <a:gd name="connsiteY2" fmla="*/ 2564907 h 2570021"/>
              <a:gd name="connsiteX3" fmla="*/ 0 w 1256269"/>
              <a:gd name="connsiteY3" fmla="*/ 1285010 h 2570021"/>
              <a:gd name="connsiteX4" fmla="*/ 1154998 w 1256269"/>
              <a:gd name="connsiteY4" fmla="*/ 5113 h 2570021"/>
              <a:gd name="connsiteX5" fmla="*/ 1256269 w 1256269"/>
              <a:gd name="connsiteY5" fmla="*/ 0 h 2570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269" h="2570021">
                <a:moveTo>
                  <a:pt x="1256269" y="0"/>
                </a:moveTo>
                <a:lnTo>
                  <a:pt x="1256269" y="2570021"/>
                </a:lnTo>
                <a:lnTo>
                  <a:pt x="1154998" y="2564907"/>
                </a:lnTo>
                <a:cubicBezTo>
                  <a:pt x="506253" y="2499023"/>
                  <a:pt x="0" y="1951138"/>
                  <a:pt x="0" y="1285010"/>
                </a:cubicBezTo>
                <a:cubicBezTo>
                  <a:pt x="0" y="618883"/>
                  <a:pt x="506253" y="70997"/>
                  <a:pt x="1154998" y="5113"/>
                </a:cubicBezTo>
                <a:lnTo>
                  <a:pt x="1256269" y="0"/>
                </a:lnTo>
                <a:close/>
              </a:path>
            </a:pathLst>
          </a:custGeom>
          <a:solidFill>
            <a:schemeClr val="accent2">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sp>
        <p:nvSpPr>
          <p:cNvPr id="101" name="Freeform: Shape 100">
            <a:extLst>
              <a:ext uri="{FF2B5EF4-FFF2-40B4-BE49-F238E27FC236}">
                <a16:creationId xmlns:a16="http://schemas.microsoft.com/office/drawing/2014/main" id="{F25ECD70-8483-4FC2-B935-9A3CF616C8F4}"/>
              </a:ext>
            </a:extLst>
          </p:cNvPr>
          <p:cNvSpPr/>
          <p:nvPr/>
        </p:nvSpPr>
        <p:spPr>
          <a:xfrm>
            <a:off x="4522694" y="1680704"/>
            <a:ext cx="1058057" cy="2164530"/>
          </a:xfrm>
          <a:custGeom>
            <a:avLst/>
            <a:gdLst>
              <a:gd name="connsiteX0" fmla="*/ 0 w 1256268"/>
              <a:gd name="connsiteY0" fmla="*/ 0 h 2570021"/>
              <a:gd name="connsiteX1" fmla="*/ 101270 w 1256268"/>
              <a:gd name="connsiteY1" fmla="*/ 5113 h 2570021"/>
              <a:gd name="connsiteX2" fmla="*/ 1256268 w 1256268"/>
              <a:gd name="connsiteY2" fmla="*/ 1285010 h 2570021"/>
              <a:gd name="connsiteX3" fmla="*/ 101270 w 1256268"/>
              <a:gd name="connsiteY3" fmla="*/ 2564907 h 2570021"/>
              <a:gd name="connsiteX4" fmla="*/ 0 w 1256268"/>
              <a:gd name="connsiteY4" fmla="*/ 2570021 h 2570021"/>
              <a:gd name="connsiteX5" fmla="*/ 0 w 1256268"/>
              <a:gd name="connsiteY5" fmla="*/ 0 h 2570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6268" h="2570021">
                <a:moveTo>
                  <a:pt x="0" y="0"/>
                </a:moveTo>
                <a:lnTo>
                  <a:pt x="101270" y="5113"/>
                </a:lnTo>
                <a:cubicBezTo>
                  <a:pt x="750015" y="70997"/>
                  <a:pt x="1256268" y="618883"/>
                  <a:pt x="1256268" y="1285010"/>
                </a:cubicBezTo>
                <a:cubicBezTo>
                  <a:pt x="1256268" y="1951138"/>
                  <a:pt x="750015" y="2499023"/>
                  <a:pt x="101270" y="2564907"/>
                </a:cubicBezTo>
                <a:lnTo>
                  <a:pt x="0" y="2570021"/>
                </a:lnTo>
                <a:lnTo>
                  <a:pt x="0" y="0"/>
                </a:lnTo>
                <a:close/>
              </a:path>
            </a:pathLst>
          </a:custGeom>
          <a:solidFill>
            <a:schemeClr val="accent4">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9" name="Arc 58">
            <a:extLst>
              <a:ext uri="{FF2B5EF4-FFF2-40B4-BE49-F238E27FC236}">
                <a16:creationId xmlns:a16="http://schemas.microsoft.com/office/drawing/2014/main" id="{A199C0FA-A4DC-4FFA-8C96-C278315BFCCE}"/>
              </a:ext>
            </a:extLst>
          </p:cNvPr>
          <p:cNvSpPr>
            <a:spLocks/>
          </p:cNvSpPr>
          <p:nvPr/>
        </p:nvSpPr>
        <p:spPr>
          <a:xfrm>
            <a:off x="3229426" y="1480370"/>
            <a:ext cx="2549771" cy="2552010"/>
          </a:xfrm>
          <a:prstGeom prst="arc">
            <a:avLst>
              <a:gd name="adj1" fmla="val 20766701"/>
              <a:gd name="adj2" fmla="val 13219287"/>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cxnSp>
        <p:nvCxnSpPr>
          <p:cNvPr id="20" name="Straight Connector 19">
            <a:extLst>
              <a:ext uri="{FF2B5EF4-FFF2-40B4-BE49-F238E27FC236}">
                <a16:creationId xmlns:a16="http://schemas.microsoft.com/office/drawing/2014/main" id="{99F4D98C-DA43-41C5-B8E1-54ABC3A04288}"/>
              </a:ext>
            </a:extLst>
          </p:cNvPr>
          <p:cNvCxnSpPr/>
          <p:nvPr/>
        </p:nvCxnSpPr>
        <p:spPr>
          <a:xfrm>
            <a:off x="4918095" y="1367512"/>
            <a:ext cx="0" cy="27097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44E2B72-CCF4-4B7F-B0D0-FD843FD831E1}"/>
              </a:ext>
            </a:extLst>
          </p:cNvPr>
          <p:cNvCxnSpPr/>
          <p:nvPr/>
        </p:nvCxnSpPr>
        <p:spPr>
          <a:xfrm>
            <a:off x="3808540" y="3828847"/>
            <a:ext cx="0" cy="270971"/>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8" name="Isosceles Triangle 49">
            <a:extLst>
              <a:ext uri="{FF2B5EF4-FFF2-40B4-BE49-F238E27FC236}">
                <a16:creationId xmlns:a16="http://schemas.microsoft.com/office/drawing/2014/main" id="{FBBAF12A-859C-4D08-A9FC-67FCDB1D6038}"/>
              </a:ext>
            </a:extLst>
          </p:cNvPr>
          <p:cNvSpPr/>
          <p:nvPr/>
        </p:nvSpPr>
        <p:spPr>
          <a:xfrm>
            <a:off x="5452839" y="1463289"/>
            <a:ext cx="104342" cy="9100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tx1"/>
          </a:solidFill>
          <a:ln w="12700">
            <a:solidFill>
              <a:schemeClr val="bg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4" name="Arc 23">
            <a:extLst>
              <a:ext uri="{FF2B5EF4-FFF2-40B4-BE49-F238E27FC236}">
                <a16:creationId xmlns:a16="http://schemas.microsoft.com/office/drawing/2014/main" id="{D8C4C697-11E7-4749-8E61-261E65A233A2}"/>
              </a:ext>
            </a:extLst>
          </p:cNvPr>
          <p:cNvSpPr/>
          <p:nvPr/>
        </p:nvSpPr>
        <p:spPr>
          <a:xfrm rot="20761273">
            <a:off x="3069603" y="3146760"/>
            <a:ext cx="3108478" cy="822948"/>
          </a:xfrm>
          <a:prstGeom prst="arc">
            <a:avLst>
              <a:gd name="adj1" fmla="val 21121135"/>
              <a:gd name="adj2" fmla="val 11862577"/>
            </a:avLst>
          </a:prstGeom>
          <a:ln w="19050">
            <a:solidFill>
              <a:schemeClr val="accent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cxnSp>
        <p:nvCxnSpPr>
          <p:cNvPr id="127" name="Straight Connector 126">
            <a:extLst>
              <a:ext uri="{FF2B5EF4-FFF2-40B4-BE49-F238E27FC236}">
                <a16:creationId xmlns:a16="http://schemas.microsoft.com/office/drawing/2014/main" id="{96DCDBD2-A00B-4AD2-A9E7-C10D3747C8CB}"/>
              </a:ext>
            </a:extLst>
          </p:cNvPr>
          <p:cNvCxnSpPr>
            <a:cxnSpLocks/>
          </p:cNvCxnSpPr>
          <p:nvPr/>
        </p:nvCxnSpPr>
        <p:spPr>
          <a:xfrm>
            <a:off x="5242037" y="1641153"/>
            <a:ext cx="0" cy="165668"/>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4" name="Cisco Security...">
            <a:extLst>
              <a:ext uri="{FF2B5EF4-FFF2-40B4-BE49-F238E27FC236}">
                <a16:creationId xmlns:a16="http://schemas.microsoft.com/office/drawing/2014/main" id="{707979FF-EFF1-48D4-9D5D-DF4514B5B6E2}"/>
              </a:ext>
            </a:extLst>
          </p:cNvPr>
          <p:cNvSpPr txBox="1"/>
          <p:nvPr/>
        </p:nvSpPr>
        <p:spPr>
          <a:xfrm rot="3102804">
            <a:off x="3658122" y="1850021"/>
            <a:ext cx="1759710" cy="1759710"/>
          </a:xfrm>
          <a:prstGeom prst="rect">
            <a:avLst/>
          </a:prstGeom>
          <a:noFill/>
        </p:spPr>
        <p:txBody>
          <a:bodyPr spcFirstLastPara="1" wrap="none" lIns="0" tIns="0" rIns="0" bIns="0" numCol="1" rtlCol="0">
            <a:prstTxWarp prst="textArchUp">
              <a:avLst>
                <a:gd name="adj" fmla="val 11137937"/>
              </a:avLst>
            </a:prstTxWarp>
            <a:spAutoFit/>
          </a:bodyPr>
          <a:lstStyle>
            <a:defPPr>
              <a:defRPr lang="en-US"/>
            </a:defPPr>
            <a:lvl1pPr marL="0" marR="0" lvl="0" indent="0" algn="ctr" eaLnBrk="1" latinLnBrk="0" hangingPunct="1">
              <a:lnSpc>
                <a:spcPct val="100000"/>
              </a:lnSpc>
              <a:buClrTx/>
              <a:buSzTx/>
              <a:buFontTx/>
              <a:buNone/>
              <a:tabLst/>
              <a:defRPr kumimoji="0" sz="1200" b="0" i="0" u="none" strike="noStrike" cap="none" spc="0" normalizeH="0" baseline="0">
                <a:ln>
                  <a:noFill/>
                </a:ln>
                <a:solidFill>
                  <a:schemeClr val="bg1"/>
                </a:solidFill>
                <a:effectLst/>
                <a:uLnTx/>
                <a:uFillTx/>
                <a:latin typeface="CiscoSansTT" panose="020B0503020201020303" pitchFamily="34" charset="0"/>
              </a:defRPr>
            </a:lvl1pPr>
          </a:lstStyle>
          <a:p>
            <a:r>
              <a:rPr lang="en-US" sz="1000">
                <a:solidFill>
                  <a:schemeClr val="bg2"/>
                </a:solidFill>
              </a:rPr>
              <a:t>Cisco Security</a:t>
            </a:r>
          </a:p>
        </p:txBody>
      </p:sp>
      <p:sp>
        <p:nvSpPr>
          <p:cNvPr id="126" name="3rd Party Interoperability...">
            <a:extLst>
              <a:ext uri="{FF2B5EF4-FFF2-40B4-BE49-F238E27FC236}">
                <a16:creationId xmlns:a16="http://schemas.microsoft.com/office/drawing/2014/main" id="{82A87284-BFA4-41E0-B367-57961E6F64F7}"/>
              </a:ext>
            </a:extLst>
          </p:cNvPr>
          <p:cNvSpPr txBox="1"/>
          <p:nvPr/>
        </p:nvSpPr>
        <p:spPr>
          <a:xfrm rot="18438527">
            <a:off x="3583688" y="1840768"/>
            <a:ext cx="1759710" cy="1759710"/>
          </a:xfrm>
          <a:prstGeom prst="rect">
            <a:avLst/>
          </a:prstGeom>
          <a:noFill/>
        </p:spPr>
        <p:txBody>
          <a:bodyPr wrap="none" lIns="0" tIns="0" rIns="0" bIns="0" rtlCol="0">
            <a:prstTxWarp prst="textArchUp">
              <a:avLst>
                <a:gd name="adj" fmla="val 11137937"/>
              </a:avLst>
            </a:prstTxWarp>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t>3</a:t>
            </a:r>
            <a:r>
              <a:rPr kumimoji="0" lang="en-US" sz="1000" b="0" i="0" u="none" strike="noStrike" kern="1200" cap="none" spc="0" normalizeH="0" baseline="30000" noProof="0">
                <a:ln>
                  <a:noFill/>
                </a:ln>
                <a:solidFill>
                  <a:schemeClr val="bg2"/>
                </a:solidFill>
                <a:effectLst/>
                <a:uLnTx/>
                <a:uFillTx/>
                <a:latin typeface="CiscoSansTT" panose="020B0503020201020303" pitchFamily="34" charset="0"/>
                <a:ea typeface="ＭＳ Ｐゴシック" charset="0"/>
              </a:rPr>
              <a:t>rd </a:t>
            </a:r>
            <a:r>
              <a:rPr kumimoji="0" lang="en-US" sz="1000" b="0" i="0" u="none" strike="noStrike" kern="1200" cap="none" spc="0" normalizeH="0" baseline="0" noProof="0">
                <a:ln>
                  <a:noFill/>
                </a:ln>
                <a:solidFill>
                  <a:schemeClr val="bg2"/>
                </a:solidFill>
                <a:effectLst/>
                <a:uLnTx/>
                <a:uFillTx/>
                <a:latin typeface="CiscoSansTT" panose="020B0503020201020303" pitchFamily="34" charset="0"/>
                <a:ea typeface="ＭＳ Ｐゴシック" charset="0"/>
              </a:rPr>
              <a:t>Party Interoperability</a:t>
            </a:r>
          </a:p>
        </p:txBody>
      </p:sp>
      <p:sp>
        <p:nvSpPr>
          <p:cNvPr id="247" name="Sea BLue Circle">
            <a:extLst>
              <a:ext uri="{FF2B5EF4-FFF2-40B4-BE49-F238E27FC236}">
                <a16:creationId xmlns:a16="http://schemas.microsoft.com/office/drawing/2014/main" id="{22A2F73C-58AB-4309-9FB8-A391480EBB60}"/>
              </a:ext>
            </a:extLst>
          </p:cNvPr>
          <p:cNvSpPr/>
          <p:nvPr/>
        </p:nvSpPr>
        <p:spPr>
          <a:xfrm>
            <a:off x="3742773" y="2004616"/>
            <a:ext cx="1523548" cy="1523548"/>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1E4471"/>
              </a:solidFill>
              <a:effectLst/>
              <a:uLnTx/>
              <a:uFillTx/>
              <a:latin typeface="CiscoSansTT ExtraLight"/>
              <a:ea typeface="+mn-ea"/>
              <a:cs typeface="+mn-cs"/>
            </a:endParaRPr>
          </a:p>
        </p:txBody>
      </p:sp>
      <p:sp>
        <p:nvSpPr>
          <p:cNvPr id="75" name="Contextual Awareness">
            <a:extLst>
              <a:ext uri="{FF2B5EF4-FFF2-40B4-BE49-F238E27FC236}">
                <a16:creationId xmlns:a16="http://schemas.microsoft.com/office/drawing/2014/main" id="{435CC0CA-EF67-4F9C-89EE-2FA31228F34A}"/>
              </a:ext>
            </a:extLst>
          </p:cNvPr>
          <p:cNvSpPr txBox="1"/>
          <p:nvPr/>
        </p:nvSpPr>
        <p:spPr>
          <a:xfrm rot="18900000">
            <a:off x="3849971" y="2112627"/>
            <a:ext cx="1287495" cy="1287496"/>
          </a:xfrm>
          <a:prstGeom prst="rect">
            <a:avLst/>
          </a:prstGeom>
          <a:noFill/>
        </p:spPr>
        <p:txBody>
          <a:bodyPr wrap="none" lIns="0" tIns="0" rIns="0" bIns="0" rtlCol="0" anchor="ctr">
            <a:prstTxWarp prst="textArchUp">
              <a:avLst>
                <a:gd name="adj" fmla="val 7816982"/>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chemeClr val="accent4"/>
                </a:solidFill>
                <a:effectLst/>
                <a:uLnTx/>
                <a:uFillTx/>
                <a:latin typeface="CiscoSansTT" panose="020B0503020201020303" pitchFamily="34" charset="0"/>
              </a:rPr>
              <a:t>Contextual awareness</a:t>
            </a:r>
          </a:p>
        </p:txBody>
      </p:sp>
      <p:sp>
        <p:nvSpPr>
          <p:cNvPr id="81" name="Behavioral Analytics">
            <a:extLst>
              <a:ext uri="{FF2B5EF4-FFF2-40B4-BE49-F238E27FC236}">
                <a16:creationId xmlns:a16="http://schemas.microsoft.com/office/drawing/2014/main" id="{C664CF95-766A-456E-847A-F7AC13661A8E}"/>
              </a:ext>
            </a:extLst>
          </p:cNvPr>
          <p:cNvSpPr txBox="1"/>
          <p:nvPr/>
        </p:nvSpPr>
        <p:spPr>
          <a:xfrm rot="2700000">
            <a:off x="3849971" y="2112627"/>
            <a:ext cx="1287496" cy="1287495"/>
          </a:xfrm>
          <a:prstGeom prst="rect">
            <a:avLst/>
          </a:prstGeom>
          <a:noFill/>
        </p:spPr>
        <p:txBody>
          <a:bodyPr wrap="none" lIns="0" tIns="0" rIns="0" bIns="0" rtlCol="0" anchor="ctr">
            <a:prstTxWarp prst="textArchUp">
              <a:avLst>
                <a:gd name="adj" fmla="val 7816982"/>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chemeClr val="bg2"/>
                </a:solidFill>
                <a:effectLst/>
                <a:uLnTx/>
                <a:uFillTx/>
                <a:latin typeface="CiscoSansTT" panose="020B0503020201020303" pitchFamily="34" charset="0"/>
              </a:rPr>
              <a:t>Behavioral </a:t>
            </a:r>
            <a:r>
              <a:rPr lang="en-US" sz="700">
                <a:solidFill>
                  <a:schemeClr val="bg2"/>
                </a:solidFill>
                <a:latin typeface="CiscoSansTT" panose="020B0503020201020303" pitchFamily="34" charset="0"/>
              </a:rPr>
              <a:t>analytics</a:t>
            </a:r>
            <a:endParaRPr kumimoji="0" lang="en-US" sz="700" b="0" i="0" u="none" strike="noStrike" kern="1200" cap="none" spc="0" normalizeH="0" baseline="0" noProof="0">
              <a:ln>
                <a:noFill/>
              </a:ln>
              <a:solidFill>
                <a:schemeClr val="bg2"/>
              </a:solidFill>
              <a:effectLst/>
              <a:uLnTx/>
              <a:uFillTx/>
              <a:latin typeface="CiscoSansTT" panose="020B0503020201020303" pitchFamily="34" charset="0"/>
            </a:endParaRPr>
          </a:p>
        </p:txBody>
      </p:sp>
      <p:sp>
        <p:nvSpPr>
          <p:cNvPr id="71" name="Incident Tracking">
            <a:extLst>
              <a:ext uri="{FF2B5EF4-FFF2-40B4-BE49-F238E27FC236}">
                <a16:creationId xmlns:a16="http://schemas.microsoft.com/office/drawing/2014/main" id="{A79E91F4-A711-4DF5-979D-5EFBE7AC5A8D}"/>
              </a:ext>
            </a:extLst>
          </p:cNvPr>
          <p:cNvSpPr txBox="1"/>
          <p:nvPr/>
        </p:nvSpPr>
        <p:spPr>
          <a:xfrm rot="2700000">
            <a:off x="3835563" y="2086441"/>
            <a:ext cx="1358871" cy="1358871"/>
          </a:xfrm>
          <a:prstGeom prst="rect">
            <a:avLst/>
          </a:prstGeom>
          <a:noFill/>
        </p:spPr>
        <p:txBody>
          <a:bodyPr wrap="none" lIns="0" tIns="0" rIns="0" bIns="0" rtlCol="0" anchor="ctr">
            <a:prstTxWarp prst="textArchDown">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chemeClr val="accent1"/>
                </a:solidFill>
                <a:effectLst/>
                <a:uLnTx/>
                <a:uFillTx/>
                <a:latin typeface="CiscoSansTT" panose="020B0503020201020303" pitchFamily="34" charset="0"/>
              </a:rPr>
              <a:t>Incident tracking</a:t>
            </a:r>
          </a:p>
        </p:txBody>
      </p:sp>
      <p:sp>
        <p:nvSpPr>
          <p:cNvPr id="77" name="Direct remediation">
            <a:extLst>
              <a:ext uri="{FF2B5EF4-FFF2-40B4-BE49-F238E27FC236}">
                <a16:creationId xmlns:a16="http://schemas.microsoft.com/office/drawing/2014/main" id="{0E59C6CA-E7E2-4B9D-AC14-C0AA520B221F}"/>
              </a:ext>
            </a:extLst>
          </p:cNvPr>
          <p:cNvSpPr txBox="1"/>
          <p:nvPr/>
        </p:nvSpPr>
        <p:spPr>
          <a:xfrm rot="18900000">
            <a:off x="3828633" y="2082010"/>
            <a:ext cx="1358870" cy="1358871"/>
          </a:xfrm>
          <a:prstGeom prst="rect">
            <a:avLst/>
          </a:prstGeom>
          <a:noFill/>
        </p:spPr>
        <p:txBody>
          <a:bodyPr wrap="none" lIns="0" tIns="0" rIns="0" bIns="0" rtlCol="0" anchor="ctr">
            <a:prstTxWarp prst="textArchDown">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schemeClr val="accent2">
                    <a:lumMod val="75000"/>
                  </a:schemeClr>
                </a:solidFill>
                <a:effectLst/>
                <a:uLnTx/>
                <a:uFillTx/>
                <a:latin typeface="CiscoSansTT" panose="020B0503020201020303" pitchFamily="34" charset="0"/>
              </a:rPr>
              <a:t>   Direct remediation</a:t>
            </a:r>
          </a:p>
        </p:txBody>
      </p:sp>
      <p:sp>
        <p:nvSpPr>
          <p:cNvPr id="112" name="Freeform: Shape 111">
            <a:extLst>
              <a:ext uri="{FF2B5EF4-FFF2-40B4-BE49-F238E27FC236}">
                <a16:creationId xmlns:a16="http://schemas.microsoft.com/office/drawing/2014/main" id="{8454C2A6-1318-43A6-BA47-586ABA257AC9}"/>
              </a:ext>
            </a:extLst>
          </p:cNvPr>
          <p:cNvSpPr/>
          <p:nvPr/>
        </p:nvSpPr>
        <p:spPr>
          <a:xfrm>
            <a:off x="3977599" y="2239443"/>
            <a:ext cx="506970" cy="506968"/>
          </a:xfrm>
          <a:custGeom>
            <a:avLst/>
            <a:gdLst>
              <a:gd name="connsiteX0" fmla="*/ 3304617 w 3304617"/>
              <a:gd name="connsiteY0" fmla="*/ 0 h 3304617"/>
              <a:gd name="connsiteX1" fmla="*/ 3304617 w 3304617"/>
              <a:gd name="connsiteY1" fmla="*/ 3304617 h 3304617"/>
              <a:gd name="connsiteX2" fmla="*/ 0 w 3304617"/>
              <a:gd name="connsiteY2" fmla="*/ 3304617 h 3304617"/>
              <a:gd name="connsiteX3" fmla="*/ 1181 w 3304617"/>
              <a:gd name="connsiteY3" fmla="*/ 3257918 h 3304617"/>
              <a:gd name="connsiteX4" fmla="*/ 3257918 w 3304617"/>
              <a:gd name="connsiteY4" fmla="*/ 1181 h 3304617"/>
              <a:gd name="connsiteX5" fmla="*/ 3304617 w 3304617"/>
              <a:gd name="connsiteY5" fmla="*/ 0 h 3304617"/>
              <a:gd name="connsiteX0" fmla="*/ 3304617 w 3396057"/>
              <a:gd name="connsiteY0" fmla="*/ 3304617 h 3396057"/>
              <a:gd name="connsiteX1" fmla="*/ 0 w 3396057"/>
              <a:gd name="connsiteY1" fmla="*/ 3304617 h 3396057"/>
              <a:gd name="connsiteX2" fmla="*/ 1181 w 3396057"/>
              <a:gd name="connsiteY2" fmla="*/ 3257918 h 3396057"/>
              <a:gd name="connsiteX3" fmla="*/ 3257918 w 3396057"/>
              <a:gd name="connsiteY3" fmla="*/ 1181 h 3396057"/>
              <a:gd name="connsiteX4" fmla="*/ 3304617 w 3396057"/>
              <a:gd name="connsiteY4" fmla="*/ 0 h 3396057"/>
              <a:gd name="connsiteX5" fmla="*/ 3396057 w 3396057"/>
              <a:gd name="connsiteY5" fmla="*/ 3396057 h 3396057"/>
              <a:gd name="connsiteX0" fmla="*/ 3304617 w 3304617"/>
              <a:gd name="connsiteY0" fmla="*/ 3304617 h 3304617"/>
              <a:gd name="connsiteX1" fmla="*/ 0 w 3304617"/>
              <a:gd name="connsiteY1" fmla="*/ 3304617 h 3304617"/>
              <a:gd name="connsiteX2" fmla="*/ 1181 w 3304617"/>
              <a:gd name="connsiteY2" fmla="*/ 3257918 h 3304617"/>
              <a:gd name="connsiteX3" fmla="*/ 3257918 w 3304617"/>
              <a:gd name="connsiteY3" fmla="*/ 1181 h 3304617"/>
              <a:gd name="connsiteX4" fmla="*/ 3304617 w 3304617"/>
              <a:gd name="connsiteY4" fmla="*/ 0 h 3304617"/>
              <a:gd name="connsiteX0" fmla="*/ 0 w 3304617"/>
              <a:gd name="connsiteY0" fmla="*/ 3304617 h 3304617"/>
              <a:gd name="connsiteX1" fmla="*/ 1181 w 3304617"/>
              <a:gd name="connsiteY1" fmla="*/ 3257918 h 3304617"/>
              <a:gd name="connsiteX2" fmla="*/ 3257918 w 3304617"/>
              <a:gd name="connsiteY2" fmla="*/ 1181 h 3304617"/>
              <a:gd name="connsiteX3" fmla="*/ 3304617 w 3304617"/>
              <a:gd name="connsiteY3" fmla="*/ 0 h 3304617"/>
            </a:gdLst>
            <a:ahLst/>
            <a:cxnLst>
              <a:cxn ang="0">
                <a:pos x="connsiteX0" y="connsiteY0"/>
              </a:cxn>
              <a:cxn ang="0">
                <a:pos x="connsiteX1" y="connsiteY1"/>
              </a:cxn>
              <a:cxn ang="0">
                <a:pos x="connsiteX2" y="connsiteY2"/>
              </a:cxn>
              <a:cxn ang="0">
                <a:pos x="connsiteX3" y="connsiteY3"/>
              </a:cxn>
            </a:cxnLst>
            <a:rect l="l" t="t" r="r" b="b"/>
            <a:pathLst>
              <a:path w="3304617" h="3304617">
                <a:moveTo>
                  <a:pt x="0" y="3304617"/>
                </a:moveTo>
                <a:cubicBezTo>
                  <a:pt x="394" y="3289051"/>
                  <a:pt x="787" y="3273484"/>
                  <a:pt x="1181" y="3257918"/>
                </a:cubicBezTo>
                <a:cubicBezTo>
                  <a:pt x="90294" y="1499910"/>
                  <a:pt x="1499910" y="90294"/>
                  <a:pt x="3257918" y="1181"/>
                </a:cubicBezTo>
                <a:lnTo>
                  <a:pt x="3304617" y="0"/>
                </a:lnTo>
              </a:path>
            </a:pathLst>
          </a:custGeom>
          <a:noFill/>
          <a:ln>
            <a:solidFill>
              <a:schemeClr val="accent4"/>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1E4471"/>
              </a:solidFill>
              <a:effectLst/>
              <a:uLnTx/>
              <a:uFillTx/>
              <a:latin typeface="CiscoSansTT ExtraLight"/>
              <a:ea typeface="+mn-ea"/>
              <a:cs typeface="+mn-cs"/>
            </a:endParaRPr>
          </a:p>
        </p:txBody>
      </p:sp>
      <p:sp>
        <p:nvSpPr>
          <p:cNvPr id="111" name="Freeform: Shape 110">
            <a:extLst>
              <a:ext uri="{FF2B5EF4-FFF2-40B4-BE49-F238E27FC236}">
                <a16:creationId xmlns:a16="http://schemas.microsoft.com/office/drawing/2014/main" id="{EB27EC67-AB62-4212-A7C8-C9101C9DB76F}"/>
              </a:ext>
            </a:extLst>
          </p:cNvPr>
          <p:cNvSpPr/>
          <p:nvPr/>
        </p:nvSpPr>
        <p:spPr>
          <a:xfrm>
            <a:off x="4524526" y="2239443"/>
            <a:ext cx="506970" cy="506968"/>
          </a:xfrm>
          <a:custGeom>
            <a:avLst/>
            <a:gdLst>
              <a:gd name="connsiteX0" fmla="*/ 0 w 3304617"/>
              <a:gd name="connsiteY0" fmla="*/ 0 h 3304617"/>
              <a:gd name="connsiteX1" fmla="*/ 46699 w 3304617"/>
              <a:gd name="connsiteY1" fmla="*/ 1181 h 3304617"/>
              <a:gd name="connsiteX2" fmla="*/ 3303436 w 3304617"/>
              <a:gd name="connsiteY2" fmla="*/ 3257918 h 3304617"/>
              <a:gd name="connsiteX3" fmla="*/ 3304617 w 3304617"/>
              <a:gd name="connsiteY3" fmla="*/ 3304617 h 3304617"/>
              <a:gd name="connsiteX4" fmla="*/ 0 w 3304617"/>
              <a:gd name="connsiteY4" fmla="*/ 3304617 h 3304617"/>
              <a:gd name="connsiteX5" fmla="*/ 0 w 3304617"/>
              <a:gd name="connsiteY5" fmla="*/ 0 h 3304617"/>
              <a:gd name="connsiteX0" fmla="*/ 0 w 3304617"/>
              <a:gd name="connsiteY0" fmla="*/ 3304617 h 3396057"/>
              <a:gd name="connsiteX1" fmla="*/ 0 w 3304617"/>
              <a:gd name="connsiteY1" fmla="*/ 0 h 3396057"/>
              <a:gd name="connsiteX2" fmla="*/ 46699 w 3304617"/>
              <a:gd name="connsiteY2" fmla="*/ 1181 h 3396057"/>
              <a:gd name="connsiteX3" fmla="*/ 3303436 w 3304617"/>
              <a:gd name="connsiteY3" fmla="*/ 3257918 h 3396057"/>
              <a:gd name="connsiteX4" fmla="*/ 3304617 w 3304617"/>
              <a:gd name="connsiteY4" fmla="*/ 3304617 h 3396057"/>
              <a:gd name="connsiteX5" fmla="*/ 91440 w 3304617"/>
              <a:gd name="connsiteY5" fmla="*/ 3396057 h 3396057"/>
              <a:gd name="connsiteX0" fmla="*/ 0 w 3304617"/>
              <a:gd name="connsiteY0" fmla="*/ 3304617 h 3304617"/>
              <a:gd name="connsiteX1" fmla="*/ 0 w 3304617"/>
              <a:gd name="connsiteY1" fmla="*/ 0 h 3304617"/>
              <a:gd name="connsiteX2" fmla="*/ 46699 w 3304617"/>
              <a:gd name="connsiteY2" fmla="*/ 1181 h 3304617"/>
              <a:gd name="connsiteX3" fmla="*/ 3303436 w 3304617"/>
              <a:gd name="connsiteY3" fmla="*/ 3257918 h 3304617"/>
              <a:gd name="connsiteX4" fmla="*/ 3304617 w 3304617"/>
              <a:gd name="connsiteY4" fmla="*/ 3304617 h 3304617"/>
              <a:gd name="connsiteX0" fmla="*/ 0 w 3304617"/>
              <a:gd name="connsiteY0" fmla="*/ 0 h 3304617"/>
              <a:gd name="connsiteX1" fmla="*/ 46699 w 3304617"/>
              <a:gd name="connsiteY1" fmla="*/ 1181 h 3304617"/>
              <a:gd name="connsiteX2" fmla="*/ 3303436 w 3304617"/>
              <a:gd name="connsiteY2" fmla="*/ 3257918 h 3304617"/>
              <a:gd name="connsiteX3" fmla="*/ 3304617 w 3304617"/>
              <a:gd name="connsiteY3" fmla="*/ 3304617 h 3304617"/>
            </a:gdLst>
            <a:ahLst/>
            <a:cxnLst>
              <a:cxn ang="0">
                <a:pos x="connsiteX0" y="connsiteY0"/>
              </a:cxn>
              <a:cxn ang="0">
                <a:pos x="connsiteX1" y="connsiteY1"/>
              </a:cxn>
              <a:cxn ang="0">
                <a:pos x="connsiteX2" y="connsiteY2"/>
              </a:cxn>
              <a:cxn ang="0">
                <a:pos x="connsiteX3" y="connsiteY3"/>
              </a:cxn>
            </a:cxnLst>
            <a:rect l="l" t="t" r="r" b="b"/>
            <a:pathLst>
              <a:path w="3304617" h="3304617">
                <a:moveTo>
                  <a:pt x="0" y="0"/>
                </a:moveTo>
                <a:lnTo>
                  <a:pt x="46699" y="1181"/>
                </a:lnTo>
                <a:cubicBezTo>
                  <a:pt x="1804707" y="90294"/>
                  <a:pt x="3214323" y="1499910"/>
                  <a:pt x="3303436" y="3257918"/>
                </a:cubicBezTo>
                <a:cubicBezTo>
                  <a:pt x="3303830" y="3273484"/>
                  <a:pt x="3304223" y="3289051"/>
                  <a:pt x="3304617" y="3304617"/>
                </a:cubicBezTo>
              </a:path>
            </a:pathLst>
          </a:custGeom>
          <a:noFill/>
          <a:ln>
            <a:solidFill>
              <a:schemeClr val="bg2"/>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1E4471"/>
              </a:solidFill>
              <a:effectLst/>
              <a:uLnTx/>
              <a:uFillTx/>
              <a:latin typeface="CiscoSansTT ExtraLight"/>
              <a:ea typeface="+mn-ea"/>
              <a:cs typeface="+mn-cs"/>
            </a:endParaRPr>
          </a:p>
        </p:txBody>
      </p:sp>
      <p:sp>
        <p:nvSpPr>
          <p:cNvPr id="107" name="Freeform: Shape 106">
            <a:extLst>
              <a:ext uri="{FF2B5EF4-FFF2-40B4-BE49-F238E27FC236}">
                <a16:creationId xmlns:a16="http://schemas.microsoft.com/office/drawing/2014/main" id="{377E7869-3E31-46BB-AEA9-7D961FDEDF12}"/>
              </a:ext>
            </a:extLst>
          </p:cNvPr>
          <p:cNvSpPr/>
          <p:nvPr/>
        </p:nvSpPr>
        <p:spPr>
          <a:xfrm>
            <a:off x="3977599" y="2786369"/>
            <a:ext cx="506970" cy="506968"/>
          </a:xfrm>
          <a:custGeom>
            <a:avLst/>
            <a:gdLst>
              <a:gd name="connsiteX0" fmla="*/ 0 w 3304617"/>
              <a:gd name="connsiteY0" fmla="*/ 0 h 3304617"/>
              <a:gd name="connsiteX1" fmla="*/ 3304617 w 3304617"/>
              <a:gd name="connsiteY1" fmla="*/ 0 h 3304617"/>
              <a:gd name="connsiteX2" fmla="*/ 3304617 w 3304617"/>
              <a:gd name="connsiteY2" fmla="*/ 3304617 h 3304617"/>
              <a:gd name="connsiteX3" fmla="*/ 3257918 w 3304617"/>
              <a:gd name="connsiteY3" fmla="*/ 3303436 h 3304617"/>
              <a:gd name="connsiteX4" fmla="*/ 1181 w 3304617"/>
              <a:gd name="connsiteY4" fmla="*/ 46699 h 3304617"/>
              <a:gd name="connsiteX5" fmla="*/ 0 w 3304617"/>
              <a:gd name="connsiteY5" fmla="*/ 0 h 3304617"/>
              <a:gd name="connsiteX0" fmla="*/ 3304617 w 3396057"/>
              <a:gd name="connsiteY0" fmla="*/ 0 h 3304617"/>
              <a:gd name="connsiteX1" fmla="*/ 3304617 w 3396057"/>
              <a:gd name="connsiteY1" fmla="*/ 3304617 h 3304617"/>
              <a:gd name="connsiteX2" fmla="*/ 3257918 w 3396057"/>
              <a:gd name="connsiteY2" fmla="*/ 3303436 h 3304617"/>
              <a:gd name="connsiteX3" fmla="*/ 1181 w 3396057"/>
              <a:gd name="connsiteY3" fmla="*/ 46699 h 3304617"/>
              <a:gd name="connsiteX4" fmla="*/ 0 w 3396057"/>
              <a:gd name="connsiteY4" fmla="*/ 0 h 3304617"/>
              <a:gd name="connsiteX5" fmla="*/ 3396057 w 3396057"/>
              <a:gd name="connsiteY5" fmla="*/ 91440 h 3304617"/>
              <a:gd name="connsiteX0" fmla="*/ 3304617 w 3304617"/>
              <a:gd name="connsiteY0" fmla="*/ 0 h 3304617"/>
              <a:gd name="connsiteX1" fmla="*/ 3304617 w 3304617"/>
              <a:gd name="connsiteY1" fmla="*/ 3304617 h 3304617"/>
              <a:gd name="connsiteX2" fmla="*/ 3257918 w 3304617"/>
              <a:gd name="connsiteY2" fmla="*/ 3303436 h 3304617"/>
              <a:gd name="connsiteX3" fmla="*/ 1181 w 3304617"/>
              <a:gd name="connsiteY3" fmla="*/ 46699 h 3304617"/>
              <a:gd name="connsiteX4" fmla="*/ 0 w 3304617"/>
              <a:gd name="connsiteY4" fmla="*/ 0 h 3304617"/>
              <a:gd name="connsiteX0" fmla="*/ 3304617 w 3304617"/>
              <a:gd name="connsiteY0" fmla="*/ 3304617 h 3304617"/>
              <a:gd name="connsiteX1" fmla="*/ 3257918 w 3304617"/>
              <a:gd name="connsiteY1" fmla="*/ 3303436 h 3304617"/>
              <a:gd name="connsiteX2" fmla="*/ 1181 w 3304617"/>
              <a:gd name="connsiteY2" fmla="*/ 46699 h 3304617"/>
              <a:gd name="connsiteX3" fmla="*/ 0 w 3304617"/>
              <a:gd name="connsiteY3" fmla="*/ 0 h 3304617"/>
            </a:gdLst>
            <a:ahLst/>
            <a:cxnLst>
              <a:cxn ang="0">
                <a:pos x="connsiteX0" y="connsiteY0"/>
              </a:cxn>
              <a:cxn ang="0">
                <a:pos x="connsiteX1" y="connsiteY1"/>
              </a:cxn>
              <a:cxn ang="0">
                <a:pos x="connsiteX2" y="connsiteY2"/>
              </a:cxn>
              <a:cxn ang="0">
                <a:pos x="connsiteX3" y="connsiteY3"/>
              </a:cxn>
            </a:cxnLst>
            <a:rect l="l" t="t" r="r" b="b"/>
            <a:pathLst>
              <a:path w="3304617" h="3304617">
                <a:moveTo>
                  <a:pt x="3304617" y="3304617"/>
                </a:moveTo>
                <a:lnTo>
                  <a:pt x="3257918" y="3303436"/>
                </a:lnTo>
                <a:cubicBezTo>
                  <a:pt x="1499910" y="3214323"/>
                  <a:pt x="90294" y="1804707"/>
                  <a:pt x="1181" y="46699"/>
                </a:cubicBezTo>
                <a:cubicBezTo>
                  <a:pt x="787" y="31133"/>
                  <a:pt x="394" y="15566"/>
                  <a:pt x="0" y="0"/>
                </a:cubicBezTo>
              </a:path>
            </a:pathLst>
          </a:custGeom>
          <a:noFill/>
          <a:ln>
            <a:solidFill>
              <a:schemeClr val="accent1"/>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1E4471"/>
              </a:solidFill>
              <a:effectLst/>
              <a:uLnTx/>
              <a:uFillTx/>
              <a:latin typeface="CiscoSansTT ExtraLight"/>
              <a:ea typeface="+mn-ea"/>
              <a:cs typeface="+mn-cs"/>
            </a:endParaRPr>
          </a:p>
        </p:txBody>
      </p:sp>
      <p:sp>
        <p:nvSpPr>
          <p:cNvPr id="106" name="Freeform: Shape 105">
            <a:extLst>
              <a:ext uri="{FF2B5EF4-FFF2-40B4-BE49-F238E27FC236}">
                <a16:creationId xmlns:a16="http://schemas.microsoft.com/office/drawing/2014/main" id="{CDB80868-F31E-4176-8D2B-CE12726BED54}"/>
              </a:ext>
            </a:extLst>
          </p:cNvPr>
          <p:cNvSpPr/>
          <p:nvPr/>
        </p:nvSpPr>
        <p:spPr>
          <a:xfrm>
            <a:off x="4524526" y="2786563"/>
            <a:ext cx="506970" cy="506968"/>
          </a:xfrm>
          <a:custGeom>
            <a:avLst/>
            <a:gdLst>
              <a:gd name="connsiteX0" fmla="*/ 0 w 3304617"/>
              <a:gd name="connsiteY0" fmla="*/ 0 h 3304617"/>
              <a:gd name="connsiteX1" fmla="*/ 3304617 w 3304617"/>
              <a:gd name="connsiteY1" fmla="*/ 0 h 3304617"/>
              <a:gd name="connsiteX2" fmla="*/ 3303436 w 3304617"/>
              <a:gd name="connsiteY2" fmla="*/ 46699 h 3304617"/>
              <a:gd name="connsiteX3" fmla="*/ 46699 w 3304617"/>
              <a:gd name="connsiteY3" fmla="*/ 3303436 h 3304617"/>
              <a:gd name="connsiteX4" fmla="*/ 0 w 3304617"/>
              <a:gd name="connsiteY4" fmla="*/ 3304617 h 3304617"/>
              <a:gd name="connsiteX5" fmla="*/ 0 w 3304617"/>
              <a:gd name="connsiteY5" fmla="*/ 0 h 3304617"/>
              <a:gd name="connsiteX0" fmla="*/ 0 w 3304617"/>
              <a:gd name="connsiteY0" fmla="*/ 0 h 3304617"/>
              <a:gd name="connsiteX1" fmla="*/ 3304617 w 3304617"/>
              <a:gd name="connsiteY1" fmla="*/ 0 h 3304617"/>
              <a:gd name="connsiteX2" fmla="*/ 3303436 w 3304617"/>
              <a:gd name="connsiteY2" fmla="*/ 46699 h 3304617"/>
              <a:gd name="connsiteX3" fmla="*/ 46699 w 3304617"/>
              <a:gd name="connsiteY3" fmla="*/ 3303436 h 3304617"/>
              <a:gd name="connsiteX4" fmla="*/ 0 w 3304617"/>
              <a:gd name="connsiteY4" fmla="*/ 3304617 h 3304617"/>
              <a:gd name="connsiteX5" fmla="*/ 91440 w 3304617"/>
              <a:gd name="connsiteY5" fmla="*/ 91440 h 3304617"/>
              <a:gd name="connsiteX0" fmla="*/ 0 w 3304617"/>
              <a:gd name="connsiteY0" fmla="*/ 0 h 3304617"/>
              <a:gd name="connsiteX1" fmla="*/ 3304617 w 3304617"/>
              <a:gd name="connsiteY1" fmla="*/ 0 h 3304617"/>
              <a:gd name="connsiteX2" fmla="*/ 3303436 w 3304617"/>
              <a:gd name="connsiteY2" fmla="*/ 46699 h 3304617"/>
              <a:gd name="connsiteX3" fmla="*/ 46699 w 3304617"/>
              <a:gd name="connsiteY3" fmla="*/ 3303436 h 3304617"/>
              <a:gd name="connsiteX4" fmla="*/ 0 w 3304617"/>
              <a:gd name="connsiteY4" fmla="*/ 3304617 h 3304617"/>
              <a:gd name="connsiteX0" fmla="*/ 3304617 w 3304617"/>
              <a:gd name="connsiteY0" fmla="*/ 0 h 3304617"/>
              <a:gd name="connsiteX1" fmla="*/ 3303436 w 3304617"/>
              <a:gd name="connsiteY1" fmla="*/ 46699 h 3304617"/>
              <a:gd name="connsiteX2" fmla="*/ 46699 w 3304617"/>
              <a:gd name="connsiteY2" fmla="*/ 3303436 h 3304617"/>
              <a:gd name="connsiteX3" fmla="*/ 0 w 3304617"/>
              <a:gd name="connsiteY3" fmla="*/ 3304617 h 3304617"/>
            </a:gdLst>
            <a:ahLst/>
            <a:cxnLst>
              <a:cxn ang="0">
                <a:pos x="connsiteX0" y="connsiteY0"/>
              </a:cxn>
              <a:cxn ang="0">
                <a:pos x="connsiteX1" y="connsiteY1"/>
              </a:cxn>
              <a:cxn ang="0">
                <a:pos x="connsiteX2" y="connsiteY2"/>
              </a:cxn>
              <a:cxn ang="0">
                <a:pos x="connsiteX3" y="connsiteY3"/>
              </a:cxn>
            </a:cxnLst>
            <a:rect l="l" t="t" r="r" b="b"/>
            <a:pathLst>
              <a:path w="3304617" h="3304617">
                <a:moveTo>
                  <a:pt x="3304617" y="0"/>
                </a:moveTo>
                <a:cubicBezTo>
                  <a:pt x="3304223" y="15566"/>
                  <a:pt x="3303830" y="31133"/>
                  <a:pt x="3303436" y="46699"/>
                </a:cubicBezTo>
                <a:cubicBezTo>
                  <a:pt x="3214323" y="1804707"/>
                  <a:pt x="1804707" y="3214323"/>
                  <a:pt x="46699" y="3303436"/>
                </a:cubicBezTo>
                <a:lnTo>
                  <a:pt x="0" y="3304617"/>
                </a:lnTo>
              </a:path>
            </a:pathLst>
          </a:custGeom>
          <a:noFill/>
          <a:ln>
            <a:solidFill>
              <a:schemeClr val="accent2"/>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1E4471"/>
              </a:solidFill>
              <a:effectLst/>
              <a:uLnTx/>
              <a:uFillTx/>
              <a:latin typeface="CiscoSansTT ExtraLight"/>
              <a:ea typeface="+mn-ea"/>
              <a:cs typeface="+mn-cs"/>
            </a:endParaRPr>
          </a:p>
        </p:txBody>
      </p:sp>
      <p:pic>
        <p:nvPicPr>
          <p:cNvPr id="133" name="Graphic 132">
            <a:extLst>
              <a:ext uri="{FF2B5EF4-FFF2-40B4-BE49-F238E27FC236}">
                <a16:creationId xmlns:a16="http://schemas.microsoft.com/office/drawing/2014/main" id="{AC65BF40-677E-4DC9-8D9F-3B113EC5FE5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040112" y="2301394"/>
            <a:ext cx="922044" cy="922044"/>
          </a:xfrm>
          <a:prstGeom prst="rect">
            <a:avLst/>
          </a:prstGeom>
        </p:spPr>
      </p:pic>
      <p:pic>
        <p:nvPicPr>
          <p:cNvPr id="5122" name="Picture 2">
            <a:extLst>
              <a:ext uri="{FF2B5EF4-FFF2-40B4-BE49-F238E27FC236}">
                <a16:creationId xmlns:a16="http://schemas.microsoft.com/office/drawing/2014/main" id="{8F5D0958-92C4-4BCA-9F69-2CF69D777BD7}"/>
              </a:ext>
            </a:extLst>
          </p:cNvPr>
          <p:cNvPicPr>
            <a:picLocks noChangeAspect="1" noChangeArrowheads="1"/>
          </p:cNvPicPr>
          <p:nvPr/>
        </p:nvPicPr>
        <p:blipFill rotWithShape="1">
          <a:blip r:embed="rId5" cstate="screen">
            <a:lum bright="70000" contrast="-70000"/>
            <a:extLst>
              <a:ext uri="{28A0092B-C50C-407E-A947-70E740481C1C}">
                <a14:useLocalDpi xmlns:a14="http://schemas.microsoft.com/office/drawing/2010/main"/>
              </a:ext>
            </a:extLst>
          </a:blip>
          <a:srcRect/>
          <a:stretch/>
        </p:blipFill>
        <p:spPr bwMode="auto">
          <a:xfrm>
            <a:off x="4366448" y="2813536"/>
            <a:ext cx="360765" cy="362885"/>
          </a:xfrm>
          <a:prstGeom prst="ellipse">
            <a:avLst/>
          </a:prstGeom>
          <a:noFill/>
          <a:extLst>
            <a:ext uri="{909E8E84-426E-40DD-AFC4-6F175D3DCCD1}">
              <a14:hiddenFill xmlns:a14="http://schemas.microsoft.com/office/drawing/2010/main">
                <a:solidFill>
                  <a:srgbClr val="FFFFFF"/>
                </a:solidFill>
              </a14:hiddenFill>
            </a:ext>
          </a:extLst>
        </p:spPr>
      </p:pic>
      <p:sp>
        <p:nvSpPr>
          <p:cNvPr id="95" name="Isosceles Triangle 49">
            <a:extLst>
              <a:ext uri="{FF2B5EF4-FFF2-40B4-BE49-F238E27FC236}">
                <a16:creationId xmlns:a16="http://schemas.microsoft.com/office/drawing/2014/main" id="{4B03C7B1-99D8-492D-9D0E-3CC8CD633000}"/>
              </a:ext>
            </a:extLst>
          </p:cNvPr>
          <p:cNvSpPr/>
          <p:nvPr/>
        </p:nvSpPr>
        <p:spPr>
          <a:xfrm rot="10607845">
            <a:off x="4976555" y="2669629"/>
            <a:ext cx="104342" cy="9100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tx1"/>
          </a:solidFill>
          <a:ln w="12700">
            <a:solidFill>
              <a:schemeClr val="bg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96" name="Isosceles Triangle 49">
            <a:extLst>
              <a:ext uri="{FF2B5EF4-FFF2-40B4-BE49-F238E27FC236}">
                <a16:creationId xmlns:a16="http://schemas.microsoft.com/office/drawing/2014/main" id="{EFF4983E-80D3-4DC3-AFAB-86A143F27715}"/>
              </a:ext>
            </a:extLst>
          </p:cNvPr>
          <p:cNvSpPr/>
          <p:nvPr/>
        </p:nvSpPr>
        <p:spPr>
          <a:xfrm rot="15940007">
            <a:off x="4500715" y="3245577"/>
            <a:ext cx="104342" cy="9100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tx1"/>
          </a:solidFill>
          <a:ln w="12700">
            <a:solidFill>
              <a:schemeClr val="accent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97" name="Isosceles Triangle 49">
            <a:extLst>
              <a:ext uri="{FF2B5EF4-FFF2-40B4-BE49-F238E27FC236}">
                <a16:creationId xmlns:a16="http://schemas.microsoft.com/office/drawing/2014/main" id="{34EABFCA-AC29-4B3D-B2A6-A427907811E6}"/>
              </a:ext>
            </a:extLst>
          </p:cNvPr>
          <p:cNvSpPr/>
          <p:nvPr/>
        </p:nvSpPr>
        <p:spPr>
          <a:xfrm>
            <a:off x="3923777" y="2766923"/>
            <a:ext cx="104342" cy="9100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tx1"/>
          </a:solidFill>
          <a:ln w="12700">
            <a:solidFill>
              <a:schemeClr val="accent1"/>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98" name="Isosceles Triangle 49">
            <a:extLst>
              <a:ext uri="{FF2B5EF4-FFF2-40B4-BE49-F238E27FC236}">
                <a16:creationId xmlns:a16="http://schemas.microsoft.com/office/drawing/2014/main" id="{9BA7BB7A-4442-46E9-ACC2-1D9C55F72DAB}"/>
              </a:ext>
            </a:extLst>
          </p:cNvPr>
          <p:cNvSpPr/>
          <p:nvPr/>
        </p:nvSpPr>
        <p:spPr>
          <a:xfrm rot="5400000">
            <a:off x="4407603" y="2192606"/>
            <a:ext cx="104342" cy="9100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tx1"/>
          </a:solidFill>
          <a:ln w="12700">
            <a:solidFill>
              <a:schemeClr val="accent4"/>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30" name="Isosceles Triangle 49">
            <a:extLst>
              <a:ext uri="{FF2B5EF4-FFF2-40B4-BE49-F238E27FC236}">
                <a16:creationId xmlns:a16="http://schemas.microsoft.com/office/drawing/2014/main" id="{545C28F8-3333-41F3-8264-C1B45BCE6713}"/>
              </a:ext>
            </a:extLst>
          </p:cNvPr>
          <p:cNvSpPr/>
          <p:nvPr/>
        </p:nvSpPr>
        <p:spPr>
          <a:xfrm rot="16730301">
            <a:off x="5788631" y="2976304"/>
            <a:ext cx="104342" cy="9100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tx1"/>
          </a:solidFill>
          <a:ln w="12700">
            <a:solidFill>
              <a:schemeClr val="bg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2" name="Arc 151">
            <a:extLst>
              <a:ext uri="{FF2B5EF4-FFF2-40B4-BE49-F238E27FC236}">
                <a16:creationId xmlns:a16="http://schemas.microsoft.com/office/drawing/2014/main" id="{6387053F-DAAC-4D93-AC97-0C1880342663}"/>
              </a:ext>
            </a:extLst>
          </p:cNvPr>
          <p:cNvSpPr/>
          <p:nvPr/>
        </p:nvSpPr>
        <p:spPr>
          <a:xfrm rot="20761273">
            <a:off x="3271418" y="3232840"/>
            <a:ext cx="3108478" cy="822948"/>
          </a:xfrm>
          <a:prstGeom prst="arc">
            <a:avLst>
              <a:gd name="adj1" fmla="val 1996859"/>
              <a:gd name="adj2" fmla="val 11744927"/>
            </a:avLst>
          </a:prstGeom>
          <a:ln w="19050">
            <a:solidFill>
              <a:schemeClr val="accent4"/>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sp>
        <p:nvSpPr>
          <p:cNvPr id="4" name="Arc 3">
            <a:extLst>
              <a:ext uri="{FF2B5EF4-FFF2-40B4-BE49-F238E27FC236}">
                <a16:creationId xmlns:a16="http://schemas.microsoft.com/office/drawing/2014/main" id="{BF5EF1DA-4C8C-495A-BE51-12CDD747B6E6}"/>
              </a:ext>
            </a:extLst>
          </p:cNvPr>
          <p:cNvSpPr>
            <a:spLocks/>
          </p:cNvSpPr>
          <p:nvPr/>
        </p:nvSpPr>
        <p:spPr>
          <a:xfrm>
            <a:off x="3340923" y="1608567"/>
            <a:ext cx="2312553" cy="2314584"/>
          </a:xfrm>
          <a:prstGeom prst="arc">
            <a:avLst>
              <a:gd name="adj1" fmla="val 189363"/>
              <a:gd name="adj2" fmla="val 17016447"/>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pic>
        <p:nvPicPr>
          <p:cNvPr id="28" name="Picture 27" descr="A picture containing fungus, sitting, cake, black&#10;&#10;Description automatically generated">
            <a:extLst>
              <a:ext uri="{FF2B5EF4-FFF2-40B4-BE49-F238E27FC236}">
                <a16:creationId xmlns:a16="http://schemas.microsoft.com/office/drawing/2014/main" id="{16D9D605-BE17-4511-B6EE-F3A14D78685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96520" y="2344594"/>
            <a:ext cx="496562" cy="374846"/>
          </a:xfrm>
          <a:prstGeom prst="rect">
            <a:avLst/>
          </a:prstGeom>
        </p:spPr>
      </p:pic>
      <p:sp>
        <p:nvSpPr>
          <p:cNvPr id="2" name="Pie 1">
            <a:extLst>
              <a:ext uri="{FF2B5EF4-FFF2-40B4-BE49-F238E27FC236}">
                <a16:creationId xmlns:a16="http://schemas.microsoft.com/office/drawing/2014/main" id="{681A9F29-D0EE-A642-8089-35763062DE12}"/>
              </a:ext>
            </a:extLst>
          </p:cNvPr>
          <p:cNvSpPr>
            <a:spLocks noChangeAspect="1"/>
          </p:cNvSpPr>
          <p:nvPr/>
        </p:nvSpPr>
        <p:spPr>
          <a:xfrm rot="14881786">
            <a:off x="4209871" y="2383197"/>
            <a:ext cx="313637" cy="313119"/>
          </a:xfrm>
          <a:prstGeom prst="pie">
            <a:avLst>
              <a:gd name="adj1" fmla="val 10508616"/>
              <a:gd name="adj2" fmla="val 17793837"/>
            </a:avLst>
          </a:pr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5" name="Global Threat Intelligence">
            <a:extLst>
              <a:ext uri="{FF2B5EF4-FFF2-40B4-BE49-F238E27FC236}">
                <a16:creationId xmlns:a16="http://schemas.microsoft.com/office/drawing/2014/main" id="{8508061C-1A58-43FE-8DA4-5D9DB24A6653}"/>
              </a:ext>
            </a:extLst>
          </p:cNvPr>
          <p:cNvSpPr/>
          <p:nvPr/>
        </p:nvSpPr>
        <p:spPr>
          <a:xfrm>
            <a:off x="3986118" y="2552828"/>
            <a:ext cx="505319" cy="31311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457200" rtl="0" eaLnBrk="1" fontAlgn="base" latinLnBrk="0" hangingPunct="1">
              <a:lnSpc>
                <a:spcPct val="8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CiscoSansTT" panose="020B0503020201020303" pitchFamily="34" charset="0"/>
              </a:rPr>
              <a:t>Global </a:t>
            </a:r>
            <a:br>
              <a:rPr lang="en-US" sz="700" dirty="0">
                <a:solidFill>
                  <a:srgbClr val="FFFFFF"/>
                </a:solidFill>
                <a:latin typeface="CiscoSansTT" panose="020B0503020201020303" pitchFamily="34" charset="0"/>
              </a:rPr>
            </a:br>
            <a:r>
              <a:rPr kumimoji="0" lang="en-US" sz="700" b="0" i="0" u="none" strike="noStrike" kern="1200" cap="none" spc="0" normalizeH="0" baseline="0" noProof="0" dirty="0">
                <a:ln>
                  <a:noFill/>
                </a:ln>
                <a:solidFill>
                  <a:srgbClr val="FFFFFF"/>
                </a:solidFill>
                <a:effectLst/>
                <a:uLnTx/>
                <a:uFillTx/>
                <a:latin typeface="CiscoSansTT" panose="020B0503020201020303" pitchFamily="34" charset="0"/>
              </a:rPr>
              <a:t>threat</a:t>
            </a:r>
            <a:br>
              <a:rPr kumimoji="0" lang="en-US" sz="700" b="0" i="0" u="none" strike="noStrike" kern="1200" cap="none" spc="0" normalizeH="0" baseline="0" noProof="0" dirty="0">
                <a:ln>
                  <a:noFill/>
                </a:ln>
                <a:solidFill>
                  <a:srgbClr val="FFFFFF"/>
                </a:solidFill>
                <a:effectLst/>
                <a:uLnTx/>
                <a:uFillTx/>
                <a:latin typeface="CiscoSansTT" panose="020B0503020201020303" pitchFamily="34" charset="0"/>
              </a:rPr>
            </a:br>
            <a:r>
              <a:rPr kumimoji="0" lang="en-US" sz="700" b="0" i="0" u="none" strike="noStrike" kern="1200" cap="none" spc="0" normalizeH="0" baseline="0" noProof="0" dirty="0">
                <a:ln>
                  <a:noFill/>
                </a:ln>
                <a:solidFill>
                  <a:srgbClr val="FFFFFF"/>
                </a:solidFill>
                <a:effectLst/>
                <a:uLnTx/>
                <a:uFillTx/>
                <a:latin typeface="CiscoSansTT" panose="020B0503020201020303" pitchFamily="34" charset="0"/>
              </a:rPr>
              <a:t>intel</a:t>
            </a:r>
          </a:p>
        </p:txBody>
      </p:sp>
      <p:sp>
        <p:nvSpPr>
          <p:cNvPr id="61" name="Pie 60">
            <a:extLst>
              <a:ext uri="{FF2B5EF4-FFF2-40B4-BE49-F238E27FC236}">
                <a16:creationId xmlns:a16="http://schemas.microsoft.com/office/drawing/2014/main" id="{B4790F60-032B-1243-82D5-86178B1B7D9A}"/>
              </a:ext>
            </a:extLst>
          </p:cNvPr>
          <p:cNvSpPr>
            <a:spLocks noChangeAspect="1"/>
          </p:cNvSpPr>
          <p:nvPr/>
        </p:nvSpPr>
        <p:spPr>
          <a:xfrm>
            <a:off x="4364004" y="2803915"/>
            <a:ext cx="419523" cy="418831"/>
          </a:xfrm>
          <a:prstGeom prst="pie">
            <a:avLst>
              <a:gd name="adj1" fmla="val 16240250"/>
              <a:gd name="adj2" fmla="val 60635"/>
            </a:avLst>
          </a:pr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7" name="Global Threat Intelligence">
            <a:extLst>
              <a:ext uri="{FF2B5EF4-FFF2-40B4-BE49-F238E27FC236}">
                <a16:creationId xmlns:a16="http://schemas.microsoft.com/office/drawing/2014/main" id="{44DAA9BC-74CF-46F9-AC32-6F73A07D0372}"/>
              </a:ext>
            </a:extLst>
          </p:cNvPr>
          <p:cNvSpPr/>
          <p:nvPr/>
        </p:nvSpPr>
        <p:spPr>
          <a:xfrm>
            <a:off x="4560956" y="2740736"/>
            <a:ext cx="371577" cy="27496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lvl="0" algn="ctr">
              <a:lnSpc>
                <a:spcPct val="80000"/>
              </a:lnSpc>
              <a:defRPr/>
            </a:pPr>
            <a:r>
              <a:rPr lang="en-US" sz="700" dirty="0">
                <a:solidFill>
                  <a:schemeClr val="tx1"/>
                </a:solidFill>
                <a:latin typeface="CiscoSansTT" panose="020B0503020201020303" pitchFamily="34" charset="0"/>
              </a:rPr>
              <a:t>Secure trusted</a:t>
            </a:r>
          </a:p>
          <a:p>
            <a:pPr lvl="0" algn="ctr">
              <a:lnSpc>
                <a:spcPct val="80000"/>
              </a:lnSpc>
              <a:defRPr/>
            </a:pPr>
            <a:r>
              <a:rPr lang="en-US" sz="700" dirty="0">
                <a:solidFill>
                  <a:schemeClr val="tx1"/>
                </a:solidFill>
                <a:latin typeface="CiscoSansTT" panose="020B0503020201020303" pitchFamily="34" charset="0"/>
              </a:rPr>
              <a:t>access</a:t>
            </a:r>
          </a:p>
        </p:txBody>
      </p:sp>
    </p:spTree>
    <p:extLst>
      <p:ext uri="{BB962C8B-B14F-4D97-AF65-F5344CB8AC3E}">
        <p14:creationId xmlns:p14="http://schemas.microsoft.com/office/powerpoint/2010/main" val="2403826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A7DE007-9910-44FF-9F30-3D94F5E6B075}"/>
              </a:ext>
            </a:extLst>
          </p:cNvPr>
          <p:cNvSpPr/>
          <p:nvPr/>
        </p:nvSpPr>
        <p:spPr>
          <a:xfrm>
            <a:off x="5499307" y="-1"/>
            <a:ext cx="3644693" cy="5143501"/>
          </a:xfrm>
          <a:prstGeom prst="rect">
            <a:avLst/>
          </a:prstGeom>
          <a:solidFill>
            <a:schemeClr val="tx1"/>
          </a:solidFill>
          <a:ln w="25400" cap="flat" cmpd="sng" algn="ctr">
            <a:noFill/>
            <a:prstDash val="solid"/>
          </a:ln>
          <a:effectLst>
            <a:outerShdw sx="0" sy="0" rotWithShape="0">
              <a:scrgbClr r="0" g="0" b="0"/>
            </a:outerShdw>
          </a:effectLst>
          <a:extLst>
            <a:ext uri="{E45631CC-5BF2-4c18-A39C-3461C7D3F71A}">
              <a14:hiddenSp3d xmlns="" xmlns:a14="http://schemas.microsoft.com/office/drawing/2010/main"/>
            </a:ext>
          </a:extLst>
        </p:spPr>
        <p:txBody>
          <a:bodyPr wrap="square" lIns="91440" tIns="45720" rIns="91440" bIns="45720" rtlCol="0" anchor="ctr">
            <a:noAutofit/>
          </a:bodyP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 name="Rectangle 3">
            <a:extLst>
              <a:ext uri="{FF2B5EF4-FFF2-40B4-BE49-F238E27FC236}">
                <a16:creationId xmlns:a16="http://schemas.microsoft.com/office/drawing/2014/main" id="{455A11AA-3232-4878-840B-0C4F43ABA33A}"/>
              </a:ext>
            </a:extLst>
          </p:cNvPr>
          <p:cNvSpPr/>
          <p:nvPr/>
        </p:nvSpPr>
        <p:spPr>
          <a:xfrm>
            <a:off x="5650635" y="344871"/>
            <a:ext cx="3026640" cy="502920"/>
          </a:xfrm>
          <a:prstGeom prst="rect">
            <a:avLst/>
          </a:prstGeom>
          <a:noFill/>
          <a:ln>
            <a:noFill/>
          </a:ln>
        </p:spPr>
        <p:txBody>
          <a:bodyPr wrap="square" numCol="1" spcCol="356616" anchor="ctr">
            <a:noAutofit/>
          </a:bodyPr>
          <a:lstStyle/>
          <a:p>
            <a:pPr marL="0" marR="0" lvl="0" indent="-731502" defTabSz="914400" eaLnBrk="1" fontAlgn="auto" latinLnBrk="0" hangingPunct="1">
              <a:lnSpc>
                <a:spcPct val="100000"/>
              </a:lnSpc>
              <a:spcBef>
                <a:spcPts val="0"/>
              </a:spcBef>
              <a:spcAft>
                <a:spcPts val="0"/>
              </a:spcAft>
              <a:buClrTx/>
              <a:buSzTx/>
              <a:buFontTx/>
              <a:buNone/>
              <a:tabLst/>
              <a:defRPr/>
            </a:pPr>
            <a:r>
              <a:rPr kumimoji="0" lang="ms-MY" sz="1600" b="0" i="0" u="none" strike="noStrike" kern="0" cap="none" spc="0" normalizeH="0" baseline="0" noProof="0">
                <a:ln>
                  <a:noFill/>
                </a:ln>
                <a:solidFill>
                  <a:schemeClr val="bg2"/>
                </a:solidFill>
                <a:effectLst/>
                <a:uLnTx/>
                <a:uFillTx/>
                <a:latin typeface="+mn-lt"/>
                <a:ea typeface="Raleway" panose="020B0606030504020204" pitchFamily="34" charset="0"/>
                <a:cs typeface="Raleway" panose="020F0602020204030203" pitchFamily="34" charset="0"/>
              </a:rPr>
              <a:t>Deep network integration</a:t>
            </a:r>
          </a:p>
        </p:txBody>
      </p:sp>
      <p:sp>
        <p:nvSpPr>
          <p:cNvPr id="5" name="Rectangle 4">
            <a:extLst>
              <a:ext uri="{FF2B5EF4-FFF2-40B4-BE49-F238E27FC236}">
                <a16:creationId xmlns:a16="http://schemas.microsoft.com/office/drawing/2014/main" id="{D0ACF9CD-681A-4974-B333-4CFF226E5545}"/>
              </a:ext>
            </a:extLst>
          </p:cNvPr>
          <p:cNvSpPr/>
          <p:nvPr/>
        </p:nvSpPr>
        <p:spPr>
          <a:xfrm>
            <a:off x="5650635" y="1332581"/>
            <a:ext cx="3026640" cy="502920"/>
          </a:xfrm>
          <a:prstGeom prst="rect">
            <a:avLst/>
          </a:prstGeom>
          <a:noFill/>
          <a:ln>
            <a:noFill/>
          </a:ln>
        </p:spPr>
        <p:txBody>
          <a:bodyPr wrap="square" numCol="1" spcCol="356616" anchor="ctr">
            <a:noAutofit/>
          </a:bodyPr>
          <a:lstStyle/>
          <a:p>
            <a:pPr marL="0" marR="0" lvl="0" indent="-731502" defTabSz="914400" eaLnBrk="1" fontAlgn="auto" latinLnBrk="0" hangingPunct="1">
              <a:lnSpc>
                <a:spcPct val="100000"/>
              </a:lnSpc>
              <a:spcBef>
                <a:spcPts val="0"/>
              </a:spcBef>
              <a:spcAft>
                <a:spcPts val="0"/>
              </a:spcAft>
              <a:buClrTx/>
              <a:buSzTx/>
              <a:buFontTx/>
              <a:buNone/>
              <a:tabLst/>
              <a:defRPr/>
            </a:pPr>
            <a:r>
              <a:rPr kumimoji="0" lang="ms-MY" sz="1600" b="0" i="0" u="none" strike="noStrike" kern="0" cap="none" spc="0" normalizeH="0" baseline="0" noProof="0">
                <a:ln>
                  <a:noFill/>
                </a:ln>
                <a:solidFill>
                  <a:schemeClr val="bg2"/>
                </a:solidFill>
                <a:effectLst/>
                <a:uLnTx/>
                <a:uFillTx/>
                <a:latin typeface="+mn-lt"/>
                <a:ea typeface="Raleway" panose="020B0606030504020204" pitchFamily="34" charset="0"/>
                <a:cs typeface="Raleway" panose="020B0606030504020204" pitchFamily="34" charset="0"/>
              </a:rPr>
              <a:t>Open and integrated platform</a:t>
            </a:r>
          </a:p>
        </p:txBody>
      </p:sp>
      <p:sp>
        <p:nvSpPr>
          <p:cNvPr id="6" name="Rectangle 5">
            <a:extLst>
              <a:ext uri="{FF2B5EF4-FFF2-40B4-BE49-F238E27FC236}">
                <a16:creationId xmlns:a16="http://schemas.microsoft.com/office/drawing/2014/main" id="{AFEE6D5B-7F4F-4B49-B04B-573FA2074AE6}"/>
              </a:ext>
            </a:extLst>
          </p:cNvPr>
          <p:cNvSpPr/>
          <p:nvPr/>
        </p:nvSpPr>
        <p:spPr>
          <a:xfrm>
            <a:off x="5650635" y="2320291"/>
            <a:ext cx="3026640" cy="502920"/>
          </a:xfrm>
          <a:prstGeom prst="rect">
            <a:avLst/>
          </a:prstGeom>
          <a:noFill/>
          <a:ln>
            <a:noFill/>
          </a:ln>
        </p:spPr>
        <p:txBody>
          <a:bodyPr wrap="square" numCol="1" spcCol="356616" anchor="ctr">
            <a:noAutofit/>
          </a:bodyPr>
          <a:lstStyle/>
          <a:p>
            <a:pPr marL="0" marR="0" lvl="0" indent="-731502" defTabSz="914400" eaLnBrk="1" fontAlgn="auto" latinLnBrk="0" hangingPunct="1">
              <a:lnSpc>
                <a:spcPct val="100000"/>
              </a:lnSpc>
              <a:spcBef>
                <a:spcPts val="0"/>
              </a:spcBef>
              <a:spcAft>
                <a:spcPts val="0"/>
              </a:spcAft>
              <a:buClrTx/>
              <a:buSzTx/>
              <a:buFontTx/>
              <a:buNone/>
              <a:tabLst/>
              <a:defRPr/>
            </a:pPr>
            <a:r>
              <a:rPr kumimoji="0" lang="ms-MY" sz="1600" b="0" i="0" u="none" strike="noStrike" kern="0" cap="none" spc="0" normalizeH="0" baseline="0" noProof="0">
                <a:ln>
                  <a:noFill/>
                </a:ln>
                <a:solidFill>
                  <a:schemeClr val="bg2"/>
                </a:solidFill>
                <a:effectLst/>
                <a:uLnTx/>
                <a:uFillTx/>
                <a:latin typeface="+mn-lt"/>
                <a:ea typeface="Raleway" panose="020B0606030504020204" pitchFamily="34" charset="0"/>
                <a:cs typeface="Raleway" panose="020B0606030504020204" pitchFamily="34" charset="0"/>
              </a:rPr>
              <a:t>Cloud-delivered simplicity</a:t>
            </a:r>
          </a:p>
        </p:txBody>
      </p:sp>
      <p:sp>
        <p:nvSpPr>
          <p:cNvPr id="7" name="Rectangle 6">
            <a:extLst>
              <a:ext uri="{FF2B5EF4-FFF2-40B4-BE49-F238E27FC236}">
                <a16:creationId xmlns:a16="http://schemas.microsoft.com/office/drawing/2014/main" id="{F88CD4E0-213D-44B7-A39C-611ADF3F3FA5}"/>
              </a:ext>
            </a:extLst>
          </p:cNvPr>
          <p:cNvSpPr/>
          <p:nvPr/>
        </p:nvSpPr>
        <p:spPr>
          <a:xfrm>
            <a:off x="5650635" y="3308001"/>
            <a:ext cx="3026640" cy="502920"/>
          </a:xfrm>
          <a:prstGeom prst="rect">
            <a:avLst/>
          </a:prstGeom>
          <a:noFill/>
          <a:ln>
            <a:noFill/>
          </a:ln>
        </p:spPr>
        <p:txBody>
          <a:bodyPr wrap="square" numCol="1" spcCol="356616" anchor="ctr">
            <a:noAutofit/>
          </a:bodyPr>
          <a:lstStyle/>
          <a:p>
            <a:pPr marL="0" marR="0" lvl="0" indent="-731502"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a:ln>
                  <a:noFill/>
                </a:ln>
                <a:solidFill>
                  <a:schemeClr val="bg2"/>
                </a:solidFill>
                <a:effectLst/>
                <a:uLnTx/>
                <a:uFillTx/>
                <a:latin typeface="+mn-lt"/>
                <a:ea typeface="Raleway" panose="020B0606030504020204" pitchFamily="34" charset="0"/>
                <a:cs typeface="Raleway" panose="020B0606030504020204" pitchFamily="34" charset="0"/>
              </a:rPr>
              <a:t>Platform level response, analytics, and management</a:t>
            </a:r>
          </a:p>
        </p:txBody>
      </p:sp>
      <p:sp>
        <p:nvSpPr>
          <p:cNvPr id="8" name="Rectangle 7">
            <a:extLst>
              <a:ext uri="{FF2B5EF4-FFF2-40B4-BE49-F238E27FC236}">
                <a16:creationId xmlns:a16="http://schemas.microsoft.com/office/drawing/2014/main" id="{66FF3436-F108-4816-8338-43F4D77692CD}"/>
              </a:ext>
            </a:extLst>
          </p:cNvPr>
          <p:cNvSpPr/>
          <p:nvPr/>
        </p:nvSpPr>
        <p:spPr>
          <a:xfrm>
            <a:off x="5650635" y="4295710"/>
            <a:ext cx="3026640" cy="502920"/>
          </a:xfrm>
          <a:prstGeom prst="rect">
            <a:avLst/>
          </a:prstGeom>
          <a:noFill/>
          <a:ln>
            <a:noFill/>
          </a:ln>
        </p:spPr>
        <p:txBody>
          <a:bodyPr wrap="square" numCol="1" spcCol="356616" anchor="ctr">
            <a:noAutofit/>
          </a:bodyPr>
          <a:lstStyle/>
          <a:p>
            <a:pPr marL="0" marR="0" lvl="0" indent="-731502" defTabSz="914400" eaLnBrk="1" fontAlgn="auto" latinLnBrk="0" hangingPunct="1">
              <a:lnSpc>
                <a:spcPct val="100000"/>
              </a:lnSpc>
              <a:spcBef>
                <a:spcPts val="0"/>
              </a:spcBef>
              <a:spcAft>
                <a:spcPts val="0"/>
              </a:spcAft>
              <a:buClrTx/>
              <a:buSzTx/>
              <a:buFontTx/>
              <a:buNone/>
              <a:tabLst/>
              <a:defRPr/>
            </a:pPr>
            <a:r>
              <a:rPr kumimoji="0" lang="ms-MY" sz="1600" b="0" i="0" u="none" strike="noStrike" kern="0" cap="none" spc="0" normalizeH="0" baseline="0" noProof="0">
                <a:ln>
                  <a:noFill/>
                </a:ln>
                <a:solidFill>
                  <a:schemeClr val="bg2"/>
                </a:solidFill>
                <a:effectLst/>
                <a:uLnTx/>
                <a:uFillTx/>
                <a:latin typeface="+mn-lt"/>
              </a:rPr>
              <a:t>Products and services for every business </a:t>
            </a:r>
          </a:p>
        </p:txBody>
      </p:sp>
      <p:sp>
        <p:nvSpPr>
          <p:cNvPr id="11" name="Rectangle: Rounded Corners 10">
            <a:extLst>
              <a:ext uri="{FF2B5EF4-FFF2-40B4-BE49-F238E27FC236}">
                <a16:creationId xmlns:a16="http://schemas.microsoft.com/office/drawing/2014/main" id="{8D5C9E08-0EFA-4E89-A6CE-A628D5FD6D14}"/>
              </a:ext>
            </a:extLst>
          </p:cNvPr>
          <p:cNvSpPr/>
          <p:nvPr/>
        </p:nvSpPr>
        <p:spPr>
          <a:xfrm>
            <a:off x="5580687" y="344871"/>
            <a:ext cx="45720" cy="502920"/>
          </a:xfrm>
          <a:prstGeom prst="roundRect">
            <a:avLst>
              <a:gd name="adj" fmla="val 50000"/>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2AF33246-E8C8-4437-960E-F7723D550902}"/>
              </a:ext>
            </a:extLst>
          </p:cNvPr>
          <p:cNvSpPr/>
          <p:nvPr/>
        </p:nvSpPr>
        <p:spPr>
          <a:xfrm>
            <a:off x="5580687" y="1332581"/>
            <a:ext cx="45720" cy="502920"/>
          </a:xfrm>
          <a:prstGeom prst="roundRect">
            <a:avLst>
              <a:gd name="adj" fmla="val 50000"/>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Rounded Corners 14">
            <a:extLst>
              <a:ext uri="{FF2B5EF4-FFF2-40B4-BE49-F238E27FC236}">
                <a16:creationId xmlns:a16="http://schemas.microsoft.com/office/drawing/2014/main" id="{B14048F4-7F75-49BF-A46D-A587411581E2}"/>
              </a:ext>
            </a:extLst>
          </p:cNvPr>
          <p:cNvSpPr/>
          <p:nvPr/>
        </p:nvSpPr>
        <p:spPr>
          <a:xfrm>
            <a:off x="5580687" y="2320291"/>
            <a:ext cx="45720" cy="502920"/>
          </a:xfrm>
          <a:prstGeom prst="roundRect">
            <a:avLst>
              <a:gd name="adj" fmla="val 50000"/>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Rounded Corners 15">
            <a:extLst>
              <a:ext uri="{FF2B5EF4-FFF2-40B4-BE49-F238E27FC236}">
                <a16:creationId xmlns:a16="http://schemas.microsoft.com/office/drawing/2014/main" id="{9BD79661-2BCE-45C4-879B-6C94F4770194}"/>
              </a:ext>
            </a:extLst>
          </p:cNvPr>
          <p:cNvSpPr/>
          <p:nvPr/>
        </p:nvSpPr>
        <p:spPr>
          <a:xfrm>
            <a:off x="5580687" y="3308001"/>
            <a:ext cx="45720" cy="502920"/>
          </a:xfrm>
          <a:prstGeom prst="roundRect">
            <a:avLst>
              <a:gd name="adj" fmla="val 50000"/>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AA3C7092-F7D9-4198-B1B6-DDBD32845014}"/>
              </a:ext>
            </a:extLst>
          </p:cNvPr>
          <p:cNvSpPr/>
          <p:nvPr/>
        </p:nvSpPr>
        <p:spPr>
          <a:xfrm>
            <a:off x="5580687" y="4295710"/>
            <a:ext cx="45720" cy="502920"/>
          </a:xfrm>
          <a:prstGeom prst="roundRect">
            <a:avLst>
              <a:gd name="adj" fmla="val 50000"/>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D5236817-7815-4D0B-971C-962DF14FB68B}"/>
              </a:ext>
            </a:extLst>
          </p:cNvPr>
          <p:cNvSpPr txBox="1"/>
          <p:nvPr/>
        </p:nvSpPr>
        <p:spPr>
          <a:xfrm>
            <a:off x="533400" y="2979414"/>
            <a:ext cx="2724150" cy="1191066"/>
          </a:xfrm>
          <a:prstGeom prst="rect">
            <a:avLst/>
          </a:prstGeom>
          <a:noFill/>
          <a:effectLst>
            <a:outerShdw sx="0" sy="0" rotWithShape="0">
              <a:scrgbClr r="0" g="0" b="0"/>
            </a:outerShdw>
          </a:effectLst>
          <a:extLst>
            <a:ext uri="{E45631CC-5BF2-4c18-A39C-3461C7D3F71A}">
              <a14:hiddenSp3d xmlns="" xmlns:a14="http://schemas.microsoft.com/office/drawing/2010/main"/>
            </a:ext>
          </a:extLst>
        </p:spPr>
        <p:txBody>
          <a:bodyPr wrap="square" lIns="0" tIns="0" rIns="0" bIns="0" rtlCol="0" anchor="ctr">
            <a:noAutofit/>
          </a:bodyPr>
          <a:lstStyle/>
          <a:p>
            <a:pPr defTabSz="609585">
              <a:defRPr/>
            </a:pPr>
            <a:r>
              <a:rPr lang="en-US" sz="3600">
                <a:solidFill>
                  <a:schemeClr val="tx2"/>
                </a:solidFill>
                <a:latin typeface="CiscoSansTT ExtraLight"/>
              </a:rPr>
              <a:t>Cisco </a:t>
            </a:r>
            <a:br>
              <a:rPr lang="en-US" sz="3600">
                <a:solidFill>
                  <a:schemeClr val="tx2"/>
                </a:solidFill>
                <a:latin typeface="CiscoSansTT ExtraLight"/>
              </a:rPr>
            </a:br>
            <a:r>
              <a:rPr lang="en-US" sz="3600">
                <a:solidFill>
                  <a:schemeClr val="bg2"/>
                </a:solidFill>
                <a:latin typeface="CiscoSansTT ExtraLight"/>
              </a:rPr>
              <a:t>stands apart</a:t>
            </a:r>
          </a:p>
        </p:txBody>
      </p:sp>
      <p:sp>
        <p:nvSpPr>
          <p:cNvPr id="300" name="Freeform: Shape 299">
            <a:extLst>
              <a:ext uri="{FF2B5EF4-FFF2-40B4-BE49-F238E27FC236}">
                <a16:creationId xmlns:a16="http://schemas.microsoft.com/office/drawing/2014/main" id="{2A7A0AEC-3411-4BD4-BF7A-05EFA7E20F38}"/>
              </a:ext>
            </a:extLst>
          </p:cNvPr>
          <p:cNvSpPr/>
          <p:nvPr/>
        </p:nvSpPr>
        <p:spPr>
          <a:xfrm>
            <a:off x="2777292" y="1970653"/>
            <a:ext cx="198237" cy="198237"/>
          </a:xfrm>
          <a:custGeom>
            <a:avLst/>
            <a:gdLst>
              <a:gd name="connsiteX0" fmla="*/ 319157 w 319156"/>
              <a:gd name="connsiteY0" fmla="*/ 159578 h 319156"/>
              <a:gd name="connsiteX1" fmla="*/ 159578 w 319156"/>
              <a:gd name="connsiteY1" fmla="*/ 319157 h 319156"/>
              <a:gd name="connsiteX2" fmla="*/ 0 w 319156"/>
              <a:gd name="connsiteY2" fmla="*/ 159578 h 319156"/>
              <a:gd name="connsiteX3" fmla="*/ 159578 w 319156"/>
              <a:gd name="connsiteY3" fmla="*/ 0 h 319156"/>
              <a:gd name="connsiteX4" fmla="*/ 319157 w 319156"/>
              <a:gd name="connsiteY4" fmla="*/ 159578 h 3191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156" h="319156">
                <a:moveTo>
                  <a:pt x="319157" y="159578"/>
                </a:moveTo>
                <a:cubicBezTo>
                  <a:pt x="319157" y="247711"/>
                  <a:pt x="247711" y="319157"/>
                  <a:pt x="159578" y="319157"/>
                </a:cubicBezTo>
                <a:cubicBezTo>
                  <a:pt x="71445" y="319157"/>
                  <a:pt x="0" y="247711"/>
                  <a:pt x="0" y="159578"/>
                </a:cubicBezTo>
                <a:cubicBezTo>
                  <a:pt x="0" y="71446"/>
                  <a:pt x="71445" y="0"/>
                  <a:pt x="159578" y="0"/>
                </a:cubicBezTo>
                <a:cubicBezTo>
                  <a:pt x="247711" y="0"/>
                  <a:pt x="319157" y="71446"/>
                  <a:pt x="319157" y="159578"/>
                </a:cubicBezTo>
                <a:close/>
              </a:path>
            </a:pathLst>
          </a:custGeom>
          <a:solidFill>
            <a:schemeClr val="bg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1" name="Freeform: Shape 300">
            <a:extLst>
              <a:ext uri="{FF2B5EF4-FFF2-40B4-BE49-F238E27FC236}">
                <a16:creationId xmlns:a16="http://schemas.microsoft.com/office/drawing/2014/main" id="{C45E322F-6D00-4057-811B-C76C57976BF4}"/>
              </a:ext>
            </a:extLst>
          </p:cNvPr>
          <p:cNvSpPr/>
          <p:nvPr/>
        </p:nvSpPr>
        <p:spPr>
          <a:xfrm>
            <a:off x="1821622" y="1286062"/>
            <a:ext cx="823364" cy="823362"/>
          </a:xfrm>
          <a:custGeom>
            <a:avLst/>
            <a:gdLst>
              <a:gd name="connsiteX0" fmla="*/ 1325589 w 1325588"/>
              <a:gd name="connsiteY0" fmla="*/ 662794 h 1325587"/>
              <a:gd name="connsiteX1" fmla="*/ 662794 w 1325588"/>
              <a:gd name="connsiteY1" fmla="*/ 1325588 h 1325587"/>
              <a:gd name="connsiteX2" fmla="*/ 0 w 1325588"/>
              <a:gd name="connsiteY2" fmla="*/ 662794 h 1325587"/>
              <a:gd name="connsiteX3" fmla="*/ 662794 w 1325588"/>
              <a:gd name="connsiteY3" fmla="*/ 0 h 1325587"/>
              <a:gd name="connsiteX4" fmla="*/ 1325589 w 1325588"/>
              <a:gd name="connsiteY4" fmla="*/ 662794 h 1325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5588" h="1325587">
                <a:moveTo>
                  <a:pt x="1325589" y="662794"/>
                </a:moveTo>
                <a:cubicBezTo>
                  <a:pt x="1325589" y="1028845"/>
                  <a:pt x="1028845" y="1325588"/>
                  <a:pt x="662794" y="1325588"/>
                </a:cubicBezTo>
                <a:cubicBezTo>
                  <a:pt x="296743" y="1325588"/>
                  <a:pt x="0" y="1028845"/>
                  <a:pt x="0" y="662794"/>
                </a:cubicBezTo>
                <a:cubicBezTo>
                  <a:pt x="0" y="296743"/>
                  <a:pt x="296743" y="0"/>
                  <a:pt x="662794" y="0"/>
                </a:cubicBezTo>
                <a:cubicBezTo>
                  <a:pt x="1028845" y="0"/>
                  <a:pt x="1325589" y="296743"/>
                  <a:pt x="1325589" y="662794"/>
                </a:cubicBezTo>
                <a:close/>
              </a:path>
            </a:pathLst>
          </a:custGeom>
          <a:solidFill>
            <a:schemeClr val="accent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2" name="Freeform: Shape 371">
            <a:extLst>
              <a:ext uri="{FF2B5EF4-FFF2-40B4-BE49-F238E27FC236}">
                <a16:creationId xmlns:a16="http://schemas.microsoft.com/office/drawing/2014/main" id="{BC6F28EE-A848-494F-A671-368FFBA94440}"/>
              </a:ext>
            </a:extLst>
          </p:cNvPr>
          <p:cNvSpPr/>
          <p:nvPr/>
        </p:nvSpPr>
        <p:spPr>
          <a:xfrm>
            <a:off x="756588" y="2577531"/>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9"/>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chemeClr val="tx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3" name="Freeform: Shape 372">
            <a:extLst>
              <a:ext uri="{FF2B5EF4-FFF2-40B4-BE49-F238E27FC236}">
                <a16:creationId xmlns:a16="http://schemas.microsoft.com/office/drawing/2014/main" id="{930309F4-3406-4A0B-AD73-320969B22D76}"/>
              </a:ext>
            </a:extLst>
          </p:cNvPr>
          <p:cNvSpPr/>
          <p:nvPr/>
        </p:nvSpPr>
        <p:spPr>
          <a:xfrm>
            <a:off x="915084" y="2577531"/>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9"/>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1E447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4" name="Freeform: Shape 373">
            <a:extLst>
              <a:ext uri="{FF2B5EF4-FFF2-40B4-BE49-F238E27FC236}">
                <a16:creationId xmlns:a16="http://schemas.microsoft.com/office/drawing/2014/main" id="{941978A2-C04A-4D03-A0D0-B92785FC4A14}"/>
              </a:ext>
            </a:extLst>
          </p:cNvPr>
          <p:cNvSpPr/>
          <p:nvPr/>
        </p:nvSpPr>
        <p:spPr>
          <a:xfrm>
            <a:off x="1264820" y="2577531"/>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9"/>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chemeClr val="accent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5" name="Freeform: Shape 374">
            <a:extLst>
              <a:ext uri="{FF2B5EF4-FFF2-40B4-BE49-F238E27FC236}">
                <a16:creationId xmlns:a16="http://schemas.microsoft.com/office/drawing/2014/main" id="{B695E747-73BC-4522-ADE4-D152BB9E6AFB}"/>
              </a:ext>
            </a:extLst>
          </p:cNvPr>
          <p:cNvSpPr/>
          <p:nvPr/>
        </p:nvSpPr>
        <p:spPr>
          <a:xfrm>
            <a:off x="1264820" y="2400729"/>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9"/>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1E447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6" name="Freeform: Shape 375">
            <a:extLst>
              <a:ext uri="{FF2B5EF4-FFF2-40B4-BE49-F238E27FC236}">
                <a16:creationId xmlns:a16="http://schemas.microsoft.com/office/drawing/2014/main" id="{C0FC3E05-A1C0-4D0B-80CA-15AA848C146C}"/>
              </a:ext>
            </a:extLst>
          </p:cNvPr>
          <p:cNvSpPr/>
          <p:nvPr/>
        </p:nvSpPr>
        <p:spPr>
          <a:xfrm>
            <a:off x="1439673" y="2214744"/>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8"/>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1E447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7" name="Freeform: Shape 376">
            <a:extLst>
              <a:ext uri="{FF2B5EF4-FFF2-40B4-BE49-F238E27FC236}">
                <a16:creationId xmlns:a16="http://schemas.microsoft.com/office/drawing/2014/main" id="{E547AD25-0783-460A-B077-AFB296BFCC52}"/>
              </a:ext>
            </a:extLst>
          </p:cNvPr>
          <p:cNvSpPr/>
          <p:nvPr/>
        </p:nvSpPr>
        <p:spPr>
          <a:xfrm>
            <a:off x="1439673" y="2037411"/>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8"/>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1E447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8" name="Freeform: Shape 377">
            <a:extLst>
              <a:ext uri="{FF2B5EF4-FFF2-40B4-BE49-F238E27FC236}">
                <a16:creationId xmlns:a16="http://schemas.microsoft.com/office/drawing/2014/main" id="{D80A28D6-05D8-4B92-BBC8-9C7C1E4FFE55}"/>
              </a:ext>
            </a:extLst>
          </p:cNvPr>
          <p:cNvSpPr/>
          <p:nvPr/>
        </p:nvSpPr>
        <p:spPr>
          <a:xfrm>
            <a:off x="1630884" y="2219941"/>
            <a:ext cx="53737" cy="53737"/>
          </a:xfrm>
          <a:custGeom>
            <a:avLst/>
            <a:gdLst>
              <a:gd name="connsiteX0" fmla="*/ 86515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5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5" y="43258"/>
                </a:moveTo>
                <a:cubicBezTo>
                  <a:pt x="86515" y="67148"/>
                  <a:pt x="67148" y="86515"/>
                  <a:pt x="43258" y="86515"/>
                </a:cubicBezTo>
                <a:cubicBezTo>
                  <a:pt x="19367" y="86515"/>
                  <a:pt x="0" y="67148"/>
                  <a:pt x="0" y="43258"/>
                </a:cubicBezTo>
                <a:cubicBezTo>
                  <a:pt x="0" y="19367"/>
                  <a:pt x="19367" y="0"/>
                  <a:pt x="43258" y="0"/>
                </a:cubicBezTo>
                <a:cubicBezTo>
                  <a:pt x="67148" y="0"/>
                  <a:pt x="86515" y="19367"/>
                  <a:pt x="86515" y="43258"/>
                </a:cubicBezTo>
                <a:close/>
              </a:path>
            </a:pathLst>
          </a:custGeom>
          <a:solidFill>
            <a:srgbClr val="1E447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9" name="Freeform: Shape 378">
            <a:extLst>
              <a:ext uri="{FF2B5EF4-FFF2-40B4-BE49-F238E27FC236}">
                <a16:creationId xmlns:a16="http://schemas.microsoft.com/office/drawing/2014/main" id="{1CEF7FBD-9C41-45A9-9324-CCEA33FE018F}"/>
              </a:ext>
            </a:extLst>
          </p:cNvPr>
          <p:cNvSpPr/>
          <p:nvPr/>
        </p:nvSpPr>
        <p:spPr>
          <a:xfrm>
            <a:off x="756588" y="2757315"/>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8"/>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1E447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0" name="Freeform: Shape 379">
            <a:extLst>
              <a:ext uri="{FF2B5EF4-FFF2-40B4-BE49-F238E27FC236}">
                <a16:creationId xmlns:a16="http://schemas.microsoft.com/office/drawing/2014/main" id="{A0267D53-87CA-4ACE-984C-FFC0D998B121}"/>
              </a:ext>
            </a:extLst>
          </p:cNvPr>
          <p:cNvSpPr/>
          <p:nvPr/>
        </p:nvSpPr>
        <p:spPr>
          <a:xfrm>
            <a:off x="1264820" y="2757315"/>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8"/>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rgbClr val="1E447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1" name="Freeform: Shape 380">
            <a:extLst>
              <a:ext uri="{FF2B5EF4-FFF2-40B4-BE49-F238E27FC236}">
                <a16:creationId xmlns:a16="http://schemas.microsoft.com/office/drawing/2014/main" id="{D3540D90-9DB8-4C15-8264-E3EEEE3A76AE}"/>
              </a:ext>
            </a:extLst>
          </p:cNvPr>
          <p:cNvSpPr/>
          <p:nvPr/>
        </p:nvSpPr>
        <p:spPr>
          <a:xfrm>
            <a:off x="1439673" y="2757315"/>
            <a:ext cx="53737" cy="53737"/>
          </a:xfrm>
          <a:custGeom>
            <a:avLst/>
            <a:gdLst>
              <a:gd name="connsiteX0" fmla="*/ 86516 w 86515"/>
              <a:gd name="connsiteY0" fmla="*/ 43258 h 86515"/>
              <a:gd name="connsiteX1" fmla="*/ 43258 w 86515"/>
              <a:gd name="connsiteY1" fmla="*/ 86515 h 86515"/>
              <a:gd name="connsiteX2" fmla="*/ 0 w 86515"/>
              <a:gd name="connsiteY2" fmla="*/ 43258 h 86515"/>
              <a:gd name="connsiteX3" fmla="*/ 43258 w 86515"/>
              <a:gd name="connsiteY3" fmla="*/ 0 h 86515"/>
              <a:gd name="connsiteX4" fmla="*/ 86516 w 86515"/>
              <a:gd name="connsiteY4" fmla="*/ 43258 h 8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515" h="86515">
                <a:moveTo>
                  <a:pt x="86516" y="43258"/>
                </a:moveTo>
                <a:cubicBezTo>
                  <a:pt x="86516" y="67148"/>
                  <a:pt x="67148" y="86515"/>
                  <a:pt x="43258" y="86515"/>
                </a:cubicBezTo>
                <a:cubicBezTo>
                  <a:pt x="19367" y="86515"/>
                  <a:pt x="0" y="67148"/>
                  <a:pt x="0" y="43258"/>
                </a:cubicBezTo>
                <a:cubicBezTo>
                  <a:pt x="0" y="19367"/>
                  <a:pt x="19367" y="0"/>
                  <a:pt x="43258" y="0"/>
                </a:cubicBezTo>
                <a:cubicBezTo>
                  <a:pt x="67148" y="0"/>
                  <a:pt x="86516" y="19367"/>
                  <a:pt x="86516" y="43258"/>
                </a:cubicBezTo>
                <a:close/>
              </a:path>
            </a:pathLst>
          </a:custGeom>
          <a:solidFill>
            <a:schemeClr val="accent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2" name="Freeform: Shape 381">
            <a:extLst>
              <a:ext uri="{FF2B5EF4-FFF2-40B4-BE49-F238E27FC236}">
                <a16:creationId xmlns:a16="http://schemas.microsoft.com/office/drawing/2014/main" id="{6BF05C6B-F1DE-4A0D-93E6-CFD5D9E9D008}"/>
              </a:ext>
            </a:extLst>
          </p:cNvPr>
          <p:cNvSpPr/>
          <p:nvPr/>
        </p:nvSpPr>
        <p:spPr>
          <a:xfrm>
            <a:off x="1610157" y="2736558"/>
            <a:ext cx="95192" cy="95192"/>
          </a:xfrm>
          <a:custGeom>
            <a:avLst/>
            <a:gdLst>
              <a:gd name="connsiteX0" fmla="*/ 76628 w 153256"/>
              <a:gd name="connsiteY0" fmla="*/ 153256 h 153256"/>
              <a:gd name="connsiteX1" fmla="*/ 0 w 153256"/>
              <a:gd name="connsiteY1" fmla="*/ 76628 h 153256"/>
              <a:gd name="connsiteX2" fmla="*/ 76628 w 153256"/>
              <a:gd name="connsiteY2" fmla="*/ 0 h 153256"/>
              <a:gd name="connsiteX3" fmla="*/ 153256 w 153256"/>
              <a:gd name="connsiteY3" fmla="*/ 76628 h 153256"/>
              <a:gd name="connsiteX4" fmla="*/ 76628 w 153256"/>
              <a:gd name="connsiteY4" fmla="*/ 153256 h 153256"/>
              <a:gd name="connsiteX5" fmla="*/ 76628 w 153256"/>
              <a:gd name="connsiteY5" fmla="*/ 14166 h 153256"/>
              <a:gd name="connsiteX6" fmla="*/ 14118 w 153256"/>
              <a:gd name="connsiteY6" fmla="*/ 76676 h 153256"/>
              <a:gd name="connsiteX7" fmla="*/ 76628 w 153256"/>
              <a:gd name="connsiteY7" fmla="*/ 139185 h 153256"/>
              <a:gd name="connsiteX8" fmla="*/ 139138 w 153256"/>
              <a:gd name="connsiteY8" fmla="*/ 76676 h 153256"/>
              <a:gd name="connsiteX9" fmla="*/ 76628 w 153256"/>
              <a:gd name="connsiteY9" fmla="*/ 14166 h 15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6" h="153256">
                <a:moveTo>
                  <a:pt x="76628" y="153256"/>
                </a:moveTo>
                <a:cubicBezTo>
                  <a:pt x="34369" y="153256"/>
                  <a:pt x="0" y="118888"/>
                  <a:pt x="0" y="76628"/>
                </a:cubicBezTo>
                <a:cubicBezTo>
                  <a:pt x="0" y="34369"/>
                  <a:pt x="34369" y="0"/>
                  <a:pt x="76628" y="0"/>
                </a:cubicBezTo>
                <a:cubicBezTo>
                  <a:pt x="118888" y="0"/>
                  <a:pt x="153256" y="34369"/>
                  <a:pt x="153256" y="76628"/>
                </a:cubicBezTo>
                <a:cubicBezTo>
                  <a:pt x="153256" y="118888"/>
                  <a:pt x="118840" y="153256"/>
                  <a:pt x="76628" y="153256"/>
                </a:cubicBezTo>
                <a:close/>
                <a:moveTo>
                  <a:pt x="76628" y="14166"/>
                </a:moveTo>
                <a:cubicBezTo>
                  <a:pt x="42164" y="14166"/>
                  <a:pt x="14118" y="42212"/>
                  <a:pt x="14118" y="76676"/>
                </a:cubicBezTo>
                <a:cubicBezTo>
                  <a:pt x="14118" y="111139"/>
                  <a:pt x="42164" y="139185"/>
                  <a:pt x="76628" y="139185"/>
                </a:cubicBezTo>
                <a:cubicBezTo>
                  <a:pt x="111092" y="139185"/>
                  <a:pt x="139138" y="111139"/>
                  <a:pt x="139138" y="76676"/>
                </a:cubicBezTo>
                <a:cubicBezTo>
                  <a:pt x="139138" y="42212"/>
                  <a:pt x="111092" y="14166"/>
                  <a:pt x="76628" y="14166"/>
                </a:cubicBezTo>
                <a:close/>
              </a:path>
            </a:pathLst>
          </a:custGeom>
          <a:solidFill>
            <a:schemeClr val="bg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3" name="Freeform: Shape 382">
            <a:extLst>
              <a:ext uri="{FF2B5EF4-FFF2-40B4-BE49-F238E27FC236}">
                <a16:creationId xmlns:a16="http://schemas.microsoft.com/office/drawing/2014/main" id="{D76B21CD-765E-4AB0-A32B-5A6CB0D91F71}"/>
              </a:ext>
            </a:extLst>
          </p:cNvPr>
          <p:cNvSpPr/>
          <p:nvPr/>
        </p:nvSpPr>
        <p:spPr>
          <a:xfrm>
            <a:off x="1418946" y="2556774"/>
            <a:ext cx="95191" cy="95191"/>
          </a:xfrm>
          <a:custGeom>
            <a:avLst/>
            <a:gdLst>
              <a:gd name="connsiteX0" fmla="*/ 76628 w 153255"/>
              <a:gd name="connsiteY0" fmla="*/ 153256 h 153255"/>
              <a:gd name="connsiteX1" fmla="*/ 0 w 153255"/>
              <a:gd name="connsiteY1" fmla="*/ 76628 h 153255"/>
              <a:gd name="connsiteX2" fmla="*/ 76628 w 153255"/>
              <a:gd name="connsiteY2" fmla="*/ 0 h 153255"/>
              <a:gd name="connsiteX3" fmla="*/ 153256 w 153255"/>
              <a:gd name="connsiteY3" fmla="*/ 76628 h 153255"/>
              <a:gd name="connsiteX4" fmla="*/ 76628 w 153255"/>
              <a:gd name="connsiteY4" fmla="*/ 153256 h 153255"/>
              <a:gd name="connsiteX5" fmla="*/ 76628 w 153255"/>
              <a:gd name="connsiteY5" fmla="*/ 14166 h 153255"/>
              <a:gd name="connsiteX6" fmla="*/ 14118 w 153255"/>
              <a:gd name="connsiteY6" fmla="*/ 76676 h 153255"/>
              <a:gd name="connsiteX7" fmla="*/ 76628 w 153255"/>
              <a:gd name="connsiteY7" fmla="*/ 139185 h 153255"/>
              <a:gd name="connsiteX8" fmla="*/ 139138 w 153255"/>
              <a:gd name="connsiteY8" fmla="*/ 76676 h 153255"/>
              <a:gd name="connsiteX9" fmla="*/ 76628 w 153255"/>
              <a:gd name="connsiteY9" fmla="*/ 14166 h 15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5" h="153255">
                <a:moveTo>
                  <a:pt x="76628" y="153256"/>
                </a:moveTo>
                <a:cubicBezTo>
                  <a:pt x="34368" y="153256"/>
                  <a:pt x="0" y="118887"/>
                  <a:pt x="0" y="76628"/>
                </a:cubicBezTo>
                <a:cubicBezTo>
                  <a:pt x="0" y="34368"/>
                  <a:pt x="34368" y="0"/>
                  <a:pt x="76628" y="0"/>
                </a:cubicBezTo>
                <a:cubicBezTo>
                  <a:pt x="118887" y="0"/>
                  <a:pt x="153256" y="34368"/>
                  <a:pt x="153256" y="76628"/>
                </a:cubicBezTo>
                <a:cubicBezTo>
                  <a:pt x="153256" y="118887"/>
                  <a:pt x="118840" y="153256"/>
                  <a:pt x="76628" y="153256"/>
                </a:cubicBezTo>
                <a:close/>
                <a:moveTo>
                  <a:pt x="76628" y="14166"/>
                </a:moveTo>
                <a:cubicBezTo>
                  <a:pt x="42164" y="14166"/>
                  <a:pt x="14118" y="42212"/>
                  <a:pt x="14118" y="76676"/>
                </a:cubicBezTo>
                <a:cubicBezTo>
                  <a:pt x="14118" y="111139"/>
                  <a:pt x="42164" y="139185"/>
                  <a:pt x="76628" y="139185"/>
                </a:cubicBezTo>
                <a:cubicBezTo>
                  <a:pt x="111092" y="139185"/>
                  <a:pt x="139138" y="111139"/>
                  <a:pt x="139138" y="76676"/>
                </a:cubicBezTo>
                <a:cubicBezTo>
                  <a:pt x="139138" y="42212"/>
                  <a:pt x="111092" y="14166"/>
                  <a:pt x="76628" y="14166"/>
                </a:cubicBezTo>
                <a:close/>
              </a:path>
            </a:pathLst>
          </a:custGeom>
          <a:solidFill>
            <a:schemeClr val="bg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4" name="Freeform: Shape 383">
            <a:extLst>
              <a:ext uri="{FF2B5EF4-FFF2-40B4-BE49-F238E27FC236}">
                <a16:creationId xmlns:a16="http://schemas.microsoft.com/office/drawing/2014/main" id="{5BE2448C-544C-4539-BE73-32DFBFFC8480}"/>
              </a:ext>
            </a:extLst>
          </p:cNvPr>
          <p:cNvSpPr/>
          <p:nvPr/>
        </p:nvSpPr>
        <p:spPr>
          <a:xfrm>
            <a:off x="1418946" y="2380002"/>
            <a:ext cx="95191" cy="95191"/>
          </a:xfrm>
          <a:custGeom>
            <a:avLst/>
            <a:gdLst>
              <a:gd name="connsiteX0" fmla="*/ 76628 w 153255"/>
              <a:gd name="connsiteY0" fmla="*/ 153256 h 153255"/>
              <a:gd name="connsiteX1" fmla="*/ 0 w 153255"/>
              <a:gd name="connsiteY1" fmla="*/ 76628 h 153255"/>
              <a:gd name="connsiteX2" fmla="*/ 76628 w 153255"/>
              <a:gd name="connsiteY2" fmla="*/ 0 h 153255"/>
              <a:gd name="connsiteX3" fmla="*/ 153256 w 153255"/>
              <a:gd name="connsiteY3" fmla="*/ 76628 h 153255"/>
              <a:gd name="connsiteX4" fmla="*/ 76628 w 153255"/>
              <a:gd name="connsiteY4" fmla="*/ 153256 h 153255"/>
              <a:gd name="connsiteX5" fmla="*/ 76628 w 153255"/>
              <a:gd name="connsiteY5" fmla="*/ 14118 h 153255"/>
              <a:gd name="connsiteX6" fmla="*/ 14118 w 153255"/>
              <a:gd name="connsiteY6" fmla="*/ 76628 h 153255"/>
              <a:gd name="connsiteX7" fmla="*/ 76628 w 153255"/>
              <a:gd name="connsiteY7" fmla="*/ 139138 h 153255"/>
              <a:gd name="connsiteX8" fmla="*/ 139138 w 153255"/>
              <a:gd name="connsiteY8" fmla="*/ 76628 h 153255"/>
              <a:gd name="connsiteX9" fmla="*/ 76628 w 153255"/>
              <a:gd name="connsiteY9" fmla="*/ 14118 h 15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5" h="153255">
                <a:moveTo>
                  <a:pt x="76628" y="153256"/>
                </a:moveTo>
                <a:cubicBezTo>
                  <a:pt x="34368" y="153256"/>
                  <a:pt x="0" y="118887"/>
                  <a:pt x="0" y="76628"/>
                </a:cubicBezTo>
                <a:cubicBezTo>
                  <a:pt x="0" y="34368"/>
                  <a:pt x="34368" y="0"/>
                  <a:pt x="76628" y="0"/>
                </a:cubicBezTo>
                <a:cubicBezTo>
                  <a:pt x="118887" y="0"/>
                  <a:pt x="153256" y="34368"/>
                  <a:pt x="153256" y="76628"/>
                </a:cubicBezTo>
                <a:cubicBezTo>
                  <a:pt x="153256" y="118887"/>
                  <a:pt x="118840" y="153256"/>
                  <a:pt x="76628" y="153256"/>
                </a:cubicBezTo>
                <a:close/>
                <a:moveTo>
                  <a:pt x="76628" y="14118"/>
                </a:moveTo>
                <a:cubicBezTo>
                  <a:pt x="42164" y="14118"/>
                  <a:pt x="14118" y="42164"/>
                  <a:pt x="14118" y="76628"/>
                </a:cubicBezTo>
                <a:cubicBezTo>
                  <a:pt x="14118" y="111092"/>
                  <a:pt x="42164" y="139138"/>
                  <a:pt x="76628" y="139138"/>
                </a:cubicBezTo>
                <a:cubicBezTo>
                  <a:pt x="111092" y="139138"/>
                  <a:pt x="139138" y="111092"/>
                  <a:pt x="139138" y="76628"/>
                </a:cubicBezTo>
                <a:cubicBezTo>
                  <a:pt x="139138" y="42164"/>
                  <a:pt x="111092" y="14118"/>
                  <a:pt x="76628" y="14118"/>
                </a:cubicBezTo>
                <a:close/>
              </a:path>
            </a:pathLst>
          </a:custGeom>
          <a:solidFill>
            <a:schemeClr val="bg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5" name="Freeform: Shape 384">
            <a:extLst>
              <a:ext uri="{FF2B5EF4-FFF2-40B4-BE49-F238E27FC236}">
                <a16:creationId xmlns:a16="http://schemas.microsoft.com/office/drawing/2014/main" id="{230B4B92-1483-47A5-9BD9-4E329FEE8B41}"/>
              </a:ext>
            </a:extLst>
          </p:cNvPr>
          <p:cNvSpPr/>
          <p:nvPr/>
        </p:nvSpPr>
        <p:spPr>
          <a:xfrm>
            <a:off x="1610157" y="2556774"/>
            <a:ext cx="95192" cy="95191"/>
          </a:xfrm>
          <a:custGeom>
            <a:avLst/>
            <a:gdLst>
              <a:gd name="connsiteX0" fmla="*/ 76628 w 153256"/>
              <a:gd name="connsiteY0" fmla="*/ 153256 h 153255"/>
              <a:gd name="connsiteX1" fmla="*/ 0 w 153256"/>
              <a:gd name="connsiteY1" fmla="*/ 76628 h 153255"/>
              <a:gd name="connsiteX2" fmla="*/ 76628 w 153256"/>
              <a:gd name="connsiteY2" fmla="*/ 0 h 153255"/>
              <a:gd name="connsiteX3" fmla="*/ 153256 w 153256"/>
              <a:gd name="connsiteY3" fmla="*/ 76628 h 153255"/>
              <a:gd name="connsiteX4" fmla="*/ 76628 w 153256"/>
              <a:gd name="connsiteY4" fmla="*/ 153256 h 153255"/>
              <a:gd name="connsiteX5" fmla="*/ 76628 w 153256"/>
              <a:gd name="connsiteY5" fmla="*/ 14166 h 153255"/>
              <a:gd name="connsiteX6" fmla="*/ 14118 w 153256"/>
              <a:gd name="connsiteY6" fmla="*/ 76676 h 153255"/>
              <a:gd name="connsiteX7" fmla="*/ 76628 w 153256"/>
              <a:gd name="connsiteY7" fmla="*/ 139185 h 153255"/>
              <a:gd name="connsiteX8" fmla="*/ 139138 w 153256"/>
              <a:gd name="connsiteY8" fmla="*/ 76676 h 153255"/>
              <a:gd name="connsiteX9" fmla="*/ 76628 w 153256"/>
              <a:gd name="connsiteY9" fmla="*/ 14166 h 15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6" h="153255">
                <a:moveTo>
                  <a:pt x="76628" y="153256"/>
                </a:moveTo>
                <a:cubicBezTo>
                  <a:pt x="34369" y="153256"/>
                  <a:pt x="0" y="118887"/>
                  <a:pt x="0" y="76628"/>
                </a:cubicBezTo>
                <a:cubicBezTo>
                  <a:pt x="0" y="34368"/>
                  <a:pt x="34369" y="0"/>
                  <a:pt x="76628" y="0"/>
                </a:cubicBezTo>
                <a:cubicBezTo>
                  <a:pt x="118888" y="0"/>
                  <a:pt x="153256" y="34368"/>
                  <a:pt x="153256" y="76628"/>
                </a:cubicBezTo>
                <a:cubicBezTo>
                  <a:pt x="153256" y="118887"/>
                  <a:pt x="118840" y="153256"/>
                  <a:pt x="76628" y="153256"/>
                </a:cubicBezTo>
                <a:close/>
                <a:moveTo>
                  <a:pt x="76628" y="14166"/>
                </a:moveTo>
                <a:cubicBezTo>
                  <a:pt x="42164" y="14166"/>
                  <a:pt x="14118" y="42212"/>
                  <a:pt x="14118" y="76676"/>
                </a:cubicBezTo>
                <a:cubicBezTo>
                  <a:pt x="14118" y="111139"/>
                  <a:pt x="42164" y="139185"/>
                  <a:pt x="76628" y="139185"/>
                </a:cubicBezTo>
                <a:cubicBezTo>
                  <a:pt x="111092" y="139185"/>
                  <a:pt x="139138" y="111139"/>
                  <a:pt x="139138" y="76676"/>
                </a:cubicBezTo>
                <a:cubicBezTo>
                  <a:pt x="139090" y="42212"/>
                  <a:pt x="111092" y="14166"/>
                  <a:pt x="76628" y="14166"/>
                </a:cubicBezTo>
                <a:close/>
              </a:path>
            </a:pathLst>
          </a:custGeom>
          <a:solidFill>
            <a:srgbClr val="E2231A"/>
          </a:solidFill>
          <a:ln w="4748" cap="flat">
            <a:solidFill>
              <a:schemeClr val="accent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6" name="Freeform: Shape 385">
            <a:extLst>
              <a:ext uri="{FF2B5EF4-FFF2-40B4-BE49-F238E27FC236}">
                <a16:creationId xmlns:a16="http://schemas.microsoft.com/office/drawing/2014/main" id="{E8A3B5ED-872B-4B56-9223-0E4FADBB6464}"/>
              </a:ext>
            </a:extLst>
          </p:cNvPr>
          <p:cNvSpPr/>
          <p:nvPr/>
        </p:nvSpPr>
        <p:spPr>
          <a:xfrm>
            <a:off x="1069240" y="2556774"/>
            <a:ext cx="95192" cy="95191"/>
          </a:xfrm>
          <a:custGeom>
            <a:avLst/>
            <a:gdLst>
              <a:gd name="connsiteX0" fmla="*/ 76628 w 153256"/>
              <a:gd name="connsiteY0" fmla="*/ 153256 h 153255"/>
              <a:gd name="connsiteX1" fmla="*/ 0 w 153256"/>
              <a:gd name="connsiteY1" fmla="*/ 76628 h 153255"/>
              <a:gd name="connsiteX2" fmla="*/ 76628 w 153256"/>
              <a:gd name="connsiteY2" fmla="*/ 0 h 153255"/>
              <a:gd name="connsiteX3" fmla="*/ 153256 w 153256"/>
              <a:gd name="connsiteY3" fmla="*/ 76628 h 153255"/>
              <a:gd name="connsiteX4" fmla="*/ 76628 w 153256"/>
              <a:gd name="connsiteY4" fmla="*/ 153256 h 153255"/>
              <a:gd name="connsiteX5" fmla="*/ 76628 w 153256"/>
              <a:gd name="connsiteY5" fmla="*/ 14166 h 153255"/>
              <a:gd name="connsiteX6" fmla="*/ 14118 w 153256"/>
              <a:gd name="connsiteY6" fmla="*/ 76676 h 153255"/>
              <a:gd name="connsiteX7" fmla="*/ 76628 w 153256"/>
              <a:gd name="connsiteY7" fmla="*/ 139185 h 153255"/>
              <a:gd name="connsiteX8" fmla="*/ 139138 w 153256"/>
              <a:gd name="connsiteY8" fmla="*/ 76676 h 153255"/>
              <a:gd name="connsiteX9" fmla="*/ 76628 w 153256"/>
              <a:gd name="connsiteY9" fmla="*/ 14166 h 15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6" h="153255">
                <a:moveTo>
                  <a:pt x="76628" y="153256"/>
                </a:moveTo>
                <a:cubicBezTo>
                  <a:pt x="34369" y="153256"/>
                  <a:pt x="0" y="118887"/>
                  <a:pt x="0" y="76628"/>
                </a:cubicBezTo>
                <a:cubicBezTo>
                  <a:pt x="0" y="34368"/>
                  <a:pt x="34369" y="0"/>
                  <a:pt x="76628" y="0"/>
                </a:cubicBezTo>
                <a:cubicBezTo>
                  <a:pt x="118888" y="0"/>
                  <a:pt x="153256" y="34368"/>
                  <a:pt x="153256" y="76628"/>
                </a:cubicBezTo>
                <a:cubicBezTo>
                  <a:pt x="153256" y="118887"/>
                  <a:pt x="118840" y="153256"/>
                  <a:pt x="76628" y="153256"/>
                </a:cubicBezTo>
                <a:close/>
                <a:moveTo>
                  <a:pt x="76628" y="14166"/>
                </a:moveTo>
                <a:cubicBezTo>
                  <a:pt x="42164" y="14166"/>
                  <a:pt x="14118" y="42212"/>
                  <a:pt x="14118" y="76676"/>
                </a:cubicBezTo>
                <a:cubicBezTo>
                  <a:pt x="14118" y="111139"/>
                  <a:pt x="42164" y="139185"/>
                  <a:pt x="76628" y="139185"/>
                </a:cubicBezTo>
                <a:cubicBezTo>
                  <a:pt x="111092" y="139185"/>
                  <a:pt x="139138" y="111139"/>
                  <a:pt x="139138" y="76676"/>
                </a:cubicBezTo>
                <a:cubicBezTo>
                  <a:pt x="139090" y="42212"/>
                  <a:pt x="111092" y="14166"/>
                  <a:pt x="76628" y="14166"/>
                </a:cubicBezTo>
                <a:close/>
              </a:path>
            </a:pathLst>
          </a:custGeom>
          <a:solidFill>
            <a:schemeClr val="bg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7" name="Freeform: Shape 386">
            <a:extLst>
              <a:ext uri="{FF2B5EF4-FFF2-40B4-BE49-F238E27FC236}">
                <a16:creationId xmlns:a16="http://schemas.microsoft.com/office/drawing/2014/main" id="{795E888B-88EE-4714-A348-5D49BB5E4225}"/>
              </a:ext>
            </a:extLst>
          </p:cNvPr>
          <p:cNvSpPr/>
          <p:nvPr/>
        </p:nvSpPr>
        <p:spPr>
          <a:xfrm>
            <a:off x="1244093" y="2199214"/>
            <a:ext cx="95192" cy="95191"/>
          </a:xfrm>
          <a:custGeom>
            <a:avLst/>
            <a:gdLst>
              <a:gd name="connsiteX0" fmla="*/ 76628 w 153256"/>
              <a:gd name="connsiteY0" fmla="*/ 153256 h 153255"/>
              <a:gd name="connsiteX1" fmla="*/ 0 w 153256"/>
              <a:gd name="connsiteY1" fmla="*/ 76628 h 153255"/>
              <a:gd name="connsiteX2" fmla="*/ 76628 w 153256"/>
              <a:gd name="connsiteY2" fmla="*/ 0 h 153255"/>
              <a:gd name="connsiteX3" fmla="*/ 153256 w 153256"/>
              <a:gd name="connsiteY3" fmla="*/ 76628 h 153255"/>
              <a:gd name="connsiteX4" fmla="*/ 76628 w 153256"/>
              <a:gd name="connsiteY4" fmla="*/ 153256 h 153255"/>
              <a:gd name="connsiteX5" fmla="*/ 76628 w 153256"/>
              <a:gd name="connsiteY5" fmla="*/ 14166 h 153255"/>
              <a:gd name="connsiteX6" fmla="*/ 14118 w 153256"/>
              <a:gd name="connsiteY6" fmla="*/ 76676 h 153255"/>
              <a:gd name="connsiteX7" fmla="*/ 76628 w 153256"/>
              <a:gd name="connsiteY7" fmla="*/ 139185 h 153255"/>
              <a:gd name="connsiteX8" fmla="*/ 139138 w 153256"/>
              <a:gd name="connsiteY8" fmla="*/ 76676 h 153255"/>
              <a:gd name="connsiteX9" fmla="*/ 76628 w 153256"/>
              <a:gd name="connsiteY9" fmla="*/ 14166 h 15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6" h="153255">
                <a:moveTo>
                  <a:pt x="76628" y="153256"/>
                </a:moveTo>
                <a:cubicBezTo>
                  <a:pt x="34369" y="153256"/>
                  <a:pt x="0" y="118888"/>
                  <a:pt x="0" y="76628"/>
                </a:cubicBezTo>
                <a:cubicBezTo>
                  <a:pt x="0" y="34369"/>
                  <a:pt x="34369" y="0"/>
                  <a:pt x="76628" y="0"/>
                </a:cubicBezTo>
                <a:cubicBezTo>
                  <a:pt x="118887" y="0"/>
                  <a:pt x="153256" y="34369"/>
                  <a:pt x="153256" y="76628"/>
                </a:cubicBezTo>
                <a:cubicBezTo>
                  <a:pt x="153256" y="118888"/>
                  <a:pt x="118840" y="153256"/>
                  <a:pt x="76628" y="153256"/>
                </a:cubicBezTo>
                <a:close/>
                <a:moveTo>
                  <a:pt x="76628" y="14166"/>
                </a:moveTo>
                <a:cubicBezTo>
                  <a:pt x="42164" y="14166"/>
                  <a:pt x="14118" y="42212"/>
                  <a:pt x="14118" y="76676"/>
                </a:cubicBezTo>
                <a:cubicBezTo>
                  <a:pt x="14118" y="111139"/>
                  <a:pt x="42164" y="139185"/>
                  <a:pt x="76628" y="139185"/>
                </a:cubicBezTo>
                <a:cubicBezTo>
                  <a:pt x="111092" y="139185"/>
                  <a:pt x="139138" y="111139"/>
                  <a:pt x="139138" y="76676"/>
                </a:cubicBezTo>
                <a:cubicBezTo>
                  <a:pt x="139138" y="42212"/>
                  <a:pt x="111092" y="14166"/>
                  <a:pt x="76628" y="14166"/>
                </a:cubicBezTo>
                <a:close/>
              </a:path>
            </a:pathLst>
          </a:custGeom>
          <a:solidFill>
            <a:schemeClr val="bg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8" name="Freeform: Shape 387">
            <a:extLst>
              <a:ext uri="{FF2B5EF4-FFF2-40B4-BE49-F238E27FC236}">
                <a16:creationId xmlns:a16="http://schemas.microsoft.com/office/drawing/2014/main" id="{DE32BEAB-AC76-4DCE-A110-056B5C9E8D96}"/>
              </a:ext>
            </a:extLst>
          </p:cNvPr>
          <p:cNvSpPr/>
          <p:nvPr/>
        </p:nvSpPr>
        <p:spPr>
          <a:xfrm>
            <a:off x="1244093" y="2016684"/>
            <a:ext cx="95192" cy="95192"/>
          </a:xfrm>
          <a:custGeom>
            <a:avLst/>
            <a:gdLst>
              <a:gd name="connsiteX0" fmla="*/ 76628 w 153256"/>
              <a:gd name="connsiteY0" fmla="*/ 153256 h 153256"/>
              <a:gd name="connsiteX1" fmla="*/ 0 w 153256"/>
              <a:gd name="connsiteY1" fmla="*/ 76628 h 153256"/>
              <a:gd name="connsiteX2" fmla="*/ 76628 w 153256"/>
              <a:gd name="connsiteY2" fmla="*/ 0 h 153256"/>
              <a:gd name="connsiteX3" fmla="*/ 153256 w 153256"/>
              <a:gd name="connsiteY3" fmla="*/ 76628 h 153256"/>
              <a:gd name="connsiteX4" fmla="*/ 76628 w 153256"/>
              <a:gd name="connsiteY4" fmla="*/ 153256 h 153256"/>
              <a:gd name="connsiteX5" fmla="*/ 76628 w 153256"/>
              <a:gd name="connsiteY5" fmla="*/ 14166 h 153256"/>
              <a:gd name="connsiteX6" fmla="*/ 14118 w 153256"/>
              <a:gd name="connsiteY6" fmla="*/ 76675 h 153256"/>
              <a:gd name="connsiteX7" fmla="*/ 76628 w 153256"/>
              <a:gd name="connsiteY7" fmla="*/ 139185 h 153256"/>
              <a:gd name="connsiteX8" fmla="*/ 139138 w 153256"/>
              <a:gd name="connsiteY8" fmla="*/ 76675 h 153256"/>
              <a:gd name="connsiteX9" fmla="*/ 76628 w 153256"/>
              <a:gd name="connsiteY9" fmla="*/ 14166 h 15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6" h="153256">
                <a:moveTo>
                  <a:pt x="76628" y="153256"/>
                </a:moveTo>
                <a:cubicBezTo>
                  <a:pt x="34369" y="153256"/>
                  <a:pt x="0" y="118887"/>
                  <a:pt x="0" y="76628"/>
                </a:cubicBezTo>
                <a:cubicBezTo>
                  <a:pt x="0" y="34368"/>
                  <a:pt x="34369" y="0"/>
                  <a:pt x="76628" y="0"/>
                </a:cubicBezTo>
                <a:cubicBezTo>
                  <a:pt x="118887" y="0"/>
                  <a:pt x="153256" y="34368"/>
                  <a:pt x="153256" y="76628"/>
                </a:cubicBezTo>
                <a:cubicBezTo>
                  <a:pt x="153208" y="118887"/>
                  <a:pt x="118840" y="153256"/>
                  <a:pt x="76628" y="153256"/>
                </a:cubicBezTo>
                <a:close/>
                <a:moveTo>
                  <a:pt x="76628" y="14166"/>
                </a:moveTo>
                <a:cubicBezTo>
                  <a:pt x="42164" y="14166"/>
                  <a:pt x="14118" y="42212"/>
                  <a:pt x="14118" y="76675"/>
                </a:cubicBezTo>
                <a:cubicBezTo>
                  <a:pt x="14118" y="111139"/>
                  <a:pt x="42164" y="139185"/>
                  <a:pt x="76628" y="139185"/>
                </a:cubicBezTo>
                <a:cubicBezTo>
                  <a:pt x="111092" y="139185"/>
                  <a:pt x="139138" y="111139"/>
                  <a:pt x="139138" y="76675"/>
                </a:cubicBezTo>
                <a:cubicBezTo>
                  <a:pt x="139090" y="42164"/>
                  <a:pt x="111092" y="14166"/>
                  <a:pt x="76628" y="14166"/>
                </a:cubicBezTo>
                <a:close/>
              </a:path>
            </a:pathLst>
          </a:custGeom>
          <a:solidFill>
            <a:schemeClr val="bg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89" name="Freeform: Shape 388">
            <a:extLst>
              <a:ext uri="{FF2B5EF4-FFF2-40B4-BE49-F238E27FC236}">
                <a16:creationId xmlns:a16="http://schemas.microsoft.com/office/drawing/2014/main" id="{89DA68AE-6873-4F2A-93F6-088BF9530873}"/>
              </a:ext>
            </a:extLst>
          </p:cNvPr>
          <p:cNvSpPr/>
          <p:nvPr/>
        </p:nvSpPr>
        <p:spPr>
          <a:xfrm>
            <a:off x="1610157" y="2016684"/>
            <a:ext cx="95192" cy="95192"/>
          </a:xfrm>
          <a:custGeom>
            <a:avLst/>
            <a:gdLst>
              <a:gd name="connsiteX0" fmla="*/ 76628 w 153256"/>
              <a:gd name="connsiteY0" fmla="*/ 153256 h 153256"/>
              <a:gd name="connsiteX1" fmla="*/ 0 w 153256"/>
              <a:gd name="connsiteY1" fmla="*/ 76628 h 153256"/>
              <a:gd name="connsiteX2" fmla="*/ 76628 w 153256"/>
              <a:gd name="connsiteY2" fmla="*/ 0 h 153256"/>
              <a:gd name="connsiteX3" fmla="*/ 153256 w 153256"/>
              <a:gd name="connsiteY3" fmla="*/ 76628 h 153256"/>
              <a:gd name="connsiteX4" fmla="*/ 76628 w 153256"/>
              <a:gd name="connsiteY4" fmla="*/ 153256 h 153256"/>
              <a:gd name="connsiteX5" fmla="*/ 76628 w 153256"/>
              <a:gd name="connsiteY5" fmla="*/ 14166 h 153256"/>
              <a:gd name="connsiteX6" fmla="*/ 14118 w 153256"/>
              <a:gd name="connsiteY6" fmla="*/ 76675 h 153256"/>
              <a:gd name="connsiteX7" fmla="*/ 76628 w 153256"/>
              <a:gd name="connsiteY7" fmla="*/ 139185 h 153256"/>
              <a:gd name="connsiteX8" fmla="*/ 139138 w 153256"/>
              <a:gd name="connsiteY8" fmla="*/ 76675 h 153256"/>
              <a:gd name="connsiteX9" fmla="*/ 76628 w 153256"/>
              <a:gd name="connsiteY9" fmla="*/ 14166 h 15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6" h="153256">
                <a:moveTo>
                  <a:pt x="76628" y="153256"/>
                </a:moveTo>
                <a:cubicBezTo>
                  <a:pt x="34369" y="153256"/>
                  <a:pt x="0" y="118887"/>
                  <a:pt x="0" y="76628"/>
                </a:cubicBezTo>
                <a:cubicBezTo>
                  <a:pt x="0" y="34368"/>
                  <a:pt x="34369" y="0"/>
                  <a:pt x="76628" y="0"/>
                </a:cubicBezTo>
                <a:cubicBezTo>
                  <a:pt x="118888" y="0"/>
                  <a:pt x="153256" y="34368"/>
                  <a:pt x="153256" y="76628"/>
                </a:cubicBezTo>
                <a:cubicBezTo>
                  <a:pt x="153209" y="118887"/>
                  <a:pt x="118840" y="153256"/>
                  <a:pt x="76628" y="153256"/>
                </a:cubicBezTo>
                <a:close/>
                <a:moveTo>
                  <a:pt x="76628" y="14166"/>
                </a:moveTo>
                <a:cubicBezTo>
                  <a:pt x="42164" y="14166"/>
                  <a:pt x="14118" y="42212"/>
                  <a:pt x="14118" y="76675"/>
                </a:cubicBezTo>
                <a:cubicBezTo>
                  <a:pt x="14118" y="111139"/>
                  <a:pt x="42164" y="139185"/>
                  <a:pt x="76628" y="139185"/>
                </a:cubicBezTo>
                <a:cubicBezTo>
                  <a:pt x="111092" y="139185"/>
                  <a:pt x="139138" y="111139"/>
                  <a:pt x="139138" y="76675"/>
                </a:cubicBezTo>
                <a:cubicBezTo>
                  <a:pt x="139090" y="42164"/>
                  <a:pt x="111092" y="14166"/>
                  <a:pt x="76628" y="14166"/>
                </a:cubicBezTo>
                <a:close/>
              </a:path>
            </a:pathLst>
          </a:custGeom>
          <a:solidFill>
            <a:schemeClr val="bg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90" name="Freeform: Shape 389">
            <a:extLst>
              <a:ext uri="{FF2B5EF4-FFF2-40B4-BE49-F238E27FC236}">
                <a16:creationId xmlns:a16="http://schemas.microsoft.com/office/drawing/2014/main" id="{BE455D04-CA5C-4754-A9B1-CB5D01FB19EB}"/>
              </a:ext>
            </a:extLst>
          </p:cNvPr>
          <p:cNvSpPr/>
          <p:nvPr/>
        </p:nvSpPr>
        <p:spPr>
          <a:xfrm>
            <a:off x="1069240" y="2736558"/>
            <a:ext cx="95192" cy="95192"/>
          </a:xfrm>
          <a:custGeom>
            <a:avLst/>
            <a:gdLst>
              <a:gd name="connsiteX0" fmla="*/ 76628 w 153256"/>
              <a:gd name="connsiteY0" fmla="*/ 153256 h 153256"/>
              <a:gd name="connsiteX1" fmla="*/ 0 w 153256"/>
              <a:gd name="connsiteY1" fmla="*/ 76628 h 153256"/>
              <a:gd name="connsiteX2" fmla="*/ 76628 w 153256"/>
              <a:gd name="connsiteY2" fmla="*/ 0 h 153256"/>
              <a:gd name="connsiteX3" fmla="*/ 153256 w 153256"/>
              <a:gd name="connsiteY3" fmla="*/ 76628 h 153256"/>
              <a:gd name="connsiteX4" fmla="*/ 76628 w 153256"/>
              <a:gd name="connsiteY4" fmla="*/ 153256 h 153256"/>
              <a:gd name="connsiteX5" fmla="*/ 76628 w 153256"/>
              <a:gd name="connsiteY5" fmla="*/ 14166 h 153256"/>
              <a:gd name="connsiteX6" fmla="*/ 14118 w 153256"/>
              <a:gd name="connsiteY6" fmla="*/ 76676 h 153256"/>
              <a:gd name="connsiteX7" fmla="*/ 76628 w 153256"/>
              <a:gd name="connsiteY7" fmla="*/ 139185 h 153256"/>
              <a:gd name="connsiteX8" fmla="*/ 139138 w 153256"/>
              <a:gd name="connsiteY8" fmla="*/ 76676 h 153256"/>
              <a:gd name="connsiteX9" fmla="*/ 76628 w 153256"/>
              <a:gd name="connsiteY9" fmla="*/ 14166 h 15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256" h="153256">
                <a:moveTo>
                  <a:pt x="76628" y="153256"/>
                </a:moveTo>
                <a:cubicBezTo>
                  <a:pt x="34369" y="153256"/>
                  <a:pt x="0" y="118888"/>
                  <a:pt x="0" y="76628"/>
                </a:cubicBezTo>
                <a:cubicBezTo>
                  <a:pt x="0" y="34369"/>
                  <a:pt x="34369" y="0"/>
                  <a:pt x="76628" y="0"/>
                </a:cubicBezTo>
                <a:cubicBezTo>
                  <a:pt x="118888" y="0"/>
                  <a:pt x="153256" y="34369"/>
                  <a:pt x="153256" y="76628"/>
                </a:cubicBezTo>
                <a:cubicBezTo>
                  <a:pt x="153256" y="118888"/>
                  <a:pt x="118840" y="153256"/>
                  <a:pt x="76628" y="153256"/>
                </a:cubicBezTo>
                <a:close/>
                <a:moveTo>
                  <a:pt x="76628" y="14166"/>
                </a:moveTo>
                <a:cubicBezTo>
                  <a:pt x="42164" y="14166"/>
                  <a:pt x="14118" y="42212"/>
                  <a:pt x="14118" y="76676"/>
                </a:cubicBezTo>
                <a:cubicBezTo>
                  <a:pt x="14118" y="111139"/>
                  <a:pt x="42164" y="139185"/>
                  <a:pt x="76628" y="139185"/>
                </a:cubicBezTo>
                <a:cubicBezTo>
                  <a:pt x="111092" y="139185"/>
                  <a:pt x="139138" y="111139"/>
                  <a:pt x="139138" y="76676"/>
                </a:cubicBezTo>
                <a:cubicBezTo>
                  <a:pt x="139138" y="42212"/>
                  <a:pt x="111092" y="14166"/>
                  <a:pt x="76628" y="14166"/>
                </a:cubicBezTo>
                <a:close/>
              </a:path>
            </a:pathLst>
          </a:custGeom>
          <a:solidFill>
            <a:schemeClr val="bg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3" name="Freeform: Shape 302">
            <a:extLst>
              <a:ext uri="{FF2B5EF4-FFF2-40B4-BE49-F238E27FC236}">
                <a16:creationId xmlns:a16="http://schemas.microsoft.com/office/drawing/2014/main" id="{1312E370-BC4E-4530-972D-B462E7C36FE4}"/>
              </a:ext>
            </a:extLst>
          </p:cNvPr>
          <p:cNvSpPr/>
          <p:nvPr/>
        </p:nvSpPr>
        <p:spPr>
          <a:xfrm>
            <a:off x="3103406" y="1915735"/>
            <a:ext cx="55745" cy="55745"/>
          </a:xfrm>
          <a:custGeom>
            <a:avLst/>
            <a:gdLst>
              <a:gd name="connsiteX0" fmla="*/ 44874 w 89747"/>
              <a:gd name="connsiteY0" fmla="*/ 89748 h 89747"/>
              <a:gd name="connsiteX1" fmla="*/ 0 w 89747"/>
              <a:gd name="connsiteY1" fmla="*/ 44874 h 89747"/>
              <a:gd name="connsiteX2" fmla="*/ 44874 w 89747"/>
              <a:gd name="connsiteY2" fmla="*/ 0 h 89747"/>
              <a:gd name="connsiteX3" fmla="*/ 89748 w 89747"/>
              <a:gd name="connsiteY3" fmla="*/ 44874 h 89747"/>
              <a:gd name="connsiteX4" fmla="*/ 44874 w 89747"/>
              <a:gd name="connsiteY4" fmla="*/ 89748 h 89747"/>
              <a:gd name="connsiteX5" fmla="*/ 44874 w 89747"/>
              <a:gd name="connsiteY5" fmla="*/ 14261 h 89747"/>
              <a:gd name="connsiteX6" fmla="*/ 14261 w 89747"/>
              <a:gd name="connsiteY6" fmla="*/ 44874 h 89747"/>
              <a:gd name="connsiteX7" fmla="*/ 44874 w 89747"/>
              <a:gd name="connsiteY7" fmla="*/ 75487 h 89747"/>
              <a:gd name="connsiteX8" fmla="*/ 75487 w 89747"/>
              <a:gd name="connsiteY8" fmla="*/ 44874 h 89747"/>
              <a:gd name="connsiteX9" fmla="*/ 44874 w 89747"/>
              <a:gd name="connsiteY9" fmla="*/ 14261 h 8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47" h="89747">
                <a:moveTo>
                  <a:pt x="44874" y="89748"/>
                </a:moveTo>
                <a:cubicBezTo>
                  <a:pt x="20155" y="89748"/>
                  <a:pt x="0" y="69640"/>
                  <a:pt x="0" y="44874"/>
                </a:cubicBezTo>
                <a:cubicBezTo>
                  <a:pt x="0" y="20108"/>
                  <a:pt x="20108" y="0"/>
                  <a:pt x="44874" y="0"/>
                </a:cubicBezTo>
                <a:cubicBezTo>
                  <a:pt x="69640" y="0"/>
                  <a:pt x="89748" y="20108"/>
                  <a:pt x="89748" y="44874"/>
                </a:cubicBezTo>
                <a:cubicBezTo>
                  <a:pt x="89748" y="69640"/>
                  <a:pt x="69640" y="89748"/>
                  <a:pt x="44874" y="89748"/>
                </a:cubicBezTo>
                <a:close/>
                <a:moveTo>
                  <a:pt x="44874" y="14261"/>
                </a:moveTo>
                <a:cubicBezTo>
                  <a:pt x="27999" y="14261"/>
                  <a:pt x="14261" y="27999"/>
                  <a:pt x="14261" y="44874"/>
                </a:cubicBezTo>
                <a:cubicBezTo>
                  <a:pt x="14261" y="61749"/>
                  <a:pt x="27999" y="75487"/>
                  <a:pt x="44874" y="75487"/>
                </a:cubicBezTo>
                <a:cubicBezTo>
                  <a:pt x="61749" y="75487"/>
                  <a:pt x="75487" y="61749"/>
                  <a:pt x="75487" y="44874"/>
                </a:cubicBezTo>
                <a:cubicBezTo>
                  <a:pt x="75487" y="27999"/>
                  <a:pt x="61749" y="14261"/>
                  <a:pt x="44874" y="14261"/>
                </a:cubicBezTo>
                <a:close/>
              </a:path>
            </a:pathLst>
          </a:custGeom>
          <a:solidFill>
            <a:srgbClr val="6ABF4B"/>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4" name="Freeform: Shape 303">
            <a:extLst>
              <a:ext uri="{FF2B5EF4-FFF2-40B4-BE49-F238E27FC236}">
                <a16:creationId xmlns:a16="http://schemas.microsoft.com/office/drawing/2014/main" id="{64F34E9F-2B90-4E33-B002-6F10775FC1FF}"/>
              </a:ext>
            </a:extLst>
          </p:cNvPr>
          <p:cNvSpPr/>
          <p:nvPr/>
        </p:nvSpPr>
        <p:spPr>
          <a:xfrm>
            <a:off x="2214968" y="1584128"/>
            <a:ext cx="52083" cy="52083"/>
          </a:xfrm>
          <a:custGeom>
            <a:avLst/>
            <a:gdLst>
              <a:gd name="connsiteX0" fmla="*/ 83853 w 83853"/>
              <a:gd name="connsiteY0" fmla="*/ 41927 h 83853"/>
              <a:gd name="connsiteX1" fmla="*/ 41927 w 83853"/>
              <a:gd name="connsiteY1" fmla="*/ 83853 h 83853"/>
              <a:gd name="connsiteX2" fmla="*/ 0 w 83853"/>
              <a:gd name="connsiteY2" fmla="*/ 41927 h 83853"/>
              <a:gd name="connsiteX3" fmla="*/ 41927 w 83853"/>
              <a:gd name="connsiteY3" fmla="*/ 0 h 83853"/>
              <a:gd name="connsiteX4" fmla="*/ 83853 w 83853"/>
              <a:gd name="connsiteY4" fmla="*/ 41927 h 83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53" h="83853">
                <a:moveTo>
                  <a:pt x="83853" y="41927"/>
                </a:moveTo>
                <a:cubicBezTo>
                  <a:pt x="83853" y="65082"/>
                  <a:pt x="65082" y="83853"/>
                  <a:pt x="41927" y="83853"/>
                </a:cubicBezTo>
                <a:cubicBezTo>
                  <a:pt x="18771" y="83853"/>
                  <a:pt x="0" y="65082"/>
                  <a:pt x="0" y="41927"/>
                </a:cubicBezTo>
                <a:cubicBezTo>
                  <a:pt x="0" y="18771"/>
                  <a:pt x="18771" y="0"/>
                  <a:pt x="41927" y="0"/>
                </a:cubicBezTo>
                <a:cubicBezTo>
                  <a:pt x="65082" y="0"/>
                  <a:pt x="83853" y="18771"/>
                  <a:pt x="83853" y="41927"/>
                </a:cubicBezTo>
                <a:close/>
              </a:path>
            </a:pathLst>
          </a:custGeom>
          <a:solidFill>
            <a:schemeClr val="bg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305" name="Group 304">
            <a:extLst>
              <a:ext uri="{FF2B5EF4-FFF2-40B4-BE49-F238E27FC236}">
                <a16:creationId xmlns:a16="http://schemas.microsoft.com/office/drawing/2014/main" id="{53A0FC8F-8D1B-44C2-8144-6436A8EB2298}"/>
              </a:ext>
            </a:extLst>
          </p:cNvPr>
          <p:cNvGrpSpPr/>
          <p:nvPr/>
        </p:nvGrpSpPr>
        <p:grpSpPr>
          <a:xfrm>
            <a:off x="533400" y="1823260"/>
            <a:ext cx="469434" cy="1091606"/>
            <a:chOff x="1440179" y="2599154"/>
            <a:chExt cx="755774" cy="1757451"/>
          </a:xfrm>
          <a:solidFill>
            <a:schemeClr val="tx2"/>
          </a:solidFill>
        </p:grpSpPr>
        <p:sp>
          <p:nvSpPr>
            <p:cNvPr id="367" name="Freeform: Shape 366">
              <a:extLst>
                <a:ext uri="{FF2B5EF4-FFF2-40B4-BE49-F238E27FC236}">
                  <a16:creationId xmlns:a16="http://schemas.microsoft.com/office/drawing/2014/main" id="{B1627AAA-FF1F-48EC-9246-FE3355CF256C}"/>
                </a:ext>
              </a:extLst>
            </p:cNvPr>
            <p:cNvSpPr/>
            <p:nvPr/>
          </p:nvSpPr>
          <p:spPr>
            <a:xfrm>
              <a:off x="1792563" y="2599154"/>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8" y="45349"/>
                    <a:pt x="22675" y="45349"/>
                  </a:cubicBezTo>
                  <a:cubicBezTo>
                    <a:pt x="10152" y="45349"/>
                    <a:pt x="0" y="35197"/>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8" name="Freeform: Shape 367">
              <a:extLst>
                <a:ext uri="{FF2B5EF4-FFF2-40B4-BE49-F238E27FC236}">
                  <a16:creationId xmlns:a16="http://schemas.microsoft.com/office/drawing/2014/main" id="{86D98116-FA88-4D78-B9AD-724F85B40493}"/>
                </a:ext>
              </a:extLst>
            </p:cNvPr>
            <p:cNvSpPr/>
            <p:nvPr/>
          </p:nvSpPr>
          <p:spPr>
            <a:xfrm>
              <a:off x="2150604" y="2599154"/>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8" y="45349"/>
                    <a:pt x="22675" y="45349"/>
                  </a:cubicBezTo>
                  <a:cubicBezTo>
                    <a:pt x="10152" y="45349"/>
                    <a:pt x="0" y="35197"/>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369" name="Group 368">
              <a:extLst>
                <a:ext uri="{FF2B5EF4-FFF2-40B4-BE49-F238E27FC236}">
                  <a16:creationId xmlns:a16="http://schemas.microsoft.com/office/drawing/2014/main" id="{B78BB1EE-67CA-4924-813C-472B4130DC3F}"/>
                </a:ext>
              </a:extLst>
            </p:cNvPr>
            <p:cNvGrpSpPr/>
            <p:nvPr/>
          </p:nvGrpSpPr>
          <p:grpSpPr>
            <a:xfrm>
              <a:off x="1440179" y="3626739"/>
              <a:ext cx="45349" cy="729866"/>
              <a:chOff x="1440179" y="3626739"/>
              <a:chExt cx="45349" cy="729866"/>
            </a:xfrm>
            <a:grpFill/>
          </p:grpSpPr>
          <p:sp>
            <p:nvSpPr>
              <p:cNvPr id="370" name="Freeform: Shape 369">
                <a:extLst>
                  <a:ext uri="{FF2B5EF4-FFF2-40B4-BE49-F238E27FC236}">
                    <a16:creationId xmlns:a16="http://schemas.microsoft.com/office/drawing/2014/main" id="{979D807A-0343-4CEE-A9BB-060F13BBA4DC}"/>
                  </a:ext>
                </a:extLst>
              </p:cNvPr>
              <p:cNvSpPr/>
              <p:nvPr/>
            </p:nvSpPr>
            <p:spPr>
              <a:xfrm>
                <a:off x="1440179" y="3626739"/>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8" y="45349"/>
                      <a:pt x="22675" y="45349"/>
                    </a:cubicBezTo>
                    <a:cubicBezTo>
                      <a:pt x="10152" y="45349"/>
                      <a:pt x="0" y="35197"/>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71" name="Freeform: Shape 370">
                <a:extLst>
                  <a:ext uri="{FF2B5EF4-FFF2-40B4-BE49-F238E27FC236}">
                    <a16:creationId xmlns:a16="http://schemas.microsoft.com/office/drawing/2014/main" id="{1A640C54-4EAD-4B8E-BB22-2A2098B383DF}"/>
                  </a:ext>
                </a:extLst>
              </p:cNvPr>
              <p:cNvSpPr/>
              <p:nvPr/>
            </p:nvSpPr>
            <p:spPr>
              <a:xfrm>
                <a:off x="1440179" y="4311256"/>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8" y="45349"/>
                      <a:pt x="22675" y="45349"/>
                    </a:cubicBezTo>
                    <a:cubicBezTo>
                      <a:pt x="10152" y="45349"/>
                      <a:pt x="0" y="35197"/>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sp>
        <p:nvSpPr>
          <p:cNvPr id="306" name="Freeform: Shape 305">
            <a:extLst>
              <a:ext uri="{FF2B5EF4-FFF2-40B4-BE49-F238E27FC236}">
                <a16:creationId xmlns:a16="http://schemas.microsoft.com/office/drawing/2014/main" id="{A9BFD800-A512-4719-A4AC-FDF3E701A0EC}"/>
              </a:ext>
            </a:extLst>
          </p:cNvPr>
          <p:cNvSpPr/>
          <p:nvPr/>
        </p:nvSpPr>
        <p:spPr>
          <a:xfrm>
            <a:off x="2229938" y="1116996"/>
            <a:ext cx="26396" cy="299364"/>
          </a:xfrm>
          <a:custGeom>
            <a:avLst/>
            <a:gdLst>
              <a:gd name="connsiteX0" fmla="*/ 21248 w 42497"/>
              <a:gd name="connsiteY0" fmla="*/ 481967 h 481967"/>
              <a:gd name="connsiteX1" fmla="*/ 21248 w 42497"/>
              <a:gd name="connsiteY1" fmla="*/ 481967 h 481967"/>
              <a:gd name="connsiteX2" fmla="*/ 0 w 42497"/>
              <a:gd name="connsiteY2" fmla="*/ 460719 h 481967"/>
              <a:gd name="connsiteX3" fmla="*/ 0 w 42497"/>
              <a:gd name="connsiteY3" fmla="*/ 21249 h 481967"/>
              <a:gd name="connsiteX4" fmla="*/ 21248 w 42497"/>
              <a:gd name="connsiteY4" fmla="*/ 0 h 481967"/>
              <a:gd name="connsiteX5" fmla="*/ 21248 w 42497"/>
              <a:gd name="connsiteY5" fmla="*/ 0 h 481967"/>
              <a:gd name="connsiteX6" fmla="*/ 42497 w 42497"/>
              <a:gd name="connsiteY6" fmla="*/ 21249 h 481967"/>
              <a:gd name="connsiteX7" fmla="*/ 42497 w 42497"/>
              <a:gd name="connsiteY7" fmla="*/ 460719 h 481967"/>
              <a:gd name="connsiteX8" fmla="*/ 21248 w 42497"/>
              <a:gd name="connsiteY8" fmla="*/ 481967 h 481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97" h="481967">
                <a:moveTo>
                  <a:pt x="21248" y="481967"/>
                </a:moveTo>
                <a:lnTo>
                  <a:pt x="21248" y="481967"/>
                </a:lnTo>
                <a:cubicBezTo>
                  <a:pt x="9507" y="481967"/>
                  <a:pt x="0" y="472460"/>
                  <a:pt x="0" y="460719"/>
                </a:cubicBezTo>
                <a:lnTo>
                  <a:pt x="0" y="21249"/>
                </a:lnTo>
                <a:cubicBezTo>
                  <a:pt x="0" y="9507"/>
                  <a:pt x="9507" y="0"/>
                  <a:pt x="21248" y="0"/>
                </a:cubicBezTo>
                <a:lnTo>
                  <a:pt x="21248" y="0"/>
                </a:lnTo>
                <a:cubicBezTo>
                  <a:pt x="32990" y="0"/>
                  <a:pt x="42497" y="9507"/>
                  <a:pt x="42497" y="21249"/>
                </a:cubicBezTo>
                <a:lnTo>
                  <a:pt x="42497" y="460719"/>
                </a:lnTo>
                <a:cubicBezTo>
                  <a:pt x="42497" y="472460"/>
                  <a:pt x="32990" y="481967"/>
                  <a:pt x="21248" y="481967"/>
                </a:cubicBezTo>
                <a:close/>
              </a:path>
            </a:pathLst>
          </a:custGeom>
          <a:solidFill>
            <a:schemeClr val="tx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7" name="Freeform: Shape 306">
            <a:extLst>
              <a:ext uri="{FF2B5EF4-FFF2-40B4-BE49-F238E27FC236}">
                <a16:creationId xmlns:a16="http://schemas.microsoft.com/office/drawing/2014/main" id="{52743409-F385-493C-ACFE-DCDEBAC13826}"/>
              </a:ext>
            </a:extLst>
          </p:cNvPr>
          <p:cNvSpPr/>
          <p:nvPr/>
        </p:nvSpPr>
        <p:spPr>
          <a:xfrm>
            <a:off x="2203718" y="992810"/>
            <a:ext cx="80133" cy="79365"/>
          </a:xfrm>
          <a:custGeom>
            <a:avLst/>
            <a:gdLst>
              <a:gd name="connsiteX0" fmla="*/ 102535 w 129012"/>
              <a:gd name="connsiteY0" fmla="*/ 127777 h 127776"/>
              <a:gd name="connsiteX1" fmla="*/ 26478 w 129012"/>
              <a:gd name="connsiteY1" fmla="*/ 127777 h 127776"/>
              <a:gd name="connsiteX2" fmla="*/ 0 w 129012"/>
              <a:gd name="connsiteY2" fmla="*/ 101299 h 127776"/>
              <a:gd name="connsiteX3" fmla="*/ 0 w 129012"/>
              <a:gd name="connsiteY3" fmla="*/ 26477 h 127776"/>
              <a:gd name="connsiteX4" fmla="*/ 26478 w 129012"/>
              <a:gd name="connsiteY4" fmla="*/ 0 h 127776"/>
              <a:gd name="connsiteX5" fmla="*/ 102535 w 129012"/>
              <a:gd name="connsiteY5" fmla="*/ 0 h 127776"/>
              <a:gd name="connsiteX6" fmla="*/ 129012 w 129012"/>
              <a:gd name="connsiteY6" fmla="*/ 26477 h 127776"/>
              <a:gd name="connsiteX7" fmla="*/ 129012 w 129012"/>
              <a:gd name="connsiteY7" fmla="*/ 101299 h 127776"/>
              <a:gd name="connsiteX8" fmla="*/ 102535 w 129012"/>
              <a:gd name="connsiteY8" fmla="*/ 127777 h 127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012" h="127776">
                <a:moveTo>
                  <a:pt x="102535" y="127777"/>
                </a:moveTo>
                <a:lnTo>
                  <a:pt x="26478" y="127777"/>
                </a:lnTo>
                <a:cubicBezTo>
                  <a:pt x="11836" y="127777"/>
                  <a:pt x="0" y="115893"/>
                  <a:pt x="0" y="101299"/>
                </a:cubicBezTo>
                <a:lnTo>
                  <a:pt x="0" y="26477"/>
                </a:lnTo>
                <a:cubicBezTo>
                  <a:pt x="0" y="11836"/>
                  <a:pt x="11884" y="0"/>
                  <a:pt x="26478" y="0"/>
                </a:cubicBezTo>
                <a:lnTo>
                  <a:pt x="102535" y="0"/>
                </a:lnTo>
                <a:cubicBezTo>
                  <a:pt x="117176" y="0"/>
                  <a:pt x="129012" y="11884"/>
                  <a:pt x="129012" y="26477"/>
                </a:cubicBezTo>
                <a:lnTo>
                  <a:pt x="129012" y="101299"/>
                </a:lnTo>
                <a:cubicBezTo>
                  <a:pt x="129012" y="115893"/>
                  <a:pt x="117176" y="127777"/>
                  <a:pt x="102535" y="127777"/>
                </a:cubicBezTo>
                <a:close/>
              </a:path>
            </a:pathLst>
          </a:custGeom>
          <a:solidFill>
            <a:schemeClr val="tx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8" name="Freeform: Shape 307">
            <a:extLst>
              <a:ext uri="{FF2B5EF4-FFF2-40B4-BE49-F238E27FC236}">
                <a16:creationId xmlns:a16="http://schemas.microsoft.com/office/drawing/2014/main" id="{704CD638-B7C2-4704-AACB-F2CA952FEF1B}"/>
              </a:ext>
            </a:extLst>
          </p:cNvPr>
          <p:cNvSpPr/>
          <p:nvPr/>
        </p:nvSpPr>
        <p:spPr>
          <a:xfrm>
            <a:off x="1128320" y="1871416"/>
            <a:ext cx="96756" cy="95841"/>
          </a:xfrm>
          <a:custGeom>
            <a:avLst/>
            <a:gdLst>
              <a:gd name="connsiteX0" fmla="*/ 123784 w 155775"/>
              <a:gd name="connsiteY0" fmla="*/ 154302 h 154301"/>
              <a:gd name="connsiteX1" fmla="*/ 31992 w 155775"/>
              <a:gd name="connsiteY1" fmla="*/ 154302 h 154301"/>
              <a:gd name="connsiteX2" fmla="*/ 0 w 155775"/>
              <a:gd name="connsiteY2" fmla="*/ 122310 h 154301"/>
              <a:gd name="connsiteX3" fmla="*/ 0 w 155775"/>
              <a:gd name="connsiteY3" fmla="*/ 31992 h 154301"/>
              <a:gd name="connsiteX4" fmla="*/ 31992 w 155775"/>
              <a:gd name="connsiteY4" fmla="*/ 0 h 154301"/>
              <a:gd name="connsiteX5" fmla="*/ 123784 w 155775"/>
              <a:gd name="connsiteY5" fmla="*/ 0 h 154301"/>
              <a:gd name="connsiteX6" fmla="*/ 155775 w 155775"/>
              <a:gd name="connsiteY6" fmla="*/ 31992 h 154301"/>
              <a:gd name="connsiteX7" fmla="*/ 155775 w 155775"/>
              <a:gd name="connsiteY7" fmla="*/ 122310 h 154301"/>
              <a:gd name="connsiteX8" fmla="*/ 123784 w 155775"/>
              <a:gd name="connsiteY8" fmla="*/ 154302 h 15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775" h="154301">
                <a:moveTo>
                  <a:pt x="123784" y="154302"/>
                </a:moveTo>
                <a:lnTo>
                  <a:pt x="31992" y="154302"/>
                </a:lnTo>
                <a:cubicBezTo>
                  <a:pt x="14308" y="154302"/>
                  <a:pt x="0" y="139993"/>
                  <a:pt x="0" y="122310"/>
                </a:cubicBezTo>
                <a:lnTo>
                  <a:pt x="0" y="31992"/>
                </a:lnTo>
                <a:cubicBezTo>
                  <a:pt x="0" y="14308"/>
                  <a:pt x="14308" y="0"/>
                  <a:pt x="31992" y="0"/>
                </a:cubicBezTo>
                <a:lnTo>
                  <a:pt x="123784" y="0"/>
                </a:lnTo>
                <a:cubicBezTo>
                  <a:pt x="141467" y="0"/>
                  <a:pt x="155775" y="14308"/>
                  <a:pt x="155775" y="31992"/>
                </a:cubicBezTo>
                <a:lnTo>
                  <a:pt x="155775" y="122310"/>
                </a:lnTo>
                <a:cubicBezTo>
                  <a:pt x="155775" y="139993"/>
                  <a:pt x="141467" y="154302"/>
                  <a:pt x="123784" y="154302"/>
                </a:cubicBezTo>
                <a:close/>
              </a:path>
            </a:pathLst>
          </a:custGeom>
          <a:solidFill>
            <a:schemeClr val="tx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9" name="Freeform: Shape 308">
            <a:extLst>
              <a:ext uri="{FF2B5EF4-FFF2-40B4-BE49-F238E27FC236}">
                <a16:creationId xmlns:a16="http://schemas.microsoft.com/office/drawing/2014/main" id="{E7F18F5E-D404-4BF8-9AE8-3ECF5CACB7C9}"/>
              </a:ext>
            </a:extLst>
          </p:cNvPr>
          <p:cNvSpPr/>
          <p:nvPr/>
        </p:nvSpPr>
        <p:spPr>
          <a:xfrm>
            <a:off x="3175274" y="1336935"/>
            <a:ext cx="102071" cy="101185"/>
          </a:xfrm>
          <a:custGeom>
            <a:avLst/>
            <a:gdLst>
              <a:gd name="connsiteX0" fmla="*/ 126398 w 164331"/>
              <a:gd name="connsiteY0" fmla="*/ 162906 h 162905"/>
              <a:gd name="connsiteX1" fmla="*/ 37934 w 164331"/>
              <a:gd name="connsiteY1" fmla="*/ 162906 h 162905"/>
              <a:gd name="connsiteX2" fmla="*/ 0 w 164331"/>
              <a:gd name="connsiteY2" fmla="*/ 124972 h 162905"/>
              <a:gd name="connsiteX3" fmla="*/ 0 w 164331"/>
              <a:gd name="connsiteY3" fmla="*/ 37934 h 162905"/>
              <a:gd name="connsiteX4" fmla="*/ 37934 w 164331"/>
              <a:gd name="connsiteY4" fmla="*/ 0 h 162905"/>
              <a:gd name="connsiteX5" fmla="*/ 126398 w 164331"/>
              <a:gd name="connsiteY5" fmla="*/ 0 h 162905"/>
              <a:gd name="connsiteX6" fmla="*/ 164332 w 164331"/>
              <a:gd name="connsiteY6" fmla="*/ 37934 h 162905"/>
              <a:gd name="connsiteX7" fmla="*/ 164332 w 164331"/>
              <a:gd name="connsiteY7" fmla="*/ 124972 h 162905"/>
              <a:gd name="connsiteX8" fmla="*/ 126398 w 164331"/>
              <a:gd name="connsiteY8" fmla="*/ 162906 h 162905"/>
              <a:gd name="connsiteX9" fmla="*/ 37934 w 164331"/>
              <a:gd name="connsiteY9" fmla="*/ 14213 h 162905"/>
              <a:gd name="connsiteX10" fmla="*/ 14261 w 164331"/>
              <a:gd name="connsiteY10" fmla="*/ 37886 h 162905"/>
              <a:gd name="connsiteX11" fmla="*/ 14261 w 164331"/>
              <a:gd name="connsiteY11" fmla="*/ 124925 h 162905"/>
              <a:gd name="connsiteX12" fmla="*/ 37934 w 164331"/>
              <a:gd name="connsiteY12" fmla="*/ 148597 h 162905"/>
              <a:gd name="connsiteX13" fmla="*/ 126398 w 164331"/>
              <a:gd name="connsiteY13" fmla="*/ 148597 h 162905"/>
              <a:gd name="connsiteX14" fmla="*/ 150071 w 164331"/>
              <a:gd name="connsiteY14" fmla="*/ 124925 h 162905"/>
              <a:gd name="connsiteX15" fmla="*/ 150071 w 164331"/>
              <a:gd name="connsiteY15" fmla="*/ 37886 h 162905"/>
              <a:gd name="connsiteX16" fmla="*/ 126398 w 164331"/>
              <a:gd name="connsiteY16" fmla="*/ 14213 h 162905"/>
              <a:gd name="connsiteX17" fmla="*/ 37934 w 164331"/>
              <a:gd name="connsiteY17" fmla="*/ 14213 h 162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4331" h="162905">
                <a:moveTo>
                  <a:pt x="126398" y="162906"/>
                </a:moveTo>
                <a:lnTo>
                  <a:pt x="37934" y="162906"/>
                </a:lnTo>
                <a:cubicBezTo>
                  <a:pt x="17018" y="162906"/>
                  <a:pt x="0" y="145888"/>
                  <a:pt x="0" y="124972"/>
                </a:cubicBezTo>
                <a:lnTo>
                  <a:pt x="0" y="37934"/>
                </a:lnTo>
                <a:cubicBezTo>
                  <a:pt x="0" y="17018"/>
                  <a:pt x="17018" y="0"/>
                  <a:pt x="37934" y="0"/>
                </a:cubicBezTo>
                <a:lnTo>
                  <a:pt x="126398" y="0"/>
                </a:lnTo>
                <a:cubicBezTo>
                  <a:pt x="147314" y="0"/>
                  <a:pt x="164332" y="17018"/>
                  <a:pt x="164332" y="37934"/>
                </a:cubicBezTo>
                <a:lnTo>
                  <a:pt x="164332" y="124972"/>
                </a:lnTo>
                <a:cubicBezTo>
                  <a:pt x="164332" y="145888"/>
                  <a:pt x="147314" y="162906"/>
                  <a:pt x="126398" y="162906"/>
                </a:cubicBezTo>
                <a:close/>
                <a:moveTo>
                  <a:pt x="37934" y="14213"/>
                </a:moveTo>
                <a:cubicBezTo>
                  <a:pt x="24861" y="14213"/>
                  <a:pt x="14261" y="24861"/>
                  <a:pt x="14261" y="37886"/>
                </a:cubicBezTo>
                <a:lnTo>
                  <a:pt x="14261" y="124925"/>
                </a:lnTo>
                <a:cubicBezTo>
                  <a:pt x="14261" y="137997"/>
                  <a:pt x="24909" y="148597"/>
                  <a:pt x="37934" y="148597"/>
                </a:cubicBezTo>
                <a:lnTo>
                  <a:pt x="126398" y="148597"/>
                </a:lnTo>
                <a:cubicBezTo>
                  <a:pt x="139470" y="148597"/>
                  <a:pt x="150071" y="137949"/>
                  <a:pt x="150071" y="124925"/>
                </a:cubicBezTo>
                <a:lnTo>
                  <a:pt x="150071" y="37886"/>
                </a:lnTo>
                <a:cubicBezTo>
                  <a:pt x="150071" y="24814"/>
                  <a:pt x="139423" y="14213"/>
                  <a:pt x="126398" y="14213"/>
                </a:cubicBezTo>
                <a:lnTo>
                  <a:pt x="37934" y="14213"/>
                </a:lnTo>
                <a:close/>
              </a:path>
            </a:pathLst>
          </a:custGeom>
          <a:solidFill>
            <a:schemeClr val="tx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10" name="Freeform: Shape 309">
            <a:extLst>
              <a:ext uri="{FF2B5EF4-FFF2-40B4-BE49-F238E27FC236}">
                <a16:creationId xmlns:a16="http://schemas.microsoft.com/office/drawing/2014/main" id="{35973656-46D9-46ED-A6DE-A899B422C611}"/>
              </a:ext>
            </a:extLst>
          </p:cNvPr>
          <p:cNvSpPr/>
          <p:nvPr/>
        </p:nvSpPr>
        <p:spPr>
          <a:xfrm>
            <a:off x="2184733" y="637966"/>
            <a:ext cx="94484" cy="94484"/>
          </a:xfrm>
          <a:custGeom>
            <a:avLst/>
            <a:gdLst>
              <a:gd name="connsiteX0" fmla="*/ 152115 w 152115"/>
              <a:gd name="connsiteY0" fmla="*/ 76058 h 152115"/>
              <a:gd name="connsiteX1" fmla="*/ 76058 w 152115"/>
              <a:gd name="connsiteY1" fmla="*/ 152115 h 152115"/>
              <a:gd name="connsiteX2" fmla="*/ 0 w 152115"/>
              <a:gd name="connsiteY2" fmla="*/ 76058 h 152115"/>
              <a:gd name="connsiteX3" fmla="*/ 76058 w 152115"/>
              <a:gd name="connsiteY3" fmla="*/ 0 h 152115"/>
              <a:gd name="connsiteX4" fmla="*/ 152115 w 152115"/>
              <a:gd name="connsiteY4" fmla="*/ 76058 h 152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15" h="152115">
                <a:moveTo>
                  <a:pt x="152115" y="76058"/>
                </a:moveTo>
                <a:cubicBezTo>
                  <a:pt x="152115" y="118063"/>
                  <a:pt x="118063" y="152115"/>
                  <a:pt x="76058" y="152115"/>
                </a:cubicBezTo>
                <a:cubicBezTo>
                  <a:pt x="34052" y="152115"/>
                  <a:pt x="0" y="118063"/>
                  <a:pt x="0" y="76058"/>
                </a:cubicBezTo>
                <a:cubicBezTo>
                  <a:pt x="0" y="34052"/>
                  <a:pt x="34052" y="0"/>
                  <a:pt x="76058" y="0"/>
                </a:cubicBezTo>
                <a:cubicBezTo>
                  <a:pt x="118063" y="0"/>
                  <a:pt x="152115" y="34052"/>
                  <a:pt x="152115" y="76058"/>
                </a:cubicBezTo>
                <a:close/>
              </a:path>
            </a:pathLst>
          </a:custGeom>
          <a:solidFill>
            <a:schemeClr val="tx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311" name="Graphic 1">
            <a:extLst>
              <a:ext uri="{FF2B5EF4-FFF2-40B4-BE49-F238E27FC236}">
                <a16:creationId xmlns:a16="http://schemas.microsoft.com/office/drawing/2014/main" id="{DCE03753-448A-470D-9EFF-D7B66A3BC387}"/>
              </a:ext>
            </a:extLst>
          </p:cNvPr>
          <p:cNvGrpSpPr/>
          <p:nvPr/>
        </p:nvGrpSpPr>
        <p:grpSpPr>
          <a:xfrm>
            <a:off x="624672" y="775447"/>
            <a:ext cx="999678" cy="999678"/>
            <a:chOff x="1587124" y="912209"/>
            <a:chExt cx="1609449" cy="1609449"/>
          </a:xfrm>
          <a:solidFill>
            <a:srgbClr val="0D274D"/>
          </a:solidFill>
        </p:grpSpPr>
        <p:sp>
          <p:nvSpPr>
            <p:cNvPr id="345" name="Freeform: Shape 344">
              <a:extLst>
                <a:ext uri="{FF2B5EF4-FFF2-40B4-BE49-F238E27FC236}">
                  <a16:creationId xmlns:a16="http://schemas.microsoft.com/office/drawing/2014/main" id="{BAE84CF4-2617-49B6-B49A-BA1F19F3F509}"/>
                </a:ext>
              </a:extLst>
            </p:cNvPr>
            <p:cNvSpPr/>
            <p:nvPr/>
          </p:nvSpPr>
          <p:spPr>
            <a:xfrm>
              <a:off x="2110876" y="1435960"/>
              <a:ext cx="1038827" cy="1038779"/>
            </a:xfrm>
            <a:custGeom>
              <a:avLst/>
              <a:gdLst>
                <a:gd name="connsiteX0" fmla="*/ 1018589 w 1038827"/>
                <a:gd name="connsiteY0" fmla="*/ 3458 h 1038779"/>
                <a:gd name="connsiteX1" fmla="*/ 3458 w 1038827"/>
                <a:gd name="connsiteY1" fmla="*/ 1018589 h 1038779"/>
                <a:gd name="connsiteX2" fmla="*/ 3458 w 1038827"/>
                <a:gd name="connsiteY2" fmla="*/ 1035322 h 1038779"/>
                <a:gd name="connsiteX3" fmla="*/ 20191 w 1038827"/>
                <a:gd name="connsiteY3" fmla="*/ 1035322 h 1038779"/>
                <a:gd name="connsiteX4" fmla="*/ 1035369 w 1038827"/>
                <a:gd name="connsiteY4" fmla="*/ 20191 h 1038779"/>
                <a:gd name="connsiteX5" fmla="*/ 1035369 w 1038827"/>
                <a:gd name="connsiteY5" fmla="*/ 3458 h 1038779"/>
                <a:gd name="connsiteX6" fmla="*/ 1018589 w 1038827"/>
                <a:gd name="connsiteY6" fmla="*/ 3458 h 1038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827" h="1038779">
                  <a:moveTo>
                    <a:pt x="1018589" y="3458"/>
                  </a:moveTo>
                  <a:lnTo>
                    <a:pt x="3458" y="1018589"/>
                  </a:lnTo>
                  <a:cubicBezTo>
                    <a:pt x="-1153" y="1023200"/>
                    <a:pt x="-1153" y="1030711"/>
                    <a:pt x="3458" y="1035322"/>
                  </a:cubicBezTo>
                  <a:cubicBezTo>
                    <a:pt x="8069" y="1039933"/>
                    <a:pt x="15580" y="1039933"/>
                    <a:pt x="20191" y="1035322"/>
                  </a:cubicBezTo>
                  <a:lnTo>
                    <a:pt x="1035369" y="20191"/>
                  </a:lnTo>
                  <a:cubicBezTo>
                    <a:pt x="1039980" y="15580"/>
                    <a:pt x="1039980" y="8069"/>
                    <a:pt x="1035369" y="3458"/>
                  </a:cubicBezTo>
                  <a:cubicBezTo>
                    <a:pt x="1030711" y="-1153"/>
                    <a:pt x="1023248" y="-1153"/>
                    <a:pt x="1018589"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6" name="Freeform: Shape 345">
              <a:extLst>
                <a:ext uri="{FF2B5EF4-FFF2-40B4-BE49-F238E27FC236}">
                  <a16:creationId xmlns:a16="http://schemas.microsoft.com/office/drawing/2014/main" id="{653E95FD-79B2-4AA5-AB6A-F146851700E7}"/>
                </a:ext>
              </a:extLst>
            </p:cNvPr>
            <p:cNvSpPr/>
            <p:nvPr/>
          </p:nvSpPr>
          <p:spPr>
            <a:xfrm>
              <a:off x="2036197" y="1361287"/>
              <a:ext cx="1082132" cy="1082174"/>
            </a:xfrm>
            <a:custGeom>
              <a:avLst/>
              <a:gdLst>
                <a:gd name="connsiteX0" fmla="*/ 1061990 w 1082132"/>
                <a:gd name="connsiteY0" fmla="*/ 3452 h 1082174"/>
                <a:gd name="connsiteX1" fmla="*/ 3458 w 1082132"/>
                <a:gd name="connsiteY1" fmla="*/ 1061983 h 1082174"/>
                <a:gd name="connsiteX2" fmla="*/ 3458 w 1082132"/>
                <a:gd name="connsiteY2" fmla="*/ 1078716 h 1082174"/>
                <a:gd name="connsiteX3" fmla="*/ 20191 w 1082132"/>
                <a:gd name="connsiteY3" fmla="*/ 1078716 h 1082174"/>
                <a:gd name="connsiteX4" fmla="*/ 1078675 w 1082132"/>
                <a:gd name="connsiteY4" fmla="*/ 20233 h 1082174"/>
                <a:gd name="connsiteX5" fmla="*/ 1078675 w 1082132"/>
                <a:gd name="connsiteY5" fmla="*/ 3500 h 1082174"/>
                <a:gd name="connsiteX6" fmla="*/ 1061990 w 1082132"/>
                <a:gd name="connsiteY6" fmla="*/ 3452 h 108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2132" h="1082174">
                  <a:moveTo>
                    <a:pt x="1061990" y="3452"/>
                  </a:moveTo>
                  <a:lnTo>
                    <a:pt x="3458" y="1061983"/>
                  </a:lnTo>
                  <a:cubicBezTo>
                    <a:pt x="-1153" y="1066594"/>
                    <a:pt x="-1153" y="1074105"/>
                    <a:pt x="3458" y="1078716"/>
                  </a:cubicBezTo>
                  <a:cubicBezTo>
                    <a:pt x="8069" y="1083327"/>
                    <a:pt x="15580" y="1083327"/>
                    <a:pt x="20191" y="1078716"/>
                  </a:cubicBezTo>
                  <a:lnTo>
                    <a:pt x="1078675" y="20233"/>
                  </a:lnTo>
                  <a:cubicBezTo>
                    <a:pt x="1083286" y="15622"/>
                    <a:pt x="1083286" y="8111"/>
                    <a:pt x="1078675" y="3500"/>
                  </a:cubicBezTo>
                  <a:cubicBezTo>
                    <a:pt x="1074111" y="-1159"/>
                    <a:pt x="1066601" y="-1159"/>
                    <a:pt x="1061990" y="3452"/>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7" name="Freeform: Shape 346">
              <a:extLst>
                <a:ext uri="{FF2B5EF4-FFF2-40B4-BE49-F238E27FC236}">
                  <a16:creationId xmlns:a16="http://schemas.microsoft.com/office/drawing/2014/main" id="{E5FDFEB6-56FE-4E26-B685-CB47AD4BE4B9}"/>
                </a:ext>
              </a:extLst>
            </p:cNvPr>
            <p:cNvSpPr/>
            <p:nvPr/>
          </p:nvSpPr>
          <p:spPr>
            <a:xfrm>
              <a:off x="1967602" y="1292651"/>
              <a:ext cx="1113459" cy="1113494"/>
            </a:xfrm>
            <a:custGeom>
              <a:avLst/>
              <a:gdLst>
                <a:gd name="connsiteX0" fmla="*/ 1093268 w 1113459"/>
                <a:gd name="connsiteY0" fmla="*/ 3494 h 1113494"/>
                <a:gd name="connsiteX1" fmla="*/ 3458 w 1113459"/>
                <a:gd name="connsiteY1" fmla="*/ 1093304 h 1113494"/>
                <a:gd name="connsiteX2" fmla="*/ 3458 w 1113459"/>
                <a:gd name="connsiteY2" fmla="*/ 1110036 h 1113494"/>
                <a:gd name="connsiteX3" fmla="*/ 20191 w 1113459"/>
                <a:gd name="connsiteY3" fmla="*/ 1110036 h 1113494"/>
                <a:gd name="connsiteX4" fmla="*/ 1110001 w 1113459"/>
                <a:gd name="connsiteY4" fmla="*/ 20227 h 1113494"/>
                <a:gd name="connsiteX5" fmla="*/ 1110001 w 1113459"/>
                <a:gd name="connsiteY5" fmla="*/ 3494 h 1113494"/>
                <a:gd name="connsiteX6" fmla="*/ 1093268 w 1113459"/>
                <a:gd name="connsiteY6" fmla="*/ 3494 h 111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3459" h="1113494">
                  <a:moveTo>
                    <a:pt x="1093268" y="3494"/>
                  </a:moveTo>
                  <a:lnTo>
                    <a:pt x="3458" y="1093304"/>
                  </a:lnTo>
                  <a:cubicBezTo>
                    <a:pt x="-1153" y="1097915"/>
                    <a:pt x="-1153" y="1105425"/>
                    <a:pt x="3458" y="1110036"/>
                  </a:cubicBezTo>
                  <a:cubicBezTo>
                    <a:pt x="8069" y="1114647"/>
                    <a:pt x="15580" y="1114647"/>
                    <a:pt x="20191" y="1110036"/>
                  </a:cubicBezTo>
                  <a:lnTo>
                    <a:pt x="1110001" y="20227"/>
                  </a:lnTo>
                  <a:cubicBezTo>
                    <a:pt x="1114612" y="15616"/>
                    <a:pt x="1114612" y="8105"/>
                    <a:pt x="1110001" y="3494"/>
                  </a:cubicBezTo>
                  <a:cubicBezTo>
                    <a:pt x="1105390" y="-1165"/>
                    <a:pt x="1097879" y="-1165"/>
                    <a:pt x="1093268" y="349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8" name="Freeform: Shape 347">
              <a:extLst>
                <a:ext uri="{FF2B5EF4-FFF2-40B4-BE49-F238E27FC236}">
                  <a16:creationId xmlns:a16="http://schemas.microsoft.com/office/drawing/2014/main" id="{BC114634-40B5-40FB-823A-5F6679D27FA6}"/>
                </a:ext>
              </a:extLst>
            </p:cNvPr>
            <p:cNvSpPr/>
            <p:nvPr/>
          </p:nvSpPr>
          <p:spPr>
            <a:xfrm>
              <a:off x="2192352" y="1517401"/>
              <a:ext cx="981832" cy="981867"/>
            </a:xfrm>
            <a:custGeom>
              <a:avLst/>
              <a:gdLst>
                <a:gd name="connsiteX0" fmla="*/ 961641 w 981832"/>
                <a:gd name="connsiteY0" fmla="*/ 3494 h 981867"/>
                <a:gd name="connsiteX1" fmla="*/ 3458 w 981832"/>
                <a:gd name="connsiteY1" fmla="*/ 961676 h 981867"/>
                <a:gd name="connsiteX2" fmla="*/ 3458 w 981832"/>
                <a:gd name="connsiteY2" fmla="*/ 978409 h 981867"/>
                <a:gd name="connsiteX3" fmla="*/ 20191 w 981832"/>
                <a:gd name="connsiteY3" fmla="*/ 978409 h 981867"/>
                <a:gd name="connsiteX4" fmla="*/ 978374 w 981832"/>
                <a:gd name="connsiteY4" fmla="*/ 20227 h 981867"/>
                <a:gd name="connsiteX5" fmla="*/ 978374 w 981832"/>
                <a:gd name="connsiteY5" fmla="*/ 3494 h 981867"/>
                <a:gd name="connsiteX6" fmla="*/ 961641 w 981832"/>
                <a:gd name="connsiteY6" fmla="*/ 3494 h 981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832" h="981867">
                  <a:moveTo>
                    <a:pt x="961641" y="3494"/>
                  </a:moveTo>
                  <a:lnTo>
                    <a:pt x="3458" y="961676"/>
                  </a:lnTo>
                  <a:cubicBezTo>
                    <a:pt x="-1153" y="966287"/>
                    <a:pt x="-1153" y="973798"/>
                    <a:pt x="3458" y="978409"/>
                  </a:cubicBezTo>
                  <a:cubicBezTo>
                    <a:pt x="8069" y="983020"/>
                    <a:pt x="15580" y="983020"/>
                    <a:pt x="20191" y="978409"/>
                  </a:cubicBezTo>
                  <a:lnTo>
                    <a:pt x="978374" y="20227"/>
                  </a:lnTo>
                  <a:cubicBezTo>
                    <a:pt x="982985" y="15616"/>
                    <a:pt x="982985" y="8105"/>
                    <a:pt x="978374" y="3494"/>
                  </a:cubicBezTo>
                  <a:cubicBezTo>
                    <a:pt x="973763" y="-1165"/>
                    <a:pt x="966252" y="-1165"/>
                    <a:pt x="961641" y="349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9" name="Freeform: Shape 348">
              <a:extLst>
                <a:ext uri="{FF2B5EF4-FFF2-40B4-BE49-F238E27FC236}">
                  <a16:creationId xmlns:a16="http://schemas.microsoft.com/office/drawing/2014/main" id="{C8C07AEA-AA09-480D-9041-FD87EC1EF9E3}"/>
                </a:ext>
              </a:extLst>
            </p:cNvPr>
            <p:cNvSpPr/>
            <p:nvPr/>
          </p:nvSpPr>
          <p:spPr>
            <a:xfrm>
              <a:off x="2866223" y="2191307"/>
              <a:ext cx="163927" cy="163927"/>
            </a:xfrm>
            <a:custGeom>
              <a:avLst/>
              <a:gdLst>
                <a:gd name="connsiteX0" fmla="*/ 143737 w 163927"/>
                <a:gd name="connsiteY0" fmla="*/ 3458 h 163927"/>
                <a:gd name="connsiteX1" fmla="*/ 3458 w 163927"/>
                <a:gd name="connsiteY1" fmla="*/ 143737 h 163927"/>
                <a:gd name="connsiteX2" fmla="*/ 3458 w 163927"/>
                <a:gd name="connsiteY2" fmla="*/ 160470 h 163927"/>
                <a:gd name="connsiteX3" fmla="*/ 20191 w 163927"/>
                <a:gd name="connsiteY3" fmla="*/ 160470 h 163927"/>
                <a:gd name="connsiteX4" fmla="*/ 160470 w 163927"/>
                <a:gd name="connsiteY4" fmla="*/ 20191 h 163927"/>
                <a:gd name="connsiteX5" fmla="*/ 160470 w 163927"/>
                <a:gd name="connsiteY5" fmla="*/ 3458 h 163927"/>
                <a:gd name="connsiteX6" fmla="*/ 143737 w 163927"/>
                <a:gd name="connsiteY6" fmla="*/ 3458 h 16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927" h="163927">
                  <a:moveTo>
                    <a:pt x="143737" y="3458"/>
                  </a:moveTo>
                  <a:lnTo>
                    <a:pt x="3458" y="143737"/>
                  </a:lnTo>
                  <a:cubicBezTo>
                    <a:pt x="-1153" y="148348"/>
                    <a:pt x="-1153" y="155859"/>
                    <a:pt x="3458" y="160470"/>
                  </a:cubicBezTo>
                  <a:cubicBezTo>
                    <a:pt x="8069" y="165081"/>
                    <a:pt x="15580" y="165081"/>
                    <a:pt x="20191" y="160470"/>
                  </a:cubicBezTo>
                  <a:lnTo>
                    <a:pt x="160470" y="20191"/>
                  </a:lnTo>
                  <a:cubicBezTo>
                    <a:pt x="165081" y="15580"/>
                    <a:pt x="165081" y="8069"/>
                    <a:pt x="160470" y="3458"/>
                  </a:cubicBezTo>
                  <a:cubicBezTo>
                    <a:pt x="155859" y="-1153"/>
                    <a:pt x="148348" y="-1153"/>
                    <a:pt x="143737"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0" name="Freeform: Shape 349">
              <a:extLst>
                <a:ext uri="{FF2B5EF4-FFF2-40B4-BE49-F238E27FC236}">
                  <a16:creationId xmlns:a16="http://schemas.microsoft.com/office/drawing/2014/main" id="{5E1C0C75-AE39-4BED-9193-D7A5768E4D00}"/>
                </a:ext>
              </a:extLst>
            </p:cNvPr>
            <p:cNvSpPr/>
            <p:nvPr/>
          </p:nvSpPr>
          <p:spPr>
            <a:xfrm>
              <a:off x="2636148" y="1961233"/>
              <a:ext cx="518070" cy="518070"/>
            </a:xfrm>
            <a:custGeom>
              <a:avLst/>
              <a:gdLst>
                <a:gd name="connsiteX0" fmla="*/ 497880 w 518070"/>
                <a:gd name="connsiteY0" fmla="*/ 3458 h 518070"/>
                <a:gd name="connsiteX1" fmla="*/ 3458 w 518070"/>
                <a:gd name="connsiteY1" fmla="*/ 497880 h 518070"/>
                <a:gd name="connsiteX2" fmla="*/ 3458 w 518070"/>
                <a:gd name="connsiteY2" fmla="*/ 514613 h 518070"/>
                <a:gd name="connsiteX3" fmla="*/ 20191 w 518070"/>
                <a:gd name="connsiteY3" fmla="*/ 514613 h 518070"/>
                <a:gd name="connsiteX4" fmla="*/ 514613 w 518070"/>
                <a:gd name="connsiteY4" fmla="*/ 20191 h 518070"/>
                <a:gd name="connsiteX5" fmla="*/ 514613 w 518070"/>
                <a:gd name="connsiteY5" fmla="*/ 3458 h 518070"/>
                <a:gd name="connsiteX6" fmla="*/ 497880 w 518070"/>
                <a:gd name="connsiteY6" fmla="*/ 3458 h 51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070" h="518070">
                  <a:moveTo>
                    <a:pt x="497880" y="3458"/>
                  </a:moveTo>
                  <a:lnTo>
                    <a:pt x="3458" y="497880"/>
                  </a:lnTo>
                  <a:cubicBezTo>
                    <a:pt x="-1153" y="502491"/>
                    <a:pt x="-1153" y="510002"/>
                    <a:pt x="3458" y="514613"/>
                  </a:cubicBezTo>
                  <a:cubicBezTo>
                    <a:pt x="8069" y="519224"/>
                    <a:pt x="15580" y="519224"/>
                    <a:pt x="20191" y="514613"/>
                  </a:cubicBezTo>
                  <a:lnTo>
                    <a:pt x="514613" y="20191"/>
                  </a:lnTo>
                  <a:cubicBezTo>
                    <a:pt x="519224" y="15580"/>
                    <a:pt x="519224" y="8069"/>
                    <a:pt x="514613" y="3458"/>
                  </a:cubicBezTo>
                  <a:cubicBezTo>
                    <a:pt x="510002" y="-1153"/>
                    <a:pt x="502539" y="-1153"/>
                    <a:pt x="497880"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1" name="Freeform: Shape 350">
              <a:extLst>
                <a:ext uri="{FF2B5EF4-FFF2-40B4-BE49-F238E27FC236}">
                  <a16:creationId xmlns:a16="http://schemas.microsoft.com/office/drawing/2014/main" id="{93BEC64A-B03C-4169-8345-4DD9CD9774DD}"/>
                </a:ext>
              </a:extLst>
            </p:cNvPr>
            <p:cNvSpPr/>
            <p:nvPr/>
          </p:nvSpPr>
          <p:spPr>
            <a:xfrm>
              <a:off x="2281958" y="1607042"/>
              <a:ext cx="908579" cy="908578"/>
            </a:xfrm>
            <a:custGeom>
              <a:avLst/>
              <a:gdLst>
                <a:gd name="connsiteX0" fmla="*/ 888388 w 908579"/>
                <a:gd name="connsiteY0" fmla="*/ 3458 h 908578"/>
                <a:gd name="connsiteX1" fmla="*/ 3458 w 908579"/>
                <a:gd name="connsiteY1" fmla="*/ 888388 h 908578"/>
                <a:gd name="connsiteX2" fmla="*/ 3458 w 908579"/>
                <a:gd name="connsiteY2" fmla="*/ 905121 h 908578"/>
                <a:gd name="connsiteX3" fmla="*/ 20191 w 908579"/>
                <a:gd name="connsiteY3" fmla="*/ 905121 h 908578"/>
                <a:gd name="connsiteX4" fmla="*/ 905121 w 908579"/>
                <a:gd name="connsiteY4" fmla="*/ 20191 h 908578"/>
                <a:gd name="connsiteX5" fmla="*/ 905121 w 908579"/>
                <a:gd name="connsiteY5" fmla="*/ 3458 h 908578"/>
                <a:gd name="connsiteX6" fmla="*/ 888388 w 908579"/>
                <a:gd name="connsiteY6" fmla="*/ 3458 h 90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579" h="908578">
                  <a:moveTo>
                    <a:pt x="888388" y="3458"/>
                  </a:moveTo>
                  <a:lnTo>
                    <a:pt x="3458" y="888388"/>
                  </a:lnTo>
                  <a:cubicBezTo>
                    <a:pt x="-1153" y="892999"/>
                    <a:pt x="-1153" y="900510"/>
                    <a:pt x="3458" y="905121"/>
                  </a:cubicBezTo>
                  <a:cubicBezTo>
                    <a:pt x="8069" y="909732"/>
                    <a:pt x="15580" y="909732"/>
                    <a:pt x="20191" y="905121"/>
                  </a:cubicBezTo>
                  <a:lnTo>
                    <a:pt x="905121" y="20191"/>
                  </a:lnTo>
                  <a:cubicBezTo>
                    <a:pt x="909732" y="15580"/>
                    <a:pt x="909732" y="8069"/>
                    <a:pt x="905121" y="3458"/>
                  </a:cubicBezTo>
                  <a:cubicBezTo>
                    <a:pt x="900510" y="-1153"/>
                    <a:pt x="892999" y="-1153"/>
                    <a:pt x="888388"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2" name="Freeform: Shape 351">
              <a:extLst>
                <a:ext uri="{FF2B5EF4-FFF2-40B4-BE49-F238E27FC236}">
                  <a16:creationId xmlns:a16="http://schemas.microsoft.com/office/drawing/2014/main" id="{448A99A7-DAA7-461F-A8E3-AC01BAAB71CD}"/>
                </a:ext>
              </a:extLst>
            </p:cNvPr>
            <p:cNvSpPr/>
            <p:nvPr/>
          </p:nvSpPr>
          <p:spPr>
            <a:xfrm>
              <a:off x="2496393" y="1821441"/>
              <a:ext cx="691672" cy="691707"/>
            </a:xfrm>
            <a:custGeom>
              <a:avLst/>
              <a:gdLst>
                <a:gd name="connsiteX0" fmla="*/ 671482 w 691672"/>
                <a:gd name="connsiteY0" fmla="*/ 3494 h 691707"/>
                <a:gd name="connsiteX1" fmla="*/ 3458 w 691672"/>
                <a:gd name="connsiteY1" fmla="*/ 671517 h 691707"/>
                <a:gd name="connsiteX2" fmla="*/ 3458 w 691672"/>
                <a:gd name="connsiteY2" fmla="*/ 688250 h 691707"/>
                <a:gd name="connsiteX3" fmla="*/ 20191 w 691672"/>
                <a:gd name="connsiteY3" fmla="*/ 688250 h 691707"/>
                <a:gd name="connsiteX4" fmla="*/ 688214 w 691672"/>
                <a:gd name="connsiteY4" fmla="*/ 20227 h 691707"/>
                <a:gd name="connsiteX5" fmla="*/ 688214 w 691672"/>
                <a:gd name="connsiteY5" fmla="*/ 3494 h 691707"/>
                <a:gd name="connsiteX6" fmla="*/ 671482 w 691672"/>
                <a:gd name="connsiteY6" fmla="*/ 3494 h 69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672" h="691707">
                  <a:moveTo>
                    <a:pt x="671482" y="3494"/>
                  </a:moveTo>
                  <a:lnTo>
                    <a:pt x="3458" y="671517"/>
                  </a:lnTo>
                  <a:cubicBezTo>
                    <a:pt x="-1153" y="676128"/>
                    <a:pt x="-1153" y="683639"/>
                    <a:pt x="3458" y="688250"/>
                  </a:cubicBezTo>
                  <a:cubicBezTo>
                    <a:pt x="8069" y="692861"/>
                    <a:pt x="15580" y="692861"/>
                    <a:pt x="20191" y="688250"/>
                  </a:cubicBezTo>
                  <a:lnTo>
                    <a:pt x="688214" y="20227"/>
                  </a:lnTo>
                  <a:cubicBezTo>
                    <a:pt x="692825" y="15616"/>
                    <a:pt x="692825" y="8105"/>
                    <a:pt x="688214" y="3494"/>
                  </a:cubicBezTo>
                  <a:cubicBezTo>
                    <a:pt x="683603" y="-1165"/>
                    <a:pt x="676093" y="-1165"/>
                    <a:pt x="671482" y="349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3" name="Freeform: Shape 352">
              <a:extLst>
                <a:ext uri="{FF2B5EF4-FFF2-40B4-BE49-F238E27FC236}">
                  <a16:creationId xmlns:a16="http://schemas.microsoft.com/office/drawing/2014/main" id="{514AF556-D138-4D9A-8504-F907F42A031F}"/>
                </a:ext>
              </a:extLst>
            </p:cNvPr>
            <p:cNvSpPr/>
            <p:nvPr/>
          </p:nvSpPr>
          <p:spPr>
            <a:xfrm>
              <a:off x="2381878" y="1706963"/>
              <a:ext cx="814695" cy="814695"/>
            </a:xfrm>
            <a:custGeom>
              <a:avLst/>
              <a:gdLst>
                <a:gd name="connsiteX0" fmla="*/ 794505 w 814695"/>
                <a:gd name="connsiteY0" fmla="*/ 3458 h 814695"/>
                <a:gd name="connsiteX1" fmla="*/ 3458 w 814695"/>
                <a:gd name="connsiteY1" fmla="*/ 794504 h 814695"/>
                <a:gd name="connsiteX2" fmla="*/ 3458 w 814695"/>
                <a:gd name="connsiteY2" fmla="*/ 811237 h 814695"/>
                <a:gd name="connsiteX3" fmla="*/ 20191 w 814695"/>
                <a:gd name="connsiteY3" fmla="*/ 811237 h 814695"/>
                <a:gd name="connsiteX4" fmla="*/ 811237 w 814695"/>
                <a:gd name="connsiteY4" fmla="*/ 20191 h 814695"/>
                <a:gd name="connsiteX5" fmla="*/ 811237 w 814695"/>
                <a:gd name="connsiteY5" fmla="*/ 3458 h 814695"/>
                <a:gd name="connsiteX6" fmla="*/ 794505 w 814695"/>
                <a:gd name="connsiteY6" fmla="*/ 3458 h 81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4695" h="814695">
                  <a:moveTo>
                    <a:pt x="794505" y="3458"/>
                  </a:moveTo>
                  <a:lnTo>
                    <a:pt x="3458" y="794504"/>
                  </a:lnTo>
                  <a:cubicBezTo>
                    <a:pt x="-1153" y="799115"/>
                    <a:pt x="-1153" y="806626"/>
                    <a:pt x="3458" y="811237"/>
                  </a:cubicBezTo>
                  <a:cubicBezTo>
                    <a:pt x="8069" y="815848"/>
                    <a:pt x="15580" y="815848"/>
                    <a:pt x="20191" y="811237"/>
                  </a:cubicBezTo>
                  <a:lnTo>
                    <a:pt x="811237" y="20191"/>
                  </a:lnTo>
                  <a:cubicBezTo>
                    <a:pt x="815848" y="15580"/>
                    <a:pt x="815848" y="8069"/>
                    <a:pt x="811237" y="3458"/>
                  </a:cubicBezTo>
                  <a:cubicBezTo>
                    <a:pt x="806626" y="-1153"/>
                    <a:pt x="799163" y="-1153"/>
                    <a:pt x="794505"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4" name="Freeform: Shape 353">
              <a:extLst>
                <a:ext uri="{FF2B5EF4-FFF2-40B4-BE49-F238E27FC236}">
                  <a16:creationId xmlns:a16="http://schemas.microsoft.com/office/drawing/2014/main" id="{58C1FF08-7C13-492E-9BB6-ED8B798981EF}"/>
                </a:ext>
              </a:extLst>
            </p:cNvPr>
            <p:cNvSpPr/>
            <p:nvPr/>
          </p:nvSpPr>
          <p:spPr>
            <a:xfrm>
              <a:off x="1904427" y="1229512"/>
              <a:ext cx="1133757" cy="1133756"/>
            </a:xfrm>
            <a:custGeom>
              <a:avLst/>
              <a:gdLst>
                <a:gd name="connsiteX0" fmla="*/ 1113566 w 1133757"/>
                <a:gd name="connsiteY0" fmla="*/ 3458 h 1133756"/>
                <a:gd name="connsiteX1" fmla="*/ 3458 w 1133757"/>
                <a:gd name="connsiteY1" fmla="*/ 1113566 h 1133756"/>
                <a:gd name="connsiteX2" fmla="*/ 3458 w 1133757"/>
                <a:gd name="connsiteY2" fmla="*/ 1130298 h 1133756"/>
                <a:gd name="connsiteX3" fmla="*/ 20191 w 1133757"/>
                <a:gd name="connsiteY3" fmla="*/ 1130298 h 1133756"/>
                <a:gd name="connsiteX4" fmla="*/ 1130299 w 1133757"/>
                <a:gd name="connsiteY4" fmla="*/ 20191 h 1133756"/>
                <a:gd name="connsiteX5" fmla="*/ 1130299 w 1133757"/>
                <a:gd name="connsiteY5" fmla="*/ 3458 h 1133756"/>
                <a:gd name="connsiteX6" fmla="*/ 1113566 w 1133757"/>
                <a:gd name="connsiteY6" fmla="*/ 3458 h 113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3757" h="1133756">
                  <a:moveTo>
                    <a:pt x="1113566" y="3458"/>
                  </a:moveTo>
                  <a:lnTo>
                    <a:pt x="3458" y="1113566"/>
                  </a:lnTo>
                  <a:cubicBezTo>
                    <a:pt x="-1153" y="1118177"/>
                    <a:pt x="-1153" y="1125687"/>
                    <a:pt x="3458" y="1130298"/>
                  </a:cubicBezTo>
                  <a:cubicBezTo>
                    <a:pt x="8069" y="1134909"/>
                    <a:pt x="15580" y="1134909"/>
                    <a:pt x="20191" y="1130298"/>
                  </a:cubicBezTo>
                  <a:lnTo>
                    <a:pt x="1130299" y="20191"/>
                  </a:lnTo>
                  <a:cubicBezTo>
                    <a:pt x="1134910" y="15580"/>
                    <a:pt x="1134910" y="8069"/>
                    <a:pt x="1130299" y="3458"/>
                  </a:cubicBezTo>
                  <a:cubicBezTo>
                    <a:pt x="1125688" y="-1153"/>
                    <a:pt x="1118225" y="-1153"/>
                    <a:pt x="1113566"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5" name="Freeform: Shape 354">
              <a:extLst>
                <a:ext uri="{FF2B5EF4-FFF2-40B4-BE49-F238E27FC236}">
                  <a16:creationId xmlns:a16="http://schemas.microsoft.com/office/drawing/2014/main" id="{7958E18E-63EB-4932-A9D9-B1CFF50B42E7}"/>
                </a:ext>
              </a:extLst>
            </p:cNvPr>
            <p:cNvSpPr/>
            <p:nvPr/>
          </p:nvSpPr>
          <p:spPr>
            <a:xfrm>
              <a:off x="1846480" y="1171565"/>
              <a:ext cx="1143739" cy="1143739"/>
            </a:xfrm>
            <a:custGeom>
              <a:avLst/>
              <a:gdLst>
                <a:gd name="connsiteX0" fmla="*/ 1123549 w 1143739"/>
                <a:gd name="connsiteY0" fmla="*/ 3458 h 1143739"/>
                <a:gd name="connsiteX1" fmla="*/ 3458 w 1143739"/>
                <a:gd name="connsiteY1" fmla="*/ 1123548 h 1143739"/>
                <a:gd name="connsiteX2" fmla="*/ 3458 w 1143739"/>
                <a:gd name="connsiteY2" fmla="*/ 1140281 h 1143739"/>
                <a:gd name="connsiteX3" fmla="*/ 20191 w 1143739"/>
                <a:gd name="connsiteY3" fmla="*/ 1140281 h 1143739"/>
                <a:gd name="connsiteX4" fmla="*/ 1140282 w 1143739"/>
                <a:gd name="connsiteY4" fmla="*/ 20191 h 1143739"/>
                <a:gd name="connsiteX5" fmla="*/ 1140282 w 1143739"/>
                <a:gd name="connsiteY5" fmla="*/ 3458 h 1143739"/>
                <a:gd name="connsiteX6" fmla="*/ 1123549 w 1143739"/>
                <a:gd name="connsiteY6" fmla="*/ 3458 h 114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739" h="1143739">
                  <a:moveTo>
                    <a:pt x="1123549" y="3458"/>
                  </a:moveTo>
                  <a:lnTo>
                    <a:pt x="3458" y="1123548"/>
                  </a:lnTo>
                  <a:cubicBezTo>
                    <a:pt x="-1153" y="1128159"/>
                    <a:pt x="-1153" y="1135670"/>
                    <a:pt x="3458" y="1140281"/>
                  </a:cubicBezTo>
                  <a:cubicBezTo>
                    <a:pt x="8069" y="1144892"/>
                    <a:pt x="15580" y="1144892"/>
                    <a:pt x="20191" y="1140281"/>
                  </a:cubicBezTo>
                  <a:lnTo>
                    <a:pt x="1140282" y="20191"/>
                  </a:lnTo>
                  <a:cubicBezTo>
                    <a:pt x="1144893" y="15580"/>
                    <a:pt x="1144893" y="8069"/>
                    <a:pt x="1140282" y="3458"/>
                  </a:cubicBezTo>
                  <a:cubicBezTo>
                    <a:pt x="1135671" y="-1153"/>
                    <a:pt x="1128160" y="-1153"/>
                    <a:pt x="1123549"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6" name="Freeform: Shape 355">
              <a:extLst>
                <a:ext uri="{FF2B5EF4-FFF2-40B4-BE49-F238E27FC236}">
                  <a16:creationId xmlns:a16="http://schemas.microsoft.com/office/drawing/2014/main" id="{E0542DE2-B077-47E2-B76B-EF62CDAC5A0C}"/>
                </a:ext>
              </a:extLst>
            </p:cNvPr>
            <p:cNvSpPr/>
            <p:nvPr/>
          </p:nvSpPr>
          <p:spPr>
            <a:xfrm>
              <a:off x="1629479" y="954564"/>
              <a:ext cx="518070" cy="518070"/>
            </a:xfrm>
            <a:custGeom>
              <a:avLst/>
              <a:gdLst>
                <a:gd name="connsiteX0" fmla="*/ 20191 w 518070"/>
                <a:gd name="connsiteY0" fmla="*/ 514613 h 518070"/>
                <a:gd name="connsiteX1" fmla="*/ 514613 w 518070"/>
                <a:gd name="connsiteY1" fmla="*/ 20191 h 518070"/>
                <a:gd name="connsiteX2" fmla="*/ 514613 w 518070"/>
                <a:gd name="connsiteY2" fmla="*/ 3458 h 518070"/>
                <a:gd name="connsiteX3" fmla="*/ 497880 w 518070"/>
                <a:gd name="connsiteY3" fmla="*/ 3458 h 518070"/>
                <a:gd name="connsiteX4" fmla="*/ 3458 w 518070"/>
                <a:gd name="connsiteY4" fmla="*/ 497880 h 518070"/>
                <a:gd name="connsiteX5" fmla="*/ 3458 w 518070"/>
                <a:gd name="connsiteY5" fmla="*/ 514613 h 518070"/>
                <a:gd name="connsiteX6" fmla="*/ 20191 w 518070"/>
                <a:gd name="connsiteY6" fmla="*/ 514613 h 51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070" h="518070">
                  <a:moveTo>
                    <a:pt x="20191" y="514613"/>
                  </a:moveTo>
                  <a:lnTo>
                    <a:pt x="514613" y="20191"/>
                  </a:lnTo>
                  <a:cubicBezTo>
                    <a:pt x="519224" y="15580"/>
                    <a:pt x="519224" y="8069"/>
                    <a:pt x="514613" y="3458"/>
                  </a:cubicBezTo>
                  <a:cubicBezTo>
                    <a:pt x="510002" y="-1153"/>
                    <a:pt x="502491" y="-1153"/>
                    <a:pt x="497880" y="3458"/>
                  </a:cubicBezTo>
                  <a:lnTo>
                    <a:pt x="3458" y="497880"/>
                  </a:lnTo>
                  <a:cubicBezTo>
                    <a:pt x="-1153" y="502491"/>
                    <a:pt x="-1153" y="510002"/>
                    <a:pt x="3458" y="514613"/>
                  </a:cubicBezTo>
                  <a:cubicBezTo>
                    <a:pt x="8069" y="519223"/>
                    <a:pt x="15580" y="519223"/>
                    <a:pt x="20191" y="514613"/>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7" name="Freeform: Shape 356">
              <a:extLst>
                <a:ext uri="{FF2B5EF4-FFF2-40B4-BE49-F238E27FC236}">
                  <a16:creationId xmlns:a16="http://schemas.microsoft.com/office/drawing/2014/main" id="{3C0F9516-68A3-49B4-BBC9-62FB04A2068D}"/>
                </a:ext>
              </a:extLst>
            </p:cNvPr>
            <p:cNvSpPr/>
            <p:nvPr/>
          </p:nvSpPr>
          <p:spPr>
            <a:xfrm>
              <a:off x="1753595" y="1078632"/>
              <a:ext cx="163927" cy="163963"/>
            </a:xfrm>
            <a:custGeom>
              <a:avLst/>
              <a:gdLst>
                <a:gd name="connsiteX0" fmla="*/ 20191 w 163927"/>
                <a:gd name="connsiteY0" fmla="*/ 160470 h 163963"/>
                <a:gd name="connsiteX1" fmla="*/ 160470 w 163927"/>
                <a:gd name="connsiteY1" fmla="*/ 20191 h 163963"/>
                <a:gd name="connsiteX2" fmla="*/ 160470 w 163927"/>
                <a:gd name="connsiteY2" fmla="*/ 3458 h 163963"/>
                <a:gd name="connsiteX3" fmla="*/ 143737 w 163927"/>
                <a:gd name="connsiteY3" fmla="*/ 3458 h 163963"/>
                <a:gd name="connsiteX4" fmla="*/ 3458 w 163927"/>
                <a:gd name="connsiteY4" fmla="*/ 143737 h 163963"/>
                <a:gd name="connsiteX5" fmla="*/ 3458 w 163927"/>
                <a:gd name="connsiteY5" fmla="*/ 160470 h 163963"/>
                <a:gd name="connsiteX6" fmla="*/ 20191 w 163927"/>
                <a:gd name="connsiteY6" fmla="*/ 160470 h 16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927" h="163963">
                  <a:moveTo>
                    <a:pt x="20191" y="160470"/>
                  </a:moveTo>
                  <a:lnTo>
                    <a:pt x="160470" y="20191"/>
                  </a:lnTo>
                  <a:cubicBezTo>
                    <a:pt x="165081" y="15580"/>
                    <a:pt x="165081" y="8069"/>
                    <a:pt x="160470" y="3458"/>
                  </a:cubicBezTo>
                  <a:cubicBezTo>
                    <a:pt x="155859" y="-1153"/>
                    <a:pt x="148348" y="-1153"/>
                    <a:pt x="143737" y="3458"/>
                  </a:cubicBezTo>
                  <a:lnTo>
                    <a:pt x="3458" y="143737"/>
                  </a:lnTo>
                  <a:cubicBezTo>
                    <a:pt x="-1153" y="148348"/>
                    <a:pt x="-1153" y="155859"/>
                    <a:pt x="3458" y="160470"/>
                  </a:cubicBezTo>
                  <a:cubicBezTo>
                    <a:pt x="8069" y="165128"/>
                    <a:pt x="15532" y="165128"/>
                    <a:pt x="20191" y="160470"/>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8" name="Freeform: Shape 357">
              <a:extLst>
                <a:ext uri="{FF2B5EF4-FFF2-40B4-BE49-F238E27FC236}">
                  <a16:creationId xmlns:a16="http://schemas.microsoft.com/office/drawing/2014/main" id="{56CEC31A-65E7-4449-B2C3-62A43DDB232C}"/>
                </a:ext>
              </a:extLst>
            </p:cNvPr>
            <p:cNvSpPr/>
            <p:nvPr/>
          </p:nvSpPr>
          <p:spPr>
            <a:xfrm>
              <a:off x="1593161" y="918294"/>
              <a:ext cx="908579" cy="908566"/>
            </a:xfrm>
            <a:custGeom>
              <a:avLst/>
              <a:gdLst>
                <a:gd name="connsiteX0" fmla="*/ 20238 w 908579"/>
                <a:gd name="connsiteY0" fmla="*/ 905073 h 908566"/>
                <a:gd name="connsiteX1" fmla="*/ 905121 w 908579"/>
                <a:gd name="connsiteY1" fmla="*/ 20191 h 908566"/>
                <a:gd name="connsiteX2" fmla="*/ 905121 w 908579"/>
                <a:gd name="connsiteY2" fmla="*/ 3458 h 908566"/>
                <a:gd name="connsiteX3" fmla="*/ 888388 w 908579"/>
                <a:gd name="connsiteY3" fmla="*/ 3458 h 908566"/>
                <a:gd name="connsiteX4" fmla="*/ 3458 w 908579"/>
                <a:gd name="connsiteY4" fmla="*/ 888340 h 908566"/>
                <a:gd name="connsiteX5" fmla="*/ 3458 w 908579"/>
                <a:gd name="connsiteY5" fmla="*/ 905073 h 908566"/>
                <a:gd name="connsiteX6" fmla="*/ 20238 w 908579"/>
                <a:gd name="connsiteY6" fmla="*/ 905073 h 90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579" h="908566">
                  <a:moveTo>
                    <a:pt x="20238" y="905073"/>
                  </a:moveTo>
                  <a:lnTo>
                    <a:pt x="905121" y="20191"/>
                  </a:lnTo>
                  <a:cubicBezTo>
                    <a:pt x="909732" y="15580"/>
                    <a:pt x="909732" y="8069"/>
                    <a:pt x="905121" y="3458"/>
                  </a:cubicBezTo>
                  <a:cubicBezTo>
                    <a:pt x="900510" y="-1153"/>
                    <a:pt x="892999" y="-1153"/>
                    <a:pt x="888388" y="3458"/>
                  </a:cubicBezTo>
                  <a:lnTo>
                    <a:pt x="3458" y="888340"/>
                  </a:lnTo>
                  <a:cubicBezTo>
                    <a:pt x="-1153" y="892951"/>
                    <a:pt x="-1153" y="900462"/>
                    <a:pt x="3458" y="905073"/>
                  </a:cubicBezTo>
                  <a:cubicBezTo>
                    <a:pt x="8117" y="909731"/>
                    <a:pt x="15580" y="909731"/>
                    <a:pt x="20238" y="905073"/>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59" name="Freeform: Shape 358">
              <a:extLst>
                <a:ext uri="{FF2B5EF4-FFF2-40B4-BE49-F238E27FC236}">
                  <a16:creationId xmlns:a16="http://schemas.microsoft.com/office/drawing/2014/main" id="{1621E9BE-BD7E-4D5D-A36D-85D8592E233C}"/>
                </a:ext>
              </a:extLst>
            </p:cNvPr>
            <p:cNvSpPr/>
            <p:nvPr/>
          </p:nvSpPr>
          <p:spPr>
            <a:xfrm>
              <a:off x="1587124" y="912209"/>
              <a:ext cx="814743" cy="814736"/>
            </a:xfrm>
            <a:custGeom>
              <a:avLst/>
              <a:gdLst>
                <a:gd name="connsiteX0" fmla="*/ 20191 w 814743"/>
                <a:gd name="connsiteY0" fmla="*/ 811285 h 814736"/>
                <a:gd name="connsiteX1" fmla="*/ 811285 w 814743"/>
                <a:gd name="connsiteY1" fmla="*/ 20191 h 814736"/>
                <a:gd name="connsiteX2" fmla="*/ 811285 w 814743"/>
                <a:gd name="connsiteY2" fmla="*/ 3458 h 814736"/>
                <a:gd name="connsiteX3" fmla="*/ 794552 w 814743"/>
                <a:gd name="connsiteY3" fmla="*/ 3458 h 814736"/>
                <a:gd name="connsiteX4" fmla="*/ 3458 w 814743"/>
                <a:gd name="connsiteY4" fmla="*/ 794504 h 814736"/>
                <a:gd name="connsiteX5" fmla="*/ 3458 w 814743"/>
                <a:gd name="connsiteY5" fmla="*/ 811237 h 814736"/>
                <a:gd name="connsiteX6" fmla="*/ 20191 w 814743"/>
                <a:gd name="connsiteY6" fmla="*/ 811285 h 8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4743" h="814736">
                  <a:moveTo>
                    <a:pt x="20191" y="811285"/>
                  </a:moveTo>
                  <a:lnTo>
                    <a:pt x="811285" y="20191"/>
                  </a:lnTo>
                  <a:cubicBezTo>
                    <a:pt x="815896" y="15580"/>
                    <a:pt x="815896" y="8069"/>
                    <a:pt x="811285" y="3458"/>
                  </a:cubicBezTo>
                  <a:cubicBezTo>
                    <a:pt x="806674" y="-1153"/>
                    <a:pt x="799163" y="-1153"/>
                    <a:pt x="794552" y="3458"/>
                  </a:cubicBezTo>
                  <a:lnTo>
                    <a:pt x="3458" y="794504"/>
                  </a:lnTo>
                  <a:cubicBezTo>
                    <a:pt x="-1153" y="799115"/>
                    <a:pt x="-1153" y="806626"/>
                    <a:pt x="3458" y="811237"/>
                  </a:cubicBezTo>
                  <a:cubicBezTo>
                    <a:pt x="8069" y="815895"/>
                    <a:pt x="15580" y="815895"/>
                    <a:pt x="20191" y="81128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0" name="Freeform: Shape 359">
              <a:extLst>
                <a:ext uri="{FF2B5EF4-FFF2-40B4-BE49-F238E27FC236}">
                  <a16:creationId xmlns:a16="http://schemas.microsoft.com/office/drawing/2014/main" id="{B5A97CC9-706D-40D9-A190-2E0D8BDCB3C2}"/>
                </a:ext>
              </a:extLst>
            </p:cNvPr>
            <p:cNvSpPr/>
            <p:nvPr/>
          </p:nvSpPr>
          <p:spPr>
            <a:xfrm>
              <a:off x="1595633" y="920765"/>
              <a:ext cx="691719" cy="691666"/>
            </a:xfrm>
            <a:custGeom>
              <a:avLst/>
              <a:gdLst>
                <a:gd name="connsiteX0" fmla="*/ 20238 w 691719"/>
                <a:gd name="connsiteY0" fmla="*/ 688214 h 691666"/>
                <a:gd name="connsiteX1" fmla="*/ 688262 w 691719"/>
                <a:gd name="connsiteY1" fmla="*/ 20191 h 691666"/>
                <a:gd name="connsiteX2" fmla="*/ 688262 w 691719"/>
                <a:gd name="connsiteY2" fmla="*/ 3458 h 691666"/>
                <a:gd name="connsiteX3" fmla="*/ 671529 w 691719"/>
                <a:gd name="connsiteY3" fmla="*/ 3458 h 691666"/>
                <a:gd name="connsiteX4" fmla="*/ 3458 w 691719"/>
                <a:gd name="connsiteY4" fmla="*/ 671434 h 691666"/>
                <a:gd name="connsiteX5" fmla="*/ 3458 w 691719"/>
                <a:gd name="connsiteY5" fmla="*/ 688166 h 691666"/>
                <a:gd name="connsiteX6" fmla="*/ 20238 w 691719"/>
                <a:gd name="connsiteY6" fmla="*/ 688214 h 691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719" h="691666">
                  <a:moveTo>
                    <a:pt x="20238" y="688214"/>
                  </a:moveTo>
                  <a:lnTo>
                    <a:pt x="688262" y="20191"/>
                  </a:lnTo>
                  <a:cubicBezTo>
                    <a:pt x="692873" y="15580"/>
                    <a:pt x="692873" y="8069"/>
                    <a:pt x="688262" y="3458"/>
                  </a:cubicBezTo>
                  <a:cubicBezTo>
                    <a:pt x="683651" y="-1153"/>
                    <a:pt x="676140" y="-1153"/>
                    <a:pt x="671529" y="3458"/>
                  </a:cubicBezTo>
                  <a:lnTo>
                    <a:pt x="3458" y="671434"/>
                  </a:lnTo>
                  <a:cubicBezTo>
                    <a:pt x="-1153" y="676045"/>
                    <a:pt x="-1153" y="683555"/>
                    <a:pt x="3458" y="688166"/>
                  </a:cubicBezTo>
                  <a:cubicBezTo>
                    <a:pt x="8117" y="692825"/>
                    <a:pt x="15580" y="692825"/>
                    <a:pt x="20238" y="68821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1" name="Freeform: Shape 360">
              <a:extLst>
                <a:ext uri="{FF2B5EF4-FFF2-40B4-BE49-F238E27FC236}">
                  <a16:creationId xmlns:a16="http://schemas.microsoft.com/office/drawing/2014/main" id="{C2F643CC-B066-4163-9250-3130B60B2099}"/>
                </a:ext>
              </a:extLst>
            </p:cNvPr>
            <p:cNvSpPr/>
            <p:nvPr/>
          </p:nvSpPr>
          <p:spPr>
            <a:xfrm>
              <a:off x="1609514" y="934598"/>
              <a:ext cx="981879" cy="981855"/>
            </a:xfrm>
            <a:custGeom>
              <a:avLst/>
              <a:gdLst>
                <a:gd name="connsiteX0" fmla="*/ 20191 w 981879"/>
                <a:gd name="connsiteY0" fmla="*/ 978421 h 981855"/>
                <a:gd name="connsiteX1" fmla="*/ 978421 w 981879"/>
                <a:gd name="connsiteY1" fmla="*/ 20191 h 981855"/>
                <a:gd name="connsiteX2" fmla="*/ 978421 w 981879"/>
                <a:gd name="connsiteY2" fmla="*/ 3458 h 981855"/>
                <a:gd name="connsiteX3" fmla="*/ 961689 w 981879"/>
                <a:gd name="connsiteY3" fmla="*/ 3458 h 981855"/>
                <a:gd name="connsiteX4" fmla="*/ 3458 w 981879"/>
                <a:gd name="connsiteY4" fmla="*/ 961641 h 981855"/>
                <a:gd name="connsiteX5" fmla="*/ 3458 w 981879"/>
                <a:gd name="connsiteY5" fmla="*/ 978373 h 981855"/>
                <a:gd name="connsiteX6" fmla="*/ 20191 w 981879"/>
                <a:gd name="connsiteY6" fmla="*/ 978421 h 98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879" h="981855">
                  <a:moveTo>
                    <a:pt x="20191" y="978421"/>
                  </a:moveTo>
                  <a:lnTo>
                    <a:pt x="978421" y="20191"/>
                  </a:lnTo>
                  <a:cubicBezTo>
                    <a:pt x="983032" y="15580"/>
                    <a:pt x="983032" y="8069"/>
                    <a:pt x="978421" y="3458"/>
                  </a:cubicBezTo>
                  <a:cubicBezTo>
                    <a:pt x="973810" y="-1153"/>
                    <a:pt x="966300" y="-1153"/>
                    <a:pt x="961689" y="3458"/>
                  </a:cubicBezTo>
                  <a:lnTo>
                    <a:pt x="3458" y="961641"/>
                  </a:lnTo>
                  <a:cubicBezTo>
                    <a:pt x="-1153" y="966252"/>
                    <a:pt x="-1153" y="973762"/>
                    <a:pt x="3458" y="978373"/>
                  </a:cubicBezTo>
                  <a:cubicBezTo>
                    <a:pt x="8069" y="982984"/>
                    <a:pt x="15580" y="983032"/>
                    <a:pt x="20191" y="978421"/>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2" name="Freeform: Shape 361">
              <a:extLst>
                <a:ext uri="{FF2B5EF4-FFF2-40B4-BE49-F238E27FC236}">
                  <a16:creationId xmlns:a16="http://schemas.microsoft.com/office/drawing/2014/main" id="{7A15B020-4D32-4631-B8E4-ECEB38821122}"/>
                </a:ext>
              </a:extLst>
            </p:cNvPr>
            <p:cNvSpPr/>
            <p:nvPr/>
          </p:nvSpPr>
          <p:spPr>
            <a:xfrm>
              <a:off x="1793478" y="1118610"/>
              <a:ext cx="1143739" cy="1143733"/>
            </a:xfrm>
            <a:custGeom>
              <a:avLst/>
              <a:gdLst>
                <a:gd name="connsiteX0" fmla="*/ 20191 w 1143739"/>
                <a:gd name="connsiteY0" fmla="*/ 1140281 h 1143733"/>
                <a:gd name="connsiteX1" fmla="*/ 1140282 w 1143739"/>
                <a:gd name="connsiteY1" fmla="*/ 20191 h 1143733"/>
                <a:gd name="connsiteX2" fmla="*/ 1140282 w 1143739"/>
                <a:gd name="connsiteY2" fmla="*/ 3458 h 1143733"/>
                <a:gd name="connsiteX3" fmla="*/ 1123549 w 1143739"/>
                <a:gd name="connsiteY3" fmla="*/ 3458 h 1143733"/>
                <a:gd name="connsiteX4" fmla="*/ 3458 w 1143739"/>
                <a:gd name="connsiteY4" fmla="*/ 1123501 h 1143733"/>
                <a:gd name="connsiteX5" fmla="*/ 3458 w 1143739"/>
                <a:gd name="connsiteY5" fmla="*/ 1140233 h 1143733"/>
                <a:gd name="connsiteX6" fmla="*/ 20191 w 1143739"/>
                <a:gd name="connsiteY6" fmla="*/ 1140281 h 114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739" h="1143733">
                  <a:moveTo>
                    <a:pt x="20191" y="1140281"/>
                  </a:moveTo>
                  <a:lnTo>
                    <a:pt x="1140282" y="20191"/>
                  </a:lnTo>
                  <a:cubicBezTo>
                    <a:pt x="1144893" y="15580"/>
                    <a:pt x="1144893" y="8069"/>
                    <a:pt x="1140282" y="3458"/>
                  </a:cubicBezTo>
                  <a:cubicBezTo>
                    <a:pt x="1135671" y="-1153"/>
                    <a:pt x="1128160" y="-1153"/>
                    <a:pt x="1123549" y="3458"/>
                  </a:cubicBezTo>
                  <a:lnTo>
                    <a:pt x="3458" y="1123501"/>
                  </a:lnTo>
                  <a:cubicBezTo>
                    <a:pt x="-1153" y="1128112"/>
                    <a:pt x="-1153" y="1135622"/>
                    <a:pt x="3458" y="1140233"/>
                  </a:cubicBezTo>
                  <a:cubicBezTo>
                    <a:pt x="8069" y="1144892"/>
                    <a:pt x="15580" y="1144892"/>
                    <a:pt x="20191" y="1140281"/>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3" name="Freeform: Shape 362">
              <a:extLst>
                <a:ext uri="{FF2B5EF4-FFF2-40B4-BE49-F238E27FC236}">
                  <a16:creationId xmlns:a16="http://schemas.microsoft.com/office/drawing/2014/main" id="{4302AEC1-0E9A-4D33-A0DC-CF12E534AD8D}"/>
                </a:ext>
              </a:extLst>
            </p:cNvPr>
            <p:cNvSpPr/>
            <p:nvPr/>
          </p:nvSpPr>
          <p:spPr>
            <a:xfrm>
              <a:off x="1745514" y="1070599"/>
              <a:ext cx="1133757" cy="1133756"/>
            </a:xfrm>
            <a:custGeom>
              <a:avLst/>
              <a:gdLst>
                <a:gd name="connsiteX0" fmla="*/ 20191 w 1133757"/>
                <a:gd name="connsiteY0" fmla="*/ 1130298 h 1133756"/>
                <a:gd name="connsiteX1" fmla="*/ 1130299 w 1133757"/>
                <a:gd name="connsiteY1" fmla="*/ 20191 h 1133756"/>
                <a:gd name="connsiteX2" fmla="*/ 1130299 w 1133757"/>
                <a:gd name="connsiteY2" fmla="*/ 3458 h 1133756"/>
                <a:gd name="connsiteX3" fmla="*/ 1113566 w 1133757"/>
                <a:gd name="connsiteY3" fmla="*/ 3458 h 1133756"/>
                <a:gd name="connsiteX4" fmla="*/ 3458 w 1133757"/>
                <a:gd name="connsiteY4" fmla="*/ 1113566 h 1133756"/>
                <a:gd name="connsiteX5" fmla="*/ 3458 w 1133757"/>
                <a:gd name="connsiteY5" fmla="*/ 1130298 h 1133756"/>
                <a:gd name="connsiteX6" fmla="*/ 20191 w 1133757"/>
                <a:gd name="connsiteY6" fmla="*/ 1130298 h 113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3757" h="1133756">
                  <a:moveTo>
                    <a:pt x="20191" y="1130298"/>
                  </a:moveTo>
                  <a:lnTo>
                    <a:pt x="1130299" y="20191"/>
                  </a:lnTo>
                  <a:cubicBezTo>
                    <a:pt x="1134910" y="15580"/>
                    <a:pt x="1134910" y="8069"/>
                    <a:pt x="1130299" y="3458"/>
                  </a:cubicBezTo>
                  <a:cubicBezTo>
                    <a:pt x="1125688" y="-1153"/>
                    <a:pt x="1118177" y="-1153"/>
                    <a:pt x="1113566" y="3458"/>
                  </a:cubicBezTo>
                  <a:lnTo>
                    <a:pt x="3458" y="1113566"/>
                  </a:lnTo>
                  <a:cubicBezTo>
                    <a:pt x="-1153" y="1118177"/>
                    <a:pt x="-1153" y="1125687"/>
                    <a:pt x="3458" y="1130298"/>
                  </a:cubicBezTo>
                  <a:cubicBezTo>
                    <a:pt x="8069" y="1134909"/>
                    <a:pt x="15580" y="1134909"/>
                    <a:pt x="20191" y="113029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4" name="Freeform: Shape 363">
              <a:extLst>
                <a:ext uri="{FF2B5EF4-FFF2-40B4-BE49-F238E27FC236}">
                  <a16:creationId xmlns:a16="http://schemas.microsoft.com/office/drawing/2014/main" id="{2AF3BB7B-7193-4D4E-9FB7-6C3483BBB8BA}"/>
                </a:ext>
              </a:extLst>
            </p:cNvPr>
            <p:cNvSpPr/>
            <p:nvPr/>
          </p:nvSpPr>
          <p:spPr>
            <a:xfrm>
              <a:off x="1634042" y="959127"/>
              <a:ext cx="1038780" cy="1038815"/>
            </a:xfrm>
            <a:custGeom>
              <a:avLst/>
              <a:gdLst>
                <a:gd name="connsiteX0" fmla="*/ 20191 w 1038780"/>
                <a:gd name="connsiteY0" fmla="*/ 1035322 h 1038815"/>
                <a:gd name="connsiteX1" fmla="*/ 1035322 w 1038780"/>
                <a:gd name="connsiteY1" fmla="*/ 20191 h 1038815"/>
                <a:gd name="connsiteX2" fmla="*/ 1035322 w 1038780"/>
                <a:gd name="connsiteY2" fmla="*/ 3458 h 1038815"/>
                <a:gd name="connsiteX3" fmla="*/ 1018589 w 1038780"/>
                <a:gd name="connsiteY3" fmla="*/ 3458 h 1038815"/>
                <a:gd name="connsiteX4" fmla="*/ 3458 w 1038780"/>
                <a:gd name="connsiteY4" fmla="*/ 1018589 h 1038815"/>
                <a:gd name="connsiteX5" fmla="*/ 3458 w 1038780"/>
                <a:gd name="connsiteY5" fmla="*/ 1035322 h 1038815"/>
                <a:gd name="connsiteX6" fmla="*/ 20191 w 1038780"/>
                <a:gd name="connsiteY6" fmla="*/ 1035322 h 103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780" h="1038815">
                  <a:moveTo>
                    <a:pt x="20191" y="1035322"/>
                  </a:moveTo>
                  <a:lnTo>
                    <a:pt x="1035322" y="20191"/>
                  </a:lnTo>
                  <a:cubicBezTo>
                    <a:pt x="1039933" y="15580"/>
                    <a:pt x="1039933" y="8069"/>
                    <a:pt x="1035322" y="3458"/>
                  </a:cubicBezTo>
                  <a:cubicBezTo>
                    <a:pt x="1030711" y="-1153"/>
                    <a:pt x="1023200" y="-1153"/>
                    <a:pt x="1018589" y="3458"/>
                  </a:cubicBezTo>
                  <a:lnTo>
                    <a:pt x="3458" y="1018589"/>
                  </a:lnTo>
                  <a:cubicBezTo>
                    <a:pt x="-1153" y="1023200"/>
                    <a:pt x="-1153" y="1030711"/>
                    <a:pt x="3458" y="1035322"/>
                  </a:cubicBezTo>
                  <a:cubicBezTo>
                    <a:pt x="8069" y="1039980"/>
                    <a:pt x="15580" y="1039980"/>
                    <a:pt x="20191" y="1035322"/>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5" name="Freeform: Shape 364">
              <a:extLst>
                <a:ext uri="{FF2B5EF4-FFF2-40B4-BE49-F238E27FC236}">
                  <a16:creationId xmlns:a16="http://schemas.microsoft.com/office/drawing/2014/main" id="{338D2D53-7305-430A-BCFC-B6917B1EA18F}"/>
                </a:ext>
              </a:extLst>
            </p:cNvPr>
            <p:cNvSpPr/>
            <p:nvPr/>
          </p:nvSpPr>
          <p:spPr>
            <a:xfrm>
              <a:off x="1702637" y="1027769"/>
              <a:ext cx="1113506" cy="1113458"/>
            </a:xfrm>
            <a:custGeom>
              <a:avLst/>
              <a:gdLst>
                <a:gd name="connsiteX0" fmla="*/ 20238 w 1113506"/>
                <a:gd name="connsiteY0" fmla="*/ 1110001 h 1113458"/>
                <a:gd name="connsiteX1" fmla="*/ 1110049 w 1113506"/>
                <a:gd name="connsiteY1" fmla="*/ 20191 h 1113458"/>
                <a:gd name="connsiteX2" fmla="*/ 1110049 w 1113506"/>
                <a:gd name="connsiteY2" fmla="*/ 3458 h 1113458"/>
                <a:gd name="connsiteX3" fmla="*/ 1093316 w 1113506"/>
                <a:gd name="connsiteY3" fmla="*/ 3458 h 1113458"/>
                <a:gd name="connsiteX4" fmla="*/ 3458 w 1113506"/>
                <a:gd name="connsiteY4" fmla="*/ 1093268 h 1113458"/>
                <a:gd name="connsiteX5" fmla="*/ 3458 w 1113506"/>
                <a:gd name="connsiteY5" fmla="*/ 1110001 h 1113458"/>
                <a:gd name="connsiteX6" fmla="*/ 20238 w 1113506"/>
                <a:gd name="connsiteY6" fmla="*/ 1110001 h 1113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3506" h="1113458">
                  <a:moveTo>
                    <a:pt x="20238" y="1110001"/>
                  </a:moveTo>
                  <a:lnTo>
                    <a:pt x="1110049" y="20191"/>
                  </a:lnTo>
                  <a:cubicBezTo>
                    <a:pt x="1114660" y="15580"/>
                    <a:pt x="1114660" y="8069"/>
                    <a:pt x="1110049" y="3458"/>
                  </a:cubicBezTo>
                  <a:cubicBezTo>
                    <a:pt x="1105438" y="-1153"/>
                    <a:pt x="1097927" y="-1153"/>
                    <a:pt x="1093316" y="3458"/>
                  </a:cubicBezTo>
                  <a:lnTo>
                    <a:pt x="3458" y="1093268"/>
                  </a:lnTo>
                  <a:cubicBezTo>
                    <a:pt x="-1153" y="1097879"/>
                    <a:pt x="-1153" y="1105390"/>
                    <a:pt x="3458" y="1110001"/>
                  </a:cubicBezTo>
                  <a:cubicBezTo>
                    <a:pt x="8069" y="1114612"/>
                    <a:pt x="15627" y="1114612"/>
                    <a:pt x="20238" y="1110001"/>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6" name="Freeform: Shape 365">
              <a:extLst>
                <a:ext uri="{FF2B5EF4-FFF2-40B4-BE49-F238E27FC236}">
                  <a16:creationId xmlns:a16="http://schemas.microsoft.com/office/drawing/2014/main" id="{2836589A-6247-4B68-92B0-CD53FBAE9A01}"/>
                </a:ext>
              </a:extLst>
            </p:cNvPr>
            <p:cNvSpPr/>
            <p:nvPr/>
          </p:nvSpPr>
          <p:spPr>
            <a:xfrm>
              <a:off x="1665321" y="990453"/>
              <a:ext cx="1082180" cy="1082132"/>
            </a:xfrm>
            <a:custGeom>
              <a:avLst/>
              <a:gdLst>
                <a:gd name="connsiteX0" fmla="*/ 20238 w 1082180"/>
                <a:gd name="connsiteY0" fmla="*/ 1078674 h 1082132"/>
                <a:gd name="connsiteX1" fmla="*/ 1078722 w 1082180"/>
                <a:gd name="connsiteY1" fmla="*/ 20191 h 1082132"/>
                <a:gd name="connsiteX2" fmla="*/ 1078722 w 1082180"/>
                <a:gd name="connsiteY2" fmla="*/ 3458 h 1082132"/>
                <a:gd name="connsiteX3" fmla="*/ 1061990 w 1082180"/>
                <a:gd name="connsiteY3" fmla="*/ 3458 h 1082132"/>
                <a:gd name="connsiteX4" fmla="*/ 3458 w 1082180"/>
                <a:gd name="connsiteY4" fmla="*/ 1061942 h 1082132"/>
                <a:gd name="connsiteX5" fmla="*/ 3458 w 1082180"/>
                <a:gd name="connsiteY5" fmla="*/ 1078674 h 1082132"/>
                <a:gd name="connsiteX6" fmla="*/ 20238 w 1082180"/>
                <a:gd name="connsiteY6" fmla="*/ 1078674 h 108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2180" h="1082132">
                  <a:moveTo>
                    <a:pt x="20238" y="1078674"/>
                  </a:moveTo>
                  <a:lnTo>
                    <a:pt x="1078722" y="20191"/>
                  </a:lnTo>
                  <a:cubicBezTo>
                    <a:pt x="1083333" y="15580"/>
                    <a:pt x="1083333" y="8069"/>
                    <a:pt x="1078722" y="3458"/>
                  </a:cubicBezTo>
                  <a:cubicBezTo>
                    <a:pt x="1074111" y="-1153"/>
                    <a:pt x="1066601" y="-1153"/>
                    <a:pt x="1061990" y="3458"/>
                  </a:cubicBezTo>
                  <a:lnTo>
                    <a:pt x="3458" y="1061942"/>
                  </a:lnTo>
                  <a:cubicBezTo>
                    <a:pt x="-1153" y="1066553"/>
                    <a:pt x="-1153" y="1074063"/>
                    <a:pt x="3458" y="1078674"/>
                  </a:cubicBezTo>
                  <a:cubicBezTo>
                    <a:pt x="8069" y="1083285"/>
                    <a:pt x="15580" y="1083285"/>
                    <a:pt x="20238" y="107867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343" name="Freeform: Shape 342">
            <a:extLst>
              <a:ext uri="{FF2B5EF4-FFF2-40B4-BE49-F238E27FC236}">
                <a16:creationId xmlns:a16="http://schemas.microsoft.com/office/drawing/2014/main" id="{314A5B07-E6CC-49C0-BA3F-3B213C87C28B}"/>
              </a:ext>
            </a:extLst>
          </p:cNvPr>
          <p:cNvSpPr/>
          <p:nvPr/>
        </p:nvSpPr>
        <p:spPr>
          <a:xfrm>
            <a:off x="1461559" y="1145991"/>
            <a:ext cx="1578211" cy="1438685"/>
          </a:xfrm>
          <a:custGeom>
            <a:avLst/>
            <a:gdLst>
              <a:gd name="connsiteX0" fmla="*/ 1270435 w 2540869"/>
              <a:gd name="connsiteY0" fmla="*/ 2316238 h 2316237"/>
              <a:gd name="connsiteX1" fmla="*/ 892239 w 2540869"/>
              <a:gd name="connsiteY1" fmla="*/ 2097905 h 2316237"/>
              <a:gd name="connsiteX2" fmla="*/ 59218 w 2540869"/>
              <a:gd name="connsiteY2" fmla="*/ 655046 h 2316237"/>
              <a:gd name="connsiteX3" fmla="*/ 59218 w 2540869"/>
              <a:gd name="connsiteY3" fmla="*/ 218333 h 2316237"/>
              <a:gd name="connsiteX4" fmla="*/ 437414 w 2540869"/>
              <a:gd name="connsiteY4" fmla="*/ 0 h 2316237"/>
              <a:gd name="connsiteX5" fmla="*/ 2103456 w 2540869"/>
              <a:gd name="connsiteY5" fmla="*/ 0 h 2316237"/>
              <a:gd name="connsiteX6" fmla="*/ 2481652 w 2540869"/>
              <a:gd name="connsiteY6" fmla="*/ 218333 h 2316237"/>
              <a:gd name="connsiteX7" fmla="*/ 2481652 w 2540869"/>
              <a:gd name="connsiteY7" fmla="*/ 655046 h 2316237"/>
              <a:gd name="connsiteX8" fmla="*/ 1648631 w 2540869"/>
              <a:gd name="connsiteY8" fmla="*/ 2097857 h 2316237"/>
              <a:gd name="connsiteX9" fmla="*/ 1270435 w 2540869"/>
              <a:gd name="connsiteY9" fmla="*/ 2316238 h 2316237"/>
              <a:gd name="connsiteX10" fmla="*/ 437414 w 2540869"/>
              <a:gd name="connsiteY10" fmla="*/ 18919 h 2316237"/>
              <a:gd name="connsiteX11" fmla="*/ 75618 w 2540869"/>
              <a:gd name="connsiteY11" fmla="*/ 227792 h 2316237"/>
              <a:gd name="connsiteX12" fmla="*/ 75618 w 2540869"/>
              <a:gd name="connsiteY12" fmla="*/ 645586 h 2316237"/>
              <a:gd name="connsiteX13" fmla="*/ 908639 w 2540869"/>
              <a:gd name="connsiteY13" fmla="*/ 2088398 h 2316237"/>
              <a:gd name="connsiteX14" fmla="*/ 1270435 w 2540869"/>
              <a:gd name="connsiteY14" fmla="*/ 2297271 h 2316237"/>
              <a:gd name="connsiteX15" fmla="*/ 1632231 w 2540869"/>
              <a:gd name="connsiteY15" fmla="*/ 2088398 h 2316237"/>
              <a:gd name="connsiteX16" fmla="*/ 2465252 w 2540869"/>
              <a:gd name="connsiteY16" fmla="*/ 645586 h 2316237"/>
              <a:gd name="connsiteX17" fmla="*/ 2465252 w 2540869"/>
              <a:gd name="connsiteY17" fmla="*/ 227792 h 2316237"/>
              <a:gd name="connsiteX18" fmla="*/ 2103456 w 2540869"/>
              <a:gd name="connsiteY18" fmla="*/ 18919 h 2316237"/>
              <a:gd name="connsiteX19" fmla="*/ 437414 w 2540869"/>
              <a:gd name="connsiteY19" fmla="*/ 18919 h 231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40869" h="2316237">
                <a:moveTo>
                  <a:pt x="1270435" y="2316238"/>
                </a:moveTo>
                <a:cubicBezTo>
                  <a:pt x="1112568" y="2316238"/>
                  <a:pt x="971196" y="2234618"/>
                  <a:pt x="892239" y="2097905"/>
                </a:cubicBezTo>
                <a:lnTo>
                  <a:pt x="59218" y="655046"/>
                </a:lnTo>
                <a:cubicBezTo>
                  <a:pt x="-19739" y="518332"/>
                  <a:pt x="-19739" y="355046"/>
                  <a:pt x="59218" y="218333"/>
                </a:cubicBezTo>
                <a:cubicBezTo>
                  <a:pt x="138175" y="81619"/>
                  <a:pt x="279547" y="0"/>
                  <a:pt x="437414" y="0"/>
                </a:cubicBezTo>
                <a:lnTo>
                  <a:pt x="2103456" y="0"/>
                </a:lnTo>
                <a:cubicBezTo>
                  <a:pt x="2261323" y="0"/>
                  <a:pt x="2402695" y="81619"/>
                  <a:pt x="2481652" y="218333"/>
                </a:cubicBezTo>
                <a:cubicBezTo>
                  <a:pt x="2560609" y="355046"/>
                  <a:pt x="2560609" y="518332"/>
                  <a:pt x="2481652" y="655046"/>
                </a:cubicBezTo>
                <a:lnTo>
                  <a:pt x="1648631" y="2097857"/>
                </a:lnTo>
                <a:cubicBezTo>
                  <a:pt x="1569674" y="2234571"/>
                  <a:pt x="1428302" y="2316238"/>
                  <a:pt x="1270435" y="2316238"/>
                </a:cubicBezTo>
                <a:close/>
                <a:moveTo>
                  <a:pt x="437414" y="18919"/>
                </a:moveTo>
                <a:cubicBezTo>
                  <a:pt x="286392" y="18919"/>
                  <a:pt x="151105" y="97021"/>
                  <a:pt x="75618" y="227792"/>
                </a:cubicBezTo>
                <a:cubicBezTo>
                  <a:pt x="83" y="358611"/>
                  <a:pt x="83" y="514767"/>
                  <a:pt x="75618" y="645586"/>
                </a:cubicBezTo>
                <a:lnTo>
                  <a:pt x="908639" y="2088398"/>
                </a:lnTo>
                <a:cubicBezTo>
                  <a:pt x="984173" y="2219217"/>
                  <a:pt x="1119413" y="2297271"/>
                  <a:pt x="1270435" y="2297271"/>
                </a:cubicBezTo>
                <a:cubicBezTo>
                  <a:pt x="1421457" y="2297271"/>
                  <a:pt x="1556744" y="2219169"/>
                  <a:pt x="1632231" y="2088398"/>
                </a:cubicBezTo>
                <a:lnTo>
                  <a:pt x="2465252" y="645586"/>
                </a:lnTo>
                <a:cubicBezTo>
                  <a:pt x="2540787" y="514767"/>
                  <a:pt x="2540787" y="358611"/>
                  <a:pt x="2465252" y="227792"/>
                </a:cubicBezTo>
                <a:cubicBezTo>
                  <a:pt x="2389717" y="96973"/>
                  <a:pt x="2254478" y="18919"/>
                  <a:pt x="2103456" y="18919"/>
                </a:cubicBezTo>
                <a:lnTo>
                  <a:pt x="437414" y="18919"/>
                </a:lnTo>
                <a:close/>
              </a:path>
            </a:pathLst>
          </a:custGeom>
          <a:solidFill>
            <a:schemeClr val="bg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13" name="Freeform: Shape 312">
            <a:extLst>
              <a:ext uri="{FF2B5EF4-FFF2-40B4-BE49-F238E27FC236}">
                <a16:creationId xmlns:a16="http://schemas.microsoft.com/office/drawing/2014/main" id="{0F02CDEB-9FDB-4C69-BD82-3DE188605BD8}"/>
              </a:ext>
            </a:extLst>
          </p:cNvPr>
          <p:cNvSpPr/>
          <p:nvPr/>
        </p:nvSpPr>
        <p:spPr>
          <a:xfrm>
            <a:off x="2229820" y="567003"/>
            <a:ext cx="1319520" cy="829486"/>
          </a:xfrm>
          <a:custGeom>
            <a:avLst/>
            <a:gdLst>
              <a:gd name="connsiteX0" fmla="*/ 1599253 w 2124383"/>
              <a:gd name="connsiteY0" fmla="*/ 1335446 h 1335446"/>
              <a:gd name="connsiteX1" fmla="*/ 1585516 w 2124383"/>
              <a:gd name="connsiteY1" fmla="*/ 1316052 h 1335446"/>
              <a:gd name="connsiteX2" fmla="*/ 2097193 w 2124383"/>
              <a:gd name="connsiteY2" fmla="*/ 621219 h 1335446"/>
              <a:gd name="connsiteX3" fmla="*/ 1989144 w 2124383"/>
              <a:gd name="connsiteY3" fmla="*/ 280100 h 1335446"/>
              <a:gd name="connsiteX4" fmla="*/ 1490444 w 2124383"/>
              <a:gd name="connsiteY4" fmla="*/ 45130 h 1335446"/>
              <a:gd name="connsiteX5" fmla="*/ 829646 w 2124383"/>
              <a:gd name="connsiteY5" fmla="*/ 44750 h 1335446"/>
              <a:gd name="connsiteX6" fmla="*/ 6893 w 2124383"/>
              <a:gd name="connsiteY6" fmla="*/ 209129 h 1335446"/>
              <a:gd name="connsiteX7" fmla="*/ 0 w 2124383"/>
              <a:gd name="connsiteY7" fmla="*/ 186359 h 1335446"/>
              <a:gd name="connsiteX8" fmla="*/ 826699 w 2124383"/>
              <a:gd name="connsiteY8" fmla="*/ 21172 h 1335446"/>
              <a:gd name="connsiteX9" fmla="*/ 1493914 w 2124383"/>
              <a:gd name="connsiteY9" fmla="*/ 21647 h 1335446"/>
              <a:gd name="connsiteX10" fmla="*/ 2007160 w 2124383"/>
              <a:gd name="connsiteY10" fmla="*/ 264699 h 1335446"/>
              <a:gd name="connsiteX11" fmla="*/ 2120723 w 2124383"/>
              <a:gd name="connsiteY11" fmla="*/ 624213 h 1335446"/>
              <a:gd name="connsiteX12" fmla="*/ 1842020 w 2124383"/>
              <a:gd name="connsiteY12" fmla="*/ 1121012 h 1335446"/>
              <a:gd name="connsiteX13" fmla="*/ 1599253 w 2124383"/>
              <a:gd name="connsiteY13" fmla="*/ 1335446 h 133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24383" h="1335446">
                <a:moveTo>
                  <a:pt x="1599253" y="1335446"/>
                </a:moveTo>
                <a:lnTo>
                  <a:pt x="1585516" y="1316052"/>
                </a:lnTo>
                <a:cubicBezTo>
                  <a:pt x="1590174" y="1312724"/>
                  <a:pt x="2052509" y="981256"/>
                  <a:pt x="2097193" y="621219"/>
                </a:cubicBezTo>
                <a:cubicBezTo>
                  <a:pt x="2112642" y="496769"/>
                  <a:pt x="2076277" y="382017"/>
                  <a:pt x="1989144" y="280100"/>
                </a:cubicBezTo>
                <a:cubicBezTo>
                  <a:pt x="1885990" y="159407"/>
                  <a:pt x="1718188" y="80354"/>
                  <a:pt x="1490444" y="45130"/>
                </a:cubicBezTo>
                <a:cubicBezTo>
                  <a:pt x="1306955" y="16751"/>
                  <a:pt x="1084629" y="16609"/>
                  <a:pt x="829646" y="44750"/>
                </a:cubicBezTo>
                <a:cubicBezTo>
                  <a:pt x="394644" y="92761"/>
                  <a:pt x="10743" y="207988"/>
                  <a:pt x="6893" y="209129"/>
                </a:cubicBezTo>
                <a:lnTo>
                  <a:pt x="0" y="186359"/>
                </a:lnTo>
                <a:cubicBezTo>
                  <a:pt x="3850" y="185219"/>
                  <a:pt x="389605" y="69421"/>
                  <a:pt x="826699" y="21172"/>
                </a:cubicBezTo>
                <a:cubicBezTo>
                  <a:pt x="1083821" y="-7207"/>
                  <a:pt x="1308286" y="-7064"/>
                  <a:pt x="1493914" y="21647"/>
                </a:cubicBezTo>
                <a:cubicBezTo>
                  <a:pt x="1727506" y="57775"/>
                  <a:pt x="1900204" y="139537"/>
                  <a:pt x="2007160" y="264699"/>
                </a:cubicBezTo>
                <a:cubicBezTo>
                  <a:pt x="2098809" y="371892"/>
                  <a:pt x="2137028" y="492871"/>
                  <a:pt x="2120723" y="624213"/>
                </a:cubicBezTo>
                <a:cubicBezTo>
                  <a:pt x="2096622" y="818303"/>
                  <a:pt x="1955868" y="1001506"/>
                  <a:pt x="1842020" y="1121012"/>
                </a:cubicBezTo>
                <a:cubicBezTo>
                  <a:pt x="1719282" y="1249929"/>
                  <a:pt x="1600442" y="1334638"/>
                  <a:pt x="1599253" y="1335446"/>
                </a:cubicBezTo>
                <a:close/>
              </a:path>
            </a:pathLst>
          </a:custGeom>
          <a:solidFill>
            <a:schemeClr val="tx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314" name="Group 313">
            <a:extLst>
              <a:ext uri="{FF2B5EF4-FFF2-40B4-BE49-F238E27FC236}">
                <a16:creationId xmlns:a16="http://schemas.microsoft.com/office/drawing/2014/main" id="{6FC5AD41-116D-4B0C-9ACE-2348F470CA6F}"/>
              </a:ext>
            </a:extLst>
          </p:cNvPr>
          <p:cNvGrpSpPr/>
          <p:nvPr/>
        </p:nvGrpSpPr>
        <p:grpSpPr>
          <a:xfrm>
            <a:off x="2584900" y="2396512"/>
            <a:ext cx="422754" cy="179543"/>
            <a:chOff x="4743027" y="3522072"/>
            <a:chExt cx="680620" cy="289058"/>
          </a:xfrm>
          <a:solidFill>
            <a:srgbClr val="FBAB2C"/>
          </a:solidFill>
        </p:grpSpPr>
        <p:sp>
          <p:nvSpPr>
            <p:cNvPr id="340" name="Freeform: Shape 339">
              <a:extLst>
                <a:ext uri="{FF2B5EF4-FFF2-40B4-BE49-F238E27FC236}">
                  <a16:creationId xmlns:a16="http://schemas.microsoft.com/office/drawing/2014/main" id="{3C87A80E-16D8-4A5B-9395-C50A7C70A5B4}"/>
                </a:ext>
              </a:extLst>
            </p:cNvPr>
            <p:cNvSpPr/>
            <p:nvPr/>
          </p:nvSpPr>
          <p:spPr>
            <a:xfrm>
              <a:off x="4743027" y="3522072"/>
              <a:ext cx="680620" cy="56512"/>
            </a:xfrm>
            <a:custGeom>
              <a:avLst/>
              <a:gdLst>
                <a:gd name="connsiteX0" fmla="*/ 649104 w 680620"/>
                <a:gd name="connsiteY0" fmla="*/ 19530 h 56512"/>
                <a:gd name="connsiteX1" fmla="*/ 630898 w 680620"/>
                <a:gd name="connsiteY1" fmla="*/ 41349 h 56512"/>
                <a:gd name="connsiteX2" fmla="*/ 599049 w 680620"/>
                <a:gd name="connsiteY2" fmla="*/ 56513 h 56512"/>
                <a:gd name="connsiteX3" fmla="*/ 598763 w 680620"/>
                <a:gd name="connsiteY3" fmla="*/ 56513 h 56512"/>
                <a:gd name="connsiteX4" fmla="*/ 567247 w 680620"/>
                <a:gd name="connsiteY4" fmla="*/ 41634 h 56512"/>
                <a:gd name="connsiteX5" fmla="*/ 553889 w 680620"/>
                <a:gd name="connsiteY5" fmla="*/ 26470 h 56512"/>
                <a:gd name="connsiteX6" fmla="*/ 530834 w 680620"/>
                <a:gd name="connsiteY6" fmla="*/ 15727 h 56512"/>
                <a:gd name="connsiteX7" fmla="*/ 507779 w 680620"/>
                <a:gd name="connsiteY7" fmla="*/ 26803 h 56512"/>
                <a:gd name="connsiteX8" fmla="*/ 496276 w 680620"/>
                <a:gd name="connsiteY8" fmla="*/ 40398 h 56512"/>
                <a:gd name="connsiteX9" fmla="*/ 464141 w 680620"/>
                <a:gd name="connsiteY9" fmla="*/ 55895 h 56512"/>
                <a:gd name="connsiteX10" fmla="*/ 432007 w 680620"/>
                <a:gd name="connsiteY10" fmla="*/ 40731 h 56512"/>
                <a:gd name="connsiteX11" fmla="*/ 420789 w 680620"/>
                <a:gd name="connsiteY11" fmla="*/ 27136 h 56512"/>
                <a:gd name="connsiteX12" fmla="*/ 397448 w 680620"/>
                <a:gd name="connsiteY12" fmla="*/ 16392 h 56512"/>
                <a:gd name="connsiteX13" fmla="*/ 374108 w 680620"/>
                <a:gd name="connsiteY13" fmla="*/ 27468 h 56512"/>
                <a:gd name="connsiteX14" fmla="*/ 363175 w 680620"/>
                <a:gd name="connsiteY14" fmla="*/ 40778 h 56512"/>
                <a:gd name="connsiteX15" fmla="*/ 331326 w 680620"/>
                <a:gd name="connsiteY15" fmla="*/ 56275 h 56512"/>
                <a:gd name="connsiteX16" fmla="*/ 331041 w 680620"/>
                <a:gd name="connsiteY16" fmla="*/ 56275 h 56512"/>
                <a:gd name="connsiteX17" fmla="*/ 299192 w 680620"/>
                <a:gd name="connsiteY17" fmla="*/ 41396 h 56512"/>
                <a:gd name="connsiteX18" fmla="*/ 286737 w 680620"/>
                <a:gd name="connsiteY18" fmla="*/ 26850 h 56512"/>
                <a:gd name="connsiteX19" fmla="*/ 263397 w 680620"/>
                <a:gd name="connsiteY19" fmla="*/ 16107 h 56512"/>
                <a:gd name="connsiteX20" fmla="*/ 240057 w 680620"/>
                <a:gd name="connsiteY20" fmla="*/ 27516 h 56512"/>
                <a:gd name="connsiteX21" fmla="*/ 229742 w 680620"/>
                <a:gd name="connsiteY21" fmla="*/ 40160 h 56512"/>
                <a:gd name="connsiteX22" fmla="*/ 197892 w 680620"/>
                <a:gd name="connsiteY22" fmla="*/ 55990 h 56512"/>
                <a:gd name="connsiteX23" fmla="*/ 165758 w 680620"/>
                <a:gd name="connsiteY23" fmla="*/ 41444 h 56512"/>
                <a:gd name="connsiteX24" fmla="*/ 152400 w 680620"/>
                <a:gd name="connsiteY24" fmla="*/ 26280 h 56512"/>
                <a:gd name="connsiteX25" fmla="*/ 129678 w 680620"/>
                <a:gd name="connsiteY25" fmla="*/ 15537 h 56512"/>
                <a:gd name="connsiteX26" fmla="*/ 129393 w 680620"/>
                <a:gd name="connsiteY26" fmla="*/ 15537 h 56512"/>
                <a:gd name="connsiteX27" fmla="*/ 106338 w 680620"/>
                <a:gd name="connsiteY27" fmla="*/ 26613 h 56512"/>
                <a:gd name="connsiteX28" fmla="*/ 94502 w 680620"/>
                <a:gd name="connsiteY28" fmla="*/ 40541 h 56512"/>
                <a:gd name="connsiteX29" fmla="*/ 62367 w 680620"/>
                <a:gd name="connsiteY29" fmla="*/ 55705 h 56512"/>
                <a:gd name="connsiteX30" fmla="*/ 30233 w 680620"/>
                <a:gd name="connsiteY30" fmla="*/ 40208 h 56512"/>
                <a:gd name="connsiteX31" fmla="*/ 14784 w 680620"/>
                <a:gd name="connsiteY31" fmla="*/ 21526 h 56512"/>
                <a:gd name="connsiteX32" fmla="*/ 0 w 680620"/>
                <a:gd name="connsiteY32" fmla="*/ 11544 h 56512"/>
                <a:gd name="connsiteX33" fmla="*/ 0 w 680620"/>
                <a:gd name="connsiteY33" fmla="*/ 2417 h 56512"/>
                <a:gd name="connsiteX34" fmla="*/ 21439 w 680620"/>
                <a:gd name="connsiteY34" fmla="*/ 15822 h 56512"/>
                <a:gd name="connsiteX35" fmla="*/ 36603 w 680620"/>
                <a:gd name="connsiteY35" fmla="*/ 34504 h 56512"/>
                <a:gd name="connsiteX36" fmla="*/ 62367 w 680620"/>
                <a:gd name="connsiteY36" fmla="*/ 46863 h 56512"/>
                <a:gd name="connsiteX37" fmla="*/ 88132 w 680620"/>
                <a:gd name="connsiteY37" fmla="*/ 34836 h 56512"/>
                <a:gd name="connsiteX38" fmla="*/ 99968 w 680620"/>
                <a:gd name="connsiteY38" fmla="*/ 20908 h 56512"/>
                <a:gd name="connsiteX39" fmla="*/ 129393 w 680620"/>
                <a:gd name="connsiteY39" fmla="*/ 6695 h 56512"/>
                <a:gd name="connsiteX40" fmla="*/ 158818 w 680620"/>
                <a:gd name="connsiteY40" fmla="*/ 20290 h 56512"/>
                <a:gd name="connsiteX41" fmla="*/ 171843 w 680620"/>
                <a:gd name="connsiteY41" fmla="*/ 35454 h 56512"/>
                <a:gd name="connsiteX42" fmla="*/ 197940 w 680620"/>
                <a:gd name="connsiteY42" fmla="*/ 47148 h 56512"/>
                <a:gd name="connsiteX43" fmla="*/ 223419 w 680620"/>
                <a:gd name="connsiteY43" fmla="*/ 34504 h 56512"/>
                <a:gd name="connsiteX44" fmla="*/ 233734 w 680620"/>
                <a:gd name="connsiteY44" fmla="*/ 21859 h 56512"/>
                <a:gd name="connsiteX45" fmla="*/ 263159 w 680620"/>
                <a:gd name="connsiteY45" fmla="*/ 7313 h 56512"/>
                <a:gd name="connsiteX46" fmla="*/ 293202 w 680620"/>
                <a:gd name="connsiteY46" fmla="*/ 20908 h 56512"/>
                <a:gd name="connsiteX47" fmla="*/ 305656 w 680620"/>
                <a:gd name="connsiteY47" fmla="*/ 35454 h 56512"/>
                <a:gd name="connsiteX48" fmla="*/ 331136 w 680620"/>
                <a:gd name="connsiteY48" fmla="*/ 47481 h 56512"/>
                <a:gd name="connsiteX49" fmla="*/ 331421 w 680620"/>
                <a:gd name="connsiteY49" fmla="*/ 47481 h 56512"/>
                <a:gd name="connsiteX50" fmla="*/ 356900 w 680620"/>
                <a:gd name="connsiteY50" fmla="*/ 35122 h 56512"/>
                <a:gd name="connsiteX51" fmla="*/ 367834 w 680620"/>
                <a:gd name="connsiteY51" fmla="*/ 21812 h 56512"/>
                <a:gd name="connsiteX52" fmla="*/ 397544 w 680620"/>
                <a:gd name="connsiteY52" fmla="*/ 7551 h 56512"/>
                <a:gd name="connsiteX53" fmla="*/ 427254 w 680620"/>
                <a:gd name="connsiteY53" fmla="*/ 21479 h 56512"/>
                <a:gd name="connsiteX54" fmla="*/ 438472 w 680620"/>
                <a:gd name="connsiteY54" fmla="*/ 34789 h 56512"/>
                <a:gd name="connsiteX55" fmla="*/ 464236 w 680620"/>
                <a:gd name="connsiteY55" fmla="*/ 47148 h 56512"/>
                <a:gd name="connsiteX56" fmla="*/ 490001 w 680620"/>
                <a:gd name="connsiteY56" fmla="*/ 34789 h 56512"/>
                <a:gd name="connsiteX57" fmla="*/ 501219 w 680620"/>
                <a:gd name="connsiteY57" fmla="*/ 21194 h 56512"/>
                <a:gd name="connsiteX58" fmla="*/ 530644 w 680620"/>
                <a:gd name="connsiteY58" fmla="*/ 6980 h 56512"/>
                <a:gd name="connsiteX59" fmla="*/ 531262 w 680620"/>
                <a:gd name="connsiteY59" fmla="*/ 6980 h 56512"/>
                <a:gd name="connsiteX60" fmla="*/ 560354 w 680620"/>
                <a:gd name="connsiteY60" fmla="*/ 20576 h 56512"/>
                <a:gd name="connsiteX61" fmla="*/ 573712 w 680620"/>
                <a:gd name="connsiteY61" fmla="*/ 36072 h 56512"/>
                <a:gd name="connsiteX62" fmla="*/ 599191 w 680620"/>
                <a:gd name="connsiteY62" fmla="*/ 47766 h 56512"/>
                <a:gd name="connsiteX63" fmla="*/ 624670 w 680620"/>
                <a:gd name="connsiteY63" fmla="*/ 35407 h 56512"/>
                <a:gd name="connsiteX64" fmla="*/ 642877 w 680620"/>
                <a:gd name="connsiteY64" fmla="*/ 13873 h 56512"/>
                <a:gd name="connsiteX65" fmla="*/ 680620 w 680620"/>
                <a:gd name="connsiteY65" fmla="*/ 896 h 56512"/>
                <a:gd name="connsiteX66" fmla="*/ 680620 w 680620"/>
                <a:gd name="connsiteY66" fmla="*/ 9975 h 56512"/>
                <a:gd name="connsiteX67" fmla="*/ 649104 w 680620"/>
                <a:gd name="connsiteY67" fmla="*/ 19530 h 5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80620" h="56512">
                  <a:moveTo>
                    <a:pt x="649104" y="19530"/>
                  </a:moveTo>
                  <a:cubicBezTo>
                    <a:pt x="630898" y="41349"/>
                    <a:pt x="630898" y="41349"/>
                    <a:pt x="630898" y="41349"/>
                  </a:cubicBezTo>
                  <a:cubicBezTo>
                    <a:pt x="623007" y="50856"/>
                    <a:pt x="611170" y="56513"/>
                    <a:pt x="599049" y="56513"/>
                  </a:cubicBezTo>
                  <a:cubicBezTo>
                    <a:pt x="599049" y="56513"/>
                    <a:pt x="599049" y="56513"/>
                    <a:pt x="598763" y="56513"/>
                  </a:cubicBezTo>
                  <a:cubicBezTo>
                    <a:pt x="586927" y="56513"/>
                    <a:pt x="575423" y="51141"/>
                    <a:pt x="567247" y="41634"/>
                  </a:cubicBezTo>
                  <a:cubicBezTo>
                    <a:pt x="553889" y="26470"/>
                    <a:pt x="553889" y="26470"/>
                    <a:pt x="553889" y="26470"/>
                  </a:cubicBezTo>
                  <a:cubicBezTo>
                    <a:pt x="548138" y="19530"/>
                    <a:pt x="539629" y="15727"/>
                    <a:pt x="530834" y="15727"/>
                  </a:cubicBezTo>
                  <a:cubicBezTo>
                    <a:pt x="521755" y="15727"/>
                    <a:pt x="513531" y="19862"/>
                    <a:pt x="507779" y="26803"/>
                  </a:cubicBezTo>
                  <a:cubicBezTo>
                    <a:pt x="496276" y="40398"/>
                    <a:pt x="496276" y="40398"/>
                    <a:pt x="496276" y="40398"/>
                  </a:cubicBezTo>
                  <a:cubicBezTo>
                    <a:pt x="488385" y="50190"/>
                    <a:pt x="476548" y="55895"/>
                    <a:pt x="464141" y="55895"/>
                  </a:cubicBezTo>
                  <a:cubicBezTo>
                    <a:pt x="451735" y="55895"/>
                    <a:pt x="440183" y="50190"/>
                    <a:pt x="432007" y="40731"/>
                  </a:cubicBezTo>
                  <a:cubicBezTo>
                    <a:pt x="420789" y="27136"/>
                    <a:pt x="420789" y="27136"/>
                    <a:pt x="420789" y="27136"/>
                  </a:cubicBezTo>
                  <a:cubicBezTo>
                    <a:pt x="415037" y="20195"/>
                    <a:pt x="406528" y="16392"/>
                    <a:pt x="397448" y="16392"/>
                  </a:cubicBezTo>
                  <a:cubicBezTo>
                    <a:pt x="388654" y="16392"/>
                    <a:pt x="380145" y="20528"/>
                    <a:pt x="374108" y="27468"/>
                  </a:cubicBezTo>
                  <a:cubicBezTo>
                    <a:pt x="363175" y="40778"/>
                    <a:pt x="363175" y="40778"/>
                    <a:pt x="363175" y="40778"/>
                  </a:cubicBezTo>
                  <a:cubicBezTo>
                    <a:pt x="355284" y="50571"/>
                    <a:pt x="343448" y="55942"/>
                    <a:pt x="331326" y="56275"/>
                  </a:cubicBezTo>
                  <a:cubicBezTo>
                    <a:pt x="331041" y="56275"/>
                    <a:pt x="331041" y="56275"/>
                    <a:pt x="331041" y="56275"/>
                  </a:cubicBezTo>
                  <a:cubicBezTo>
                    <a:pt x="318919" y="56275"/>
                    <a:pt x="307368" y="50904"/>
                    <a:pt x="299192" y="41396"/>
                  </a:cubicBezTo>
                  <a:cubicBezTo>
                    <a:pt x="286737" y="26850"/>
                    <a:pt x="286737" y="26850"/>
                    <a:pt x="286737" y="26850"/>
                  </a:cubicBezTo>
                  <a:cubicBezTo>
                    <a:pt x="280652" y="19910"/>
                    <a:pt x="272191" y="16107"/>
                    <a:pt x="263397" y="16107"/>
                  </a:cubicBezTo>
                  <a:cubicBezTo>
                    <a:pt x="254318" y="16440"/>
                    <a:pt x="245809" y="20528"/>
                    <a:pt x="240057" y="27516"/>
                  </a:cubicBezTo>
                  <a:cubicBezTo>
                    <a:pt x="229742" y="40160"/>
                    <a:pt x="229742" y="40160"/>
                    <a:pt x="229742" y="40160"/>
                  </a:cubicBezTo>
                  <a:cubicBezTo>
                    <a:pt x="221850" y="49953"/>
                    <a:pt x="210347" y="55990"/>
                    <a:pt x="197892" y="55990"/>
                  </a:cubicBezTo>
                  <a:cubicBezTo>
                    <a:pt x="185771" y="56323"/>
                    <a:pt x="173934" y="50951"/>
                    <a:pt x="165758" y="41444"/>
                  </a:cubicBezTo>
                  <a:cubicBezTo>
                    <a:pt x="152400" y="26280"/>
                    <a:pt x="152400" y="26280"/>
                    <a:pt x="152400" y="26280"/>
                  </a:cubicBezTo>
                  <a:cubicBezTo>
                    <a:pt x="146648" y="19340"/>
                    <a:pt x="138140" y="15537"/>
                    <a:pt x="129678" y="15537"/>
                  </a:cubicBezTo>
                  <a:cubicBezTo>
                    <a:pt x="129393" y="15537"/>
                    <a:pt x="129393" y="15537"/>
                    <a:pt x="129393" y="15537"/>
                  </a:cubicBezTo>
                  <a:cubicBezTo>
                    <a:pt x="120599" y="15537"/>
                    <a:pt x="112090" y="19672"/>
                    <a:pt x="106338" y="26613"/>
                  </a:cubicBezTo>
                  <a:cubicBezTo>
                    <a:pt x="94502" y="40541"/>
                    <a:pt x="94502" y="40541"/>
                    <a:pt x="94502" y="40541"/>
                  </a:cubicBezTo>
                  <a:cubicBezTo>
                    <a:pt x="86611" y="50333"/>
                    <a:pt x="74774" y="55705"/>
                    <a:pt x="62367" y="55705"/>
                  </a:cubicBezTo>
                  <a:cubicBezTo>
                    <a:pt x="49913" y="55705"/>
                    <a:pt x="38409" y="50000"/>
                    <a:pt x="30233" y="40208"/>
                  </a:cubicBezTo>
                  <a:cubicBezTo>
                    <a:pt x="14784" y="21526"/>
                    <a:pt x="14784" y="21526"/>
                    <a:pt x="14784" y="21526"/>
                  </a:cubicBezTo>
                  <a:cubicBezTo>
                    <a:pt x="10791" y="16630"/>
                    <a:pt x="5752" y="13302"/>
                    <a:pt x="0" y="11544"/>
                  </a:cubicBezTo>
                  <a:lnTo>
                    <a:pt x="0" y="2417"/>
                  </a:lnTo>
                  <a:cubicBezTo>
                    <a:pt x="8271" y="4413"/>
                    <a:pt x="15734" y="9072"/>
                    <a:pt x="21439" y="15822"/>
                  </a:cubicBezTo>
                  <a:cubicBezTo>
                    <a:pt x="36603" y="34504"/>
                    <a:pt x="36603" y="34504"/>
                    <a:pt x="36603" y="34504"/>
                  </a:cubicBezTo>
                  <a:cubicBezTo>
                    <a:pt x="42972" y="42394"/>
                    <a:pt x="52385" y="46863"/>
                    <a:pt x="62367" y="46863"/>
                  </a:cubicBezTo>
                  <a:cubicBezTo>
                    <a:pt x="72397" y="47196"/>
                    <a:pt x="81762" y="42442"/>
                    <a:pt x="88132" y="34836"/>
                  </a:cubicBezTo>
                  <a:cubicBezTo>
                    <a:pt x="99968" y="20908"/>
                    <a:pt x="99968" y="20908"/>
                    <a:pt x="99968" y="20908"/>
                  </a:cubicBezTo>
                  <a:cubicBezTo>
                    <a:pt x="107241" y="12066"/>
                    <a:pt x="118174" y="6980"/>
                    <a:pt x="129393" y="6695"/>
                  </a:cubicBezTo>
                  <a:cubicBezTo>
                    <a:pt x="140612" y="6695"/>
                    <a:pt x="151212" y="11734"/>
                    <a:pt x="158818" y="20290"/>
                  </a:cubicBezTo>
                  <a:cubicBezTo>
                    <a:pt x="171843" y="35454"/>
                    <a:pt x="171843" y="35454"/>
                    <a:pt x="171843" y="35454"/>
                  </a:cubicBezTo>
                  <a:cubicBezTo>
                    <a:pt x="178498" y="43060"/>
                    <a:pt x="187910" y="47481"/>
                    <a:pt x="197940" y="47148"/>
                  </a:cubicBezTo>
                  <a:cubicBezTo>
                    <a:pt x="207637" y="47148"/>
                    <a:pt x="217049" y="42394"/>
                    <a:pt x="223419" y="34504"/>
                  </a:cubicBezTo>
                  <a:cubicBezTo>
                    <a:pt x="233734" y="21859"/>
                    <a:pt x="233734" y="21859"/>
                    <a:pt x="233734" y="21859"/>
                  </a:cubicBezTo>
                  <a:cubicBezTo>
                    <a:pt x="241008" y="13017"/>
                    <a:pt x="251941" y="7598"/>
                    <a:pt x="263159" y="7313"/>
                  </a:cubicBezTo>
                  <a:cubicBezTo>
                    <a:pt x="274663" y="7313"/>
                    <a:pt x="285596" y="12066"/>
                    <a:pt x="293202" y="20908"/>
                  </a:cubicBezTo>
                  <a:cubicBezTo>
                    <a:pt x="305656" y="35454"/>
                    <a:pt x="305656" y="35454"/>
                    <a:pt x="305656" y="35454"/>
                  </a:cubicBezTo>
                  <a:cubicBezTo>
                    <a:pt x="312026" y="43060"/>
                    <a:pt x="321438" y="47481"/>
                    <a:pt x="331136" y="47481"/>
                  </a:cubicBezTo>
                  <a:cubicBezTo>
                    <a:pt x="331136" y="47481"/>
                    <a:pt x="331136" y="47481"/>
                    <a:pt x="331421" y="47481"/>
                  </a:cubicBezTo>
                  <a:cubicBezTo>
                    <a:pt x="341118" y="47148"/>
                    <a:pt x="350530" y="42727"/>
                    <a:pt x="356900" y="35122"/>
                  </a:cubicBezTo>
                  <a:cubicBezTo>
                    <a:pt x="367834" y="21812"/>
                    <a:pt x="367834" y="21812"/>
                    <a:pt x="367834" y="21812"/>
                  </a:cubicBezTo>
                  <a:cubicBezTo>
                    <a:pt x="375392" y="12637"/>
                    <a:pt x="386040" y="7551"/>
                    <a:pt x="397544" y="7551"/>
                  </a:cubicBezTo>
                  <a:cubicBezTo>
                    <a:pt x="409047" y="7551"/>
                    <a:pt x="419695" y="12590"/>
                    <a:pt x="427254" y="21479"/>
                  </a:cubicBezTo>
                  <a:cubicBezTo>
                    <a:pt x="438472" y="34789"/>
                    <a:pt x="438472" y="34789"/>
                    <a:pt x="438472" y="34789"/>
                  </a:cubicBezTo>
                  <a:cubicBezTo>
                    <a:pt x="445127" y="42680"/>
                    <a:pt x="454254" y="47148"/>
                    <a:pt x="464236" y="47148"/>
                  </a:cubicBezTo>
                  <a:cubicBezTo>
                    <a:pt x="474219" y="47148"/>
                    <a:pt x="483631" y="42727"/>
                    <a:pt x="490001" y="34789"/>
                  </a:cubicBezTo>
                  <a:cubicBezTo>
                    <a:pt x="501219" y="21194"/>
                    <a:pt x="501219" y="21194"/>
                    <a:pt x="501219" y="21194"/>
                  </a:cubicBezTo>
                  <a:cubicBezTo>
                    <a:pt x="508778" y="12352"/>
                    <a:pt x="519426" y="6980"/>
                    <a:pt x="530644" y="6980"/>
                  </a:cubicBezTo>
                  <a:cubicBezTo>
                    <a:pt x="530930" y="6980"/>
                    <a:pt x="530930" y="6980"/>
                    <a:pt x="531262" y="6980"/>
                  </a:cubicBezTo>
                  <a:cubicBezTo>
                    <a:pt x="542196" y="6980"/>
                    <a:pt x="552796" y="12019"/>
                    <a:pt x="560354" y="20576"/>
                  </a:cubicBezTo>
                  <a:cubicBezTo>
                    <a:pt x="573712" y="36072"/>
                    <a:pt x="573712" y="36072"/>
                    <a:pt x="573712" y="36072"/>
                  </a:cubicBezTo>
                  <a:cubicBezTo>
                    <a:pt x="580082" y="43345"/>
                    <a:pt x="589494" y="47766"/>
                    <a:pt x="599191" y="47766"/>
                  </a:cubicBezTo>
                  <a:cubicBezTo>
                    <a:pt x="608889" y="47766"/>
                    <a:pt x="618301" y="43345"/>
                    <a:pt x="624670" y="35407"/>
                  </a:cubicBezTo>
                  <a:cubicBezTo>
                    <a:pt x="642877" y="13873"/>
                    <a:pt x="642877" y="13873"/>
                    <a:pt x="642877" y="13873"/>
                  </a:cubicBezTo>
                  <a:cubicBezTo>
                    <a:pt x="652479" y="2464"/>
                    <a:pt x="667073" y="-2099"/>
                    <a:pt x="680620" y="896"/>
                  </a:cubicBezTo>
                  <a:lnTo>
                    <a:pt x="680620" y="9975"/>
                  </a:lnTo>
                  <a:cubicBezTo>
                    <a:pt x="669402" y="6790"/>
                    <a:pt x="657137" y="10165"/>
                    <a:pt x="649104" y="19530"/>
                  </a:cubicBezTo>
                  <a:close/>
                </a:path>
              </a:pathLst>
            </a:custGeom>
            <a:grpFill/>
            <a:ln w="4748" cap="flat">
              <a:solidFill>
                <a:schemeClr val="accent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1" name="Freeform: Shape 340">
              <a:extLst>
                <a:ext uri="{FF2B5EF4-FFF2-40B4-BE49-F238E27FC236}">
                  <a16:creationId xmlns:a16="http://schemas.microsoft.com/office/drawing/2014/main" id="{E6AA02C4-A003-4C3E-995D-993BA59F3AB9}"/>
                </a:ext>
              </a:extLst>
            </p:cNvPr>
            <p:cNvSpPr/>
            <p:nvPr/>
          </p:nvSpPr>
          <p:spPr>
            <a:xfrm>
              <a:off x="4743027" y="3645047"/>
              <a:ext cx="680620" cy="56512"/>
            </a:xfrm>
            <a:custGeom>
              <a:avLst/>
              <a:gdLst>
                <a:gd name="connsiteX0" fmla="*/ 649104 w 680620"/>
                <a:gd name="connsiteY0" fmla="*/ 19530 h 56512"/>
                <a:gd name="connsiteX1" fmla="*/ 630898 w 680620"/>
                <a:gd name="connsiteY1" fmla="*/ 41349 h 56512"/>
                <a:gd name="connsiteX2" fmla="*/ 599049 w 680620"/>
                <a:gd name="connsiteY2" fmla="*/ 56513 h 56512"/>
                <a:gd name="connsiteX3" fmla="*/ 598763 w 680620"/>
                <a:gd name="connsiteY3" fmla="*/ 56513 h 56512"/>
                <a:gd name="connsiteX4" fmla="*/ 567247 w 680620"/>
                <a:gd name="connsiteY4" fmla="*/ 41634 h 56512"/>
                <a:gd name="connsiteX5" fmla="*/ 553889 w 680620"/>
                <a:gd name="connsiteY5" fmla="*/ 26470 h 56512"/>
                <a:gd name="connsiteX6" fmla="*/ 530834 w 680620"/>
                <a:gd name="connsiteY6" fmla="*/ 15727 h 56512"/>
                <a:gd name="connsiteX7" fmla="*/ 507779 w 680620"/>
                <a:gd name="connsiteY7" fmla="*/ 26803 h 56512"/>
                <a:gd name="connsiteX8" fmla="*/ 496276 w 680620"/>
                <a:gd name="connsiteY8" fmla="*/ 40398 h 56512"/>
                <a:gd name="connsiteX9" fmla="*/ 464141 w 680620"/>
                <a:gd name="connsiteY9" fmla="*/ 55895 h 56512"/>
                <a:gd name="connsiteX10" fmla="*/ 432007 w 680620"/>
                <a:gd name="connsiteY10" fmla="*/ 40731 h 56512"/>
                <a:gd name="connsiteX11" fmla="*/ 420789 w 680620"/>
                <a:gd name="connsiteY11" fmla="*/ 27136 h 56512"/>
                <a:gd name="connsiteX12" fmla="*/ 397448 w 680620"/>
                <a:gd name="connsiteY12" fmla="*/ 16392 h 56512"/>
                <a:gd name="connsiteX13" fmla="*/ 374108 w 680620"/>
                <a:gd name="connsiteY13" fmla="*/ 27468 h 56512"/>
                <a:gd name="connsiteX14" fmla="*/ 363175 w 680620"/>
                <a:gd name="connsiteY14" fmla="*/ 40778 h 56512"/>
                <a:gd name="connsiteX15" fmla="*/ 331326 w 680620"/>
                <a:gd name="connsiteY15" fmla="*/ 56275 h 56512"/>
                <a:gd name="connsiteX16" fmla="*/ 331041 w 680620"/>
                <a:gd name="connsiteY16" fmla="*/ 56275 h 56512"/>
                <a:gd name="connsiteX17" fmla="*/ 299192 w 680620"/>
                <a:gd name="connsiteY17" fmla="*/ 41396 h 56512"/>
                <a:gd name="connsiteX18" fmla="*/ 286737 w 680620"/>
                <a:gd name="connsiteY18" fmla="*/ 26850 h 56512"/>
                <a:gd name="connsiteX19" fmla="*/ 263397 w 680620"/>
                <a:gd name="connsiteY19" fmla="*/ 16107 h 56512"/>
                <a:gd name="connsiteX20" fmla="*/ 240057 w 680620"/>
                <a:gd name="connsiteY20" fmla="*/ 27516 h 56512"/>
                <a:gd name="connsiteX21" fmla="*/ 229742 w 680620"/>
                <a:gd name="connsiteY21" fmla="*/ 40160 h 56512"/>
                <a:gd name="connsiteX22" fmla="*/ 197892 w 680620"/>
                <a:gd name="connsiteY22" fmla="*/ 55990 h 56512"/>
                <a:gd name="connsiteX23" fmla="*/ 165758 w 680620"/>
                <a:gd name="connsiteY23" fmla="*/ 41444 h 56512"/>
                <a:gd name="connsiteX24" fmla="*/ 152400 w 680620"/>
                <a:gd name="connsiteY24" fmla="*/ 26280 h 56512"/>
                <a:gd name="connsiteX25" fmla="*/ 129678 w 680620"/>
                <a:gd name="connsiteY25" fmla="*/ 15537 h 56512"/>
                <a:gd name="connsiteX26" fmla="*/ 129393 w 680620"/>
                <a:gd name="connsiteY26" fmla="*/ 15537 h 56512"/>
                <a:gd name="connsiteX27" fmla="*/ 106338 w 680620"/>
                <a:gd name="connsiteY27" fmla="*/ 26613 h 56512"/>
                <a:gd name="connsiteX28" fmla="*/ 94502 w 680620"/>
                <a:gd name="connsiteY28" fmla="*/ 40541 h 56512"/>
                <a:gd name="connsiteX29" fmla="*/ 62367 w 680620"/>
                <a:gd name="connsiteY29" fmla="*/ 55705 h 56512"/>
                <a:gd name="connsiteX30" fmla="*/ 30233 w 680620"/>
                <a:gd name="connsiteY30" fmla="*/ 40208 h 56512"/>
                <a:gd name="connsiteX31" fmla="*/ 14784 w 680620"/>
                <a:gd name="connsiteY31" fmla="*/ 21526 h 56512"/>
                <a:gd name="connsiteX32" fmla="*/ 0 w 680620"/>
                <a:gd name="connsiteY32" fmla="*/ 11544 h 56512"/>
                <a:gd name="connsiteX33" fmla="*/ 0 w 680620"/>
                <a:gd name="connsiteY33" fmla="*/ 2417 h 56512"/>
                <a:gd name="connsiteX34" fmla="*/ 21439 w 680620"/>
                <a:gd name="connsiteY34" fmla="*/ 15822 h 56512"/>
                <a:gd name="connsiteX35" fmla="*/ 36603 w 680620"/>
                <a:gd name="connsiteY35" fmla="*/ 34504 h 56512"/>
                <a:gd name="connsiteX36" fmla="*/ 62367 w 680620"/>
                <a:gd name="connsiteY36" fmla="*/ 46863 h 56512"/>
                <a:gd name="connsiteX37" fmla="*/ 88132 w 680620"/>
                <a:gd name="connsiteY37" fmla="*/ 34836 h 56512"/>
                <a:gd name="connsiteX38" fmla="*/ 99968 w 680620"/>
                <a:gd name="connsiteY38" fmla="*/ 20908 h 56512"/>
                <a:gd name="connsiteX39" fmla="*/ 129393 w 680620"/>
                <a:gd name="connsiteY39" fmla="*/ 6695 h 56512"/>
                <a:gd name="connsiteX40" fmla="*/ 158818 w 680620"/>
                <a:gd name="connsiteY40" fmla="*/ 20290 h 56512"/>
                <a:gd name="connsiteX41" fmla="*/ 171843 w 680620"/>
                <a:gd name="connsiteY41" fmla="*/ 35454 h 56512"/>
                <a:gd name="connsiteX42" fmla="*/ 197940 w 680620"/>
                <a:gd name="connsiteY42" fmla="*/ 47148 h 56512"/>
                <a:gd name="connsiteX43" fmla="*/ 223419 w 680620"/>
                <a:gd name="connsiteY43" fmla="*/ 34504 h 56512"/>
                <a:gd name="connsiteX44" fmla="*/ 233734 w 680620"/>
                <a:gd name="connsiteY44" fmla="*/ 21859 h 56512"/>
                <a:gd name="connsiteX45" fmla="*/ 263159 w 680620"/>
                <a:gd name="connsiteY45" fmla="*/ 7313 h 56512"/>
                <a:gd name="connsiteX46" fmla="*/ 293202 w 680620"/>
                <a:gd name="connsiteY46" fmla="*/ 20908 h 56512"/>
                <a:gd name="connsiteX47" fmla="*/ 305656 w 680620"/>
                <a:gd name="connsiteY47" fmla="*/ 35454 h 56512"/>
                <a:gd name="connsiteX48" fmla="*/ 331136 w 680620"/>
                <a:gd name="connsiteY48" fmla="*/ 47481 h 56512"/>
                <a:gd name="connsiteX49" fmla="*/ 331421 w 680620"/>
                <a:gd name="connsiteY49" fmla="*/ 47481 h 56512"/>
                <a:gd name="connsiteX50" fmla="*/ 356900 w 680620"/>
                <a:gd name="connsiteY50" fmla="*/ 35122 h 56512"/>
                <a:gd name="connsiteX51" fmla="*/ 367834 w 680620"/>
                <a:gd name="connsiteY51" fmla="*/ 21812 h 56512"/>
                <a:gd name="connsiteX52" fmla="*/ 397544 w 680620"/>
                <a:gd name="connsiteY52" fmla="*/ 7551 h 56512"/>
                <a:gd name="connsiteX53" fmla="*/ 427254 w 680620"/>
                <a:gd name="connsiteY53" fmla="*/ 21479 h 56512"/>
                <a:gd name="connsiteX54" fmla="*/ 438472 w 680620"/>
                <a:gd name="connsiteY54" fmla="*/ 34789 h 56512"/>
                <a:gd name="connsiteX55" fmla="*/ 464236 w 680620"/>
                <a:gd name="connsiteY55" fmla="*/ 47148 h 56512"/>
                <a:gd name="connsiteX56" fmla="*/ 490001 w 680620"/>
                <a:gd name="connsiteY56" fmla="*/ 34789 h 56512"/>
                <a:gd name="connsiteX57" fmla="*/ 501219 w 680620"/>
                <a:gd name="connsiteY57" fmla="*/ 21194 h 56512"/>
                <a:gd name="connsiteX58" fmla="*/ 530644 w 680620"/>
                <a:gd name="connsiteY58" fmla="*/ 6980 h 56512"/>
                <a:gd name="connsiteX59" fmla="*/ 531262 w 680620"/>
                <a:gd name="connsiteY59" fmla="*/ 6980 h 56512"/>
                <a:gd name="connsiteX60" fmla="*/ 560354 w 680620"/>
                <a:gd name="connsiteY60" fmla="*/ 20576 h 56512"/>
                <a:gd name="connsiteX61" fmla="*/ 573712 w 680620"/>
                <a:gd name="connsiteY61" fmla="*/ 36072 h 56512"/>
                <a:gd name="connsiteX62" fmla="*/ 599191 w 680620"/>
                <a:gd name="connsiteY62" fmla="*/ 47766 h 56512"/>
                <a:gd name="connsiteX63" fmla="*/ 624670 w 680620"/>
                <a:gd name="connsiteY63" fmla="*/ 35407 h 56512"/>
                <a:gd name="connsiteX64" fmla="*/ 642877 w 680620"/>
                <a:gd name="connsiteY64" fmla="*/ 13873 h 56512"/>
                <a:gd name="connsiteX65" fmla="*/ 680620 w 680620"/>
                <a:gd name="connsiteY65" fmla="*/ 896 h 56512"/>
                <a:gd name="connsiteX66" fmla="*/ 680620 w 680620"/>
                <a:gd name="connsiteY66" fmla="*/ 9975 h 56512"/>
                <a:gd name="connsiteX67" fmla="*/ 649104 w 680620"/>
                <a:gd name="connsiteY67" fmla="*/ 19530 h 5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80620" h="56512">
                  <a:moveTo>
                    <a:pt x="649104" y="19530"/>
                  </a:moveTo>
                  <a:cubicBezTo>
                    <a:pt x="630898" y="41349"/>
                    <a:pt x="630898" y="41349"/>
                    <a:pt x="630898" y="41349"/>
                  </a:cubicBezTo>
                  <a:cubicBezTo>
                    <a:pt x="623007" y="50856"/>
                    <a:pt x="611170" y="56513"/>
                    <a:pt x="599049" y="56513"/>
                  </a:cubicBezTo>
                  <a:cubicBezTo>
                    <a:pt x="599049" y="56513"/>
                    <a:pt x="599049" y="56513"/>
                    <a:pt x="598763" y="56513"/>
                  </a:cubicBezTo>
                  <a:cubicBezTo>
                    <a:pt x="586927" y="56513"/>
                    <a:pt x="575423" y="51141"/>
                    <a:pt x="567247" y="41634"/>
                  </a:cubicBezTo>
                  <a:cubicBezTo>
                    <a:pt x="553889" y="26470"/>
                    <a:pt x="553889" y="26470"/>
                    <a:pt x="553889" y="26470"/>
                  </a:cubicBezTo>
                  <a:cubicBezTo>
                    <a:pt x="548138" y="19530"/>
                    <a:pt x="539629" y="15727"/>
                    <a:pt x="530834" y="15727"/>
                  </a:cubicBezTo>
                  <a:cubicBezTo>
                    <a:pt x="521755" y="15727"/>
                    <a:pt x="513531" y="19862"/>
                    <a:pt x="507779" y="26803"/>
                  </a:cubicBezTo>
                  <a:cubicBezTo>
                    <a:pt x="496276" y="40398"/>
                    <a:pt x="496276" y="40398"/>
                    <a:pt x="496276" y="40398"/>
                  </a:cubicBezTo>
                  <a:cubicBezTo>
                    <a:pt x="488385" y="50190"/>
                    <a:pt x="476548" y="55895"/>
                    <a:pt x="464141" y="55895"/>
                  </a:cubicBezTo>
                  <a:cubicBezTo>
                    <a:pt x="451735" y="55895"/>
                    <a:pt x="440183" y="50190"/>
                    <a:pt x="432007" y="40731"/>
                  </a:cubicBezTo>
                  <a:cubicBezTo>
                    <a:pt x="420789" y="27136"/>
                    <a:pt x="420789" y="27136"/>
                    <a:pt x="420789" y="27136"/>
                  </a:cubicBezTo>
                  <a:cubicBezTo>
                    <a:pt x="415037" y="20195"/>
                    <a:pt x="406528" y="16392"/>
                    <a:pt x="397448" y="16392"/>
                  </a:cubicBezTo>
                  <a:cubicBezTo>
                    <a:pt x="388654" y="16392"/>
                    <a:pt x="380145" y="20528"/>
                    <a:pt x="374108" y="27468"/>
                  </a:cubicBezTo>
                  <a:cubicBezTo>
                    <a:pt x="363175" y="40778"/>
                    <a:pt x="363175" y="40778"/>
                    <a:pt x="363175" y="40778"/>
                  </a:cubicBezTo>
                  <a:cubicBezTo>
                    <a:pt x="355284" y="50571"/>
                    <a:pt x="343448" y="55942"/>
                    <a:pt x="331326" y="56275"/>
                  </a:cubicBezTo>
                  <a:cubicBezTo>
                    <a:pt x="331041" y="56275"/>
                    <a:pt x="331041" y="56275"/>
                    <a:pt x="331041" y="56275"/>
                  </a:cubicBezTo>
                  <a:cubicBezTo>
                    <a:pt x="318919" y="56275"/>
                    <a:pt x="307368" y="50904"/>
                    <a:pt x="299192" y="41396"/>
                  </a:cubicBezTo>
                  <a:cubicBezTo>
                    <a:pt x="286737" y="26850"/>
                    <a:pt x="286737" y="26850"/>
                    <a:pt x="286737" y="26850"/>
                  </a:cubicBezTo>
                  <a:cubicBezTo>
                    <a:pt x="280652" y="19910"/>
                    <a:pt x="272191" y="16107"/>
                    <a:pt x="263397" y="16107"/>
                  </a:cubicBezTo>
                  <a:cubicBezTo>
                    <a:pt x="254318" y="16440"/>
                    <a:pt x="245809" y="20528"/>
                    <a:pt x="240057" y="27516"/>
                  </a:cubicBezTo>
                  <a:cubicBezTo>
                    <a:pt x="229742" y="40160"/>
                    <a:pt x="229742" y="40160"/>
                    <a:pt x="229742" y="40160"/>
                  </a:cubicBezTo>
                  <a:cubicBezTo>
                    <a:pt x="221850" y="49953"/>
                    <a:pt x="210347" y="55990"/>
                    <a:pt x="197892" y="55990"/>
                  </a:cubicBezTo>
                  <a:cubicBezTo>
                    <a:pt x="185771" y="56323"/>
                    <a:pt x="173934" y="50951"/>
                    <a:pt x="165758" y="41444"/>
                  </a:cubicBezTo>
                  <a:cubicBezTo>
                    <a:pt x="152400" y="26280"/>
                    <a:pt x="152400" y="26280"/>
                    <a:pt x="152400" y="26280"/>
                  </a:cubicBezTo>
                  <a:cubicBezTo>
                    <a:pt x="146648" y="19340"/>
                    <a:pt x="138140" y="15537"/>
                    <a:pt x="129678" y="15537"/>
                  </a:cubicBezTo>
                  <a:cubicBezTo>
                    <a:pt x="129393" y="15537"/>
                    <a:pt x="129393" y="15537"/>
                    <a:pt x="129393" y="15537"/>
                  </a:cubicBezTo>
                  <a:cubicBezTo>
                    <a:pt x="120599" y="15537"/>
                    <a:pt x="112090" y="19672"/>
                    <a:pt x="106338" y="26613"/>
                  </a:cubicBezTo>
                  <a:cubicBezTo>
                    <a:pt x="94502" y="40541"/>
                    <a:pt x="94502" y="40541"/>
                    <a:pt x="94502" y="40541"/>
                  </a:cubicBezTo>
                  <a:cubicBezTo>
                    <a:pt x="86611" y="50333"/>
                    <a:pt x="74774" y="55705"/>
                    <a:pt x="62367" y="55705"/>
                  </a:cubicBezTo>
                  <a:cubicBezTo>
                    <a:pt x="49913" y="55705"/>
                    <a:pt x="38409" y="50000"/>
                    <a:pt x="30233" y="40208"/>
                  </a:cubicBezTo>
                  <a:cubicBezTo>
                    <a:pt x="14784" y="21526"/>
                    <a:pt x="14784" y="21526"/>
                    <a:pt x="14784" y="21526"/>
                  </a:cubicBezTo>
                  <a:cubicBezTo>
                    <a:pt x="10791" y="16630"/>
                    <a:pt x="5752" y="13302"/>
                    <a:pt x="0" y="11544"/>
                  </a:cubicBezTo>
                  <a:lnTo>
                    <a:pt x="0" y="2417"/>
                  </a:lnTo>
                  <a:cubicBezTo>
                    <a:pt x="8271" y="4413"/>
                    <a:pt x="15734" y="9072"/>
                    <a:pt x="21439" y="15822"/>
                  </a:cubicBezTo>
                  <a:cubicBezTo>
                    <a:pt x="36603" y="34504"/>
                    <a:pt x="36603" y="34504"/>
                    <a:pt x="36603" y="34504"/>
                  </a:cubicBezTo>
                  <a:cubicBezTo>
                    <a:pt x="42972" y="42394"/>
                    <a:pt x="52385" y="46863"/>
                    <a:pt x="62367" y="46863"/>
                  </a:cubicBezTo>
                  <a:cubicBezTo>
                    <a:pt x="72397" y="47196"/>
                    <a:pt x="81762" y="42442"/>
                    <a:pt x="88132" y="34836"/>
                  </a:cubicBezTo>
                  <a:cubicBezTo>
                    <a:pt x="99968" y="20908"/>
                    <a:pt x="99968" y="20908"/>
                    <a:pt x="99968" y="20908"/>
                  </a:cubicBezTo>
                  <a:cubicBezTo>
                    <a:pt x="107241" y="12067"/>
                    <a:pt x="118174" y="6980"/>
                    <a:pt x="129393" y="6695"/>
                  </a:cubicBezTo>
                  <a:cubicBezTo>
                    <a:pt x="140612" y="6695"/>
                    <a:pt x="151212" y="11734"/>
                    <a:pt x="158818" y="20290"/>
                  </a:cubicBezTo>
                  <a:cubicBezTo>
                    <a:pt x="171843" y="35454"/>
                    <a:pt x="171843" y="35454"/>
                    <a:pt x="171843" y="35454"/>
                  </a:cubicBezTo>
                  <a:cubicBezTo>
                    <a:pt x="178498" y="43060"/>
                    <a:pt x="187910" y="47481"/>
                    <a:pt x="197940" y="47148"/>
                  </a:cubicBezTo>
                  <a:cubicBezTo>
                    <a:pt x="207637" y="47148"/>
                    <a:pt x="217049" y="42394"/>
                    <a:pt x="223419" y="34504"/>
                  </a:cubicBezTo>
                  <a:cubicBezTo>
                    <a:pt x="233734" y="21859"/>
                    <a:pt x="233734" y="21859"/>
                    <a:pt x="233734" y="21859"/>
                  </a:cubicBezTo>
                  <a:cubicBezTo>
                    <a:pt x="241008" y="13017"/>
                    <a:pt x="251941" y="7598"/>
                    <a:pt x="263159" y="7313"/>
                  </a:cubicBezTo>
                  <a:cubicBezTo>
                    <a:pt x="274663" y="7313"/>
                    <a:pt x="285596" y="12067"/>
                    <a:pt x="293202" y="20908"/>
                  </a:cubicBezTo>
                  <a:cubicBezTo>
                    <a:pt x="305656" y="35454"/>
                    <a:pt x="305656" y="35454"/>
                    <a:pt x="305656" y="35454"/>
                  </a:cubicBezTo>
                  <a:cubicBezTo>
                    <a:pt x="312026" y="43060"/>
                    <a:pt x="321438" y="47481"/>
                    <a:pt x="331136" y="47481"/>
                  </a:cubicBezTo>
                  <a:cubicBezTo>
                    <a:pt x="331136" y="47481"/>
                    <a:pt x="331136" y="47481"/>
                    <a:pt x="331421" y="47481"/>
                  </a:cubicBezTo>
                  <a:cubicBezTo>
                    <a:pt x="341118" y="47148"/>
                    <a:pt x="350530" y="42727"/>
                    <a:pt x="356900" y="35122"/>
                  </a:cubicBezTo>
                  <a:cubicBezTo>
                    <a:pt x="367834" y="21812"/>
                    <a:pt x="367834" y="21812"/>
                    <a:pt x="367834" y="21812"/>
                  </a:cubicBezTo>
                  <a:cubicBezTo>
                    <a:pt x="375392" y="12637"/>
                    <a:pt x="386040" y="7551"/>
                    <a:pt x="397544" y="7551"/>
                  </a:cubicBezTo>
                  <a:cubicBezTo>
                    <a:pt x="409047" y="7551"/>
                    <a:pt x="419695" y="12590"/>
                    <a:pt x="427254" y="21479"/>
                  </a:cubicBezTo>
                  <a:cubicBezTo>
                    <a:pt x="438472" y="34789"/>
                    <a:pt x="438472" y="34789"/>
                    <a:pt x="438472" y="34789"/>
                  </a:cubicBezTo>
                  <a:cubicBezTo>
                    <a:pt x="445127" y="42680"/>
                    <a:pt x="454254" y="47148"/>
                    <a:pt x="464236" y="47148"/>
                  </a:cubicBezTo>
                  <a:cubicBezTo>
                    <a:pt x="474219" y="47148"/>
                    <a:pt x="483631" y="42727"/>
                    <a:pt x="490001" y="34789"/>
                  </a:cubicBezTo>
                  <a:cubicBezTo>
                    <a:pt x="501219" y="21194"/>
                    <a:pt x="501219" y="21194"/>
                    <a:pt x="501219" y="21194"/>
                  </a:cubicBezTo>
                  <a:cubicBezTo>
                    <a:pt x="508778" y="12352"/>
                    <a:pt x="519426" y="6980"/>
                    <a:pt x="530644" y="6980"/>
                  </a:cubicBezTo>
                  <a:cubicBezTo>
                    <a:pt x="530930" y="6980"/>
                    <a:pt x="530930" y="6980"/>
                    <a:pt x="531262" y="6980"/>
                  </a:cubicBezTo>
                  <a:cubicBezTo>
                    <a:pt x="542196" y="6980"/>
                    <a:pt x="552796" y="12019"/>
                    <a:pt x="560354" y="20576"/>
                  </a:cubicBezTo>
                  <a:cubicBezTo>
                    <a:pt x="573712" y="36072"/>
                    <a:pt x="573712" y="36072"/>
                    <a:pt x="573712" y="36072"/>
                  </a:cubicBezTo>
                  <a:cubicBezTo>
                    <a:pt x="580082" y="43345"/>
                    <a:pt x="589494" y="47766"/>
                    <a:pt x="599191" y="47766"/>
                  </a:cubicBezTo>
                  <a:cubicBezTo>
                    <a:pt x="608889" y="47766"/>
                    <a:pt x="618301" y="43345"/>
                    <a:pt x="624670" y="35407"/>
                  </a:cubicBezTo>
                  <a:cubicBezTo>
                    <a:pt x="642877" y="13873"/>
                    <a:pt x="642877" y="13873"/>
                    <a:pt x="642877" y="13873"/>
                  </a:cubicBezTo>
                  <a:cubicBezTo>
                    <a:pt x="652479" y="2464"/>
                    <a:pt x="667073" y="-2099"/>
                    <a:pt x="680620" y="896"/>
                  </a:cubicBezTo>
                  <a:lnTo>
                    <a:pt x="680620" y="9975"/>
                  </a:lnTo>
                  <a:cubicBezTo>
                    <a:pt x="669402" y="6742"/>
                    <a:pt x="657137" y="10118"/>
                    <a:pt x="649104" y="19530"/>
                  </a:cubicBezTo>
                  <a:close/>
                </a:path>
              </a:pathLst>
            </a:custGeom>
            <a:grpFill/>
            <a:ln w="4748" cap="flat">
              <a:solidFill>
                <a:schemeClr val="accent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2" name="Freeform: Shape 341">
              <a:extLst>
                <a:ext uri="{FF2B5EF4-FFF2-40B4-BE49-F238E27FC236}">
                  <a16:creationId xmlns:a16="http://schemas.microsoft.com/office/drawing/2014/main" id="{DE430123-1381-4D13-BE8B-3EC045E0C5D2}"/>
                </a:ext>
              </a:extLst>
            </p:cNvPr>
            <p:cNvSpPr/>
            <p:nvPr/>
          </p:nvSpPr>
          <p:spPr>
            <a:xfrm>
              <a:off x="4743027" y="3754618"/>
              <a:ext cx="680620" cy="56512"/>
            </a:xfrm>
            <a:custGeom>
              <a:avLst/>
              <a:gdLst>
                <a:gd name="connsiteX0" fmla="*/ 649104 w 680620"/>
                <a:gd name="connsiteY0" fmla="*/ 19530 h 56512"/>
                <a:gd name="connsiteX1" fmla="*/ 630898 w 680620"/>
                <a:gd name="connsiteY1" fmla="*/ 41349 h 56512"/>
                <a:gd name="connsiteX2" fmla="*/ 599049 w 680620"/>
                <a:gd name="connsiteY2" fmla="*/ 56513 h 56512"/>
                <a:gd name="connsiteX3" fmla="*/ 598763 w 680620"/>
                <a:gd name="connsiteY3" fmla="*/ 56513 h 56512"/>
                <a:gd name="connsiteX4" fmla="*/ 567247 w 680620"/>
                <a:gd name="connsiteY4" fmla="*/ 41634 h 56512"/>
                <a:gd name="connsiteX5" fmla="*/ 553889 w 680620"/>
                <a:gd name="connsiteY5" fmla="*/ 26470 h 56512"/>
                <a:gd name="connsiteX6" fmla="*/ 530834 w 680620"/>
                <a:gd name="connsiteY6" fmla="*/ 15727 h 56512"/>
                <a:gd name="connsiteX7" fmla="*/ 507779 w 680620"/>
                <a:gd name="connsiteY7" fmla="*/ 26803 h 56512"/>
                <a:gd name="connsiteX8" fmla="*/ 496276 w 680620"/>
                <a:gd name="connsiteY8" fmla="*/ 40398 h 56512"/>
                <a:gd name="connsiteX9" fmla="*/ 464141 w 680620"/>
                <a:gd name="connsiteY9" fmla="*/ 55895 h 56512"/>
                <a:gd name="connsiteX10" fmla="*/ 432007 w 680620"/>
                <a:gd name="connsiteY10" fmla="*/ 40731 h 56512"/>
                <a:gd name="connsiteX11" fmla="*/ 420789 w 680620"/>
                <a:gd name="connsiteY11" fmla="*/ 27136 h 56512"/>
                <a:gd name="connsiteX12" fmla="*/ 397448 w 680620"/>
                <a:gd name="connsiteY12" fmla="*/ 16392 h 56512"/>
                <a:gd name="connsiteX13" fmla="*/ 374108 w 680620"/>
                <a:gd name="connsiteY13" fmla="*/ 27468 h 56512"/>
                <a:gd name="connsiteX14" fmla="*/ 363175 w 680620"/>
                <a:gd name="connsiteY14" fmla="*/ 40778 h 56512"/>
                <a:gd name="connsiteX15" fmla="*/ 331326 w 680620"/>
                <a:gd name="connsiteY15" fmla="*/ 56275 h 56512"/>
                <a:gd name="connsiteX16" fmla="*/ 331041 w 680620"/>
                <a:gd name="connsiteY16" fmla="*/ 56275 h 56512"/>
                <a:gd name="connsiteX17" fmla="*/ 299192 w 680620"/>
                <a:gd name="connsiteY17" fmla="*/ 41396 h 56512"/>
                <a:gd name="connsiteX18" fmla="*/ 286737 w 680620"/>
                <a:gd name="connsiteY18" fmla="*/ 26850 h 56512"/>
                <a:gd name="connsiteX19" fmla="*/ 263397 w 680620"/>
                <a:gd name="connsiteY19" fmla="*/ 16107 h 56512"/>
                <a:gd name="connsiteX20" fmla="*/ 240057 w 680620"/>
                <a:gd name="connsiteY20" fmla="*/ 27516 h 56512"/>
                <a:gd name="connsiteX21" fmla="*/ 229742 w 680620"/>
                <a:gd name="connsiteY21" fmla="*/ 40160 h 56512"/>
                <a:gd name="connsiteX22" fmla="*/ 197892 w 680620"/>
                <a:gd name="connsiteY22" fmla="*/ 55990 h 56512"/>
                <a:gd name="connsiteX23" fmla="*/ 165758 w 680620"/>
                <a:gd name="connsiteY23" fmla="*/ 41444 h 56512"/>
                <a:gd name="connsiteX24" fmla="*/ 152400 w 680620"/>
                <a:gd name="connsiteY24" fmla="*/ 26280 h 56512"/>
                <a:gd name="connsiteX25" fmla="*/ 129678 w 680620"/>
                <a:gd name="connsiteY25" fmla="*/ 15537 h 56512"/>
                <a:gd name="connsiteX26" fmla="*/ 129393 w 680620"/>
                <a:gd name="connsiteY26" fmla="*/ 15537 h 56512"/>
                <a:gd name="connsiteX27" fmla="*/ 106338 w 680620"/>
                <a:gd name="connsiteY27" fmla="*/ 26613 h 56512"/>
                <a:gd name="connsiteX28" fmla="*/ 94502 w 680620"/>
                <a:gd name="connsiteY28" fmla="*/ 40541 h 56512"/>
                <a:gd name="connsiteX29" fmla="*/ 62367 w 680620"/>
                <a:gd name="connsiteY29" fmla="*/ 55705 h 56512"/>
                <a:gd name="connsiteX30" fmla="*/ 30233 w 680620"/>
                <a:gd name="connsiteY30" fmla="*/ 40208 h 56512"/>
                <a:gd name="connsiteX31" fmla="*/ 14784 w 680620"/>
                <a:gd name="connsiteY31" fmla="*/ 21526 h 56512"/>
                <a:gd name="connsiteX32" fmla="*/ 0 w 680620"/>
                <a:gd name="connsiteY32" fmla="*/ 11544 h 56512"/>
                <a:gd name="connsiteX33" fmla="*/ 0 w 680620"/>
                <a:gd name="connsiteY33" fmla="*/ 2417 h 56512"/>
                <a:gd name="connsiteX34" fmla="*/ 21439 w 680620"/>
                <a:gd name="connsiteY34" fmla="*/ 15822 h 56512"/>
                <a:gd name="connsiteX35" fmla="*/ 36603 w 680620"/>
                <a:gd name="connsiteY35" fmla="*/ 34504 h 56512"/>
                <a:gd name="connsiteX36" fmla="*/ 62367 w 680620"/>
                <a:gd name="connsiteY36" fmla="*/ 46863 h 56512"/>
                <a:gd name="connsiteX37" fmla="*/ 88132 w 680620"/>
                <a:gd name="connsiteY37" fmla="*/ 34836 h 56512"/>
                <a:gd name="connsiteX38" fmla="*/ 99968 w 680620"/>
                <a:gd name="connsiteY38" fmla="*/ 20908 h 56512"/>
                <a:gd name="connsiteX39" fmla="*/ 129393 w 680620"/>
                <a:gd name="connsiteY39" fmla="*/ 6695 h 56512"/>
                <a:gd name="connsiteX40" fmla="*/ 158818 w 680620"/>
                <a:gd name="connsiteY40" fmla="*/ 20290 h 56512"/>
                <a:gd name="connsiteX41" fmla="*/ 171843 w 680620"/>
                <a:gd name="connsiteY41" fmla="*/ 35454 h 56512"/>
                <a:gd name="connsiteX42" fmla="*/ 197940 w 680620"/>
                <a:gd name="connsiteY42" fmla="*/ 47148 h 56512"/>
                <a:gd name="connsiteX43" fmla="*/ 223419 w 680620"/>
                <a:gd name="connsiteY43" fmla="*/ 34504 h 56512"/>
                <a:gd name="connsiteX44" fmla="*/ 233734 w 680620"/>
                <a:gd name="connsiteY44" fmla="*/ 21859 h 56512"/>
                <a:gd name="connsiteX45" fmla="*/ 263159 w 680620"/>
                <a:gd name="connsiteY45" fmla="*/ 7313 h 56512"/>
                <a:gd name="connsiteX46" fmla="*/ 293202 w 680620"/>
                <a:gd name="connsiteY46" fmla="*/ 20908 h 56512"/>
                <a:gd name="connsiteX47" fmla="*/ 305656 w 680620"/>
                <a:gd name="connsiteY47" fmla="*/ 35454 h 56512"/>
                <a:gd name="connsiteX48" fmla="*/ 331136 w 680620"/>
                <a:gd name="connsiteY48" fmla="*/ 47481 h 56512"/>
                <a:gd name="connsiteX49" fmla="*/ 331421 w 680620"/>
                <a:gd name="connsiteY49" fmla="*/ 47481 h 56512"/>
                <a:gd name="connsiteX50" fmla="*/ 356900 w 680620"/>
                <a:gd name="connsiteY50" fmla="*/ 35122 h 56512"/>
                <a:gd name="connsiteX51" fmla="*/ 367834 w 680620"/>
                <a:gd name="connsiteY51" fmla="*/ 21812 h 56512"/>
                <a:gd name="connsiteX52" fmla="*/ 397544 w 680620"/>
                <a:gd name="connsiteY52" fmla="*/ 7551 h 56512"/>
                <a:gd name="connsiteX53" fmla="*/ 427254 w 680620"/>
                <a:gd name="connsiteY53" fmla="*/ 21479 h 56512"/>
                <a:gd name="connsiteX54" fmla="*/ 438472 w 680620"/>
                <a:gd name="connsiteY54" fmla="*/ 34789 h 56512"/>
                <a:gd name="connsiteX55" fmla="*/ 464236 w 680620"/>
                <a:gd name="connsiteY55" fmla="*/ 47148 h 56512"/>
                <a:gd name="connsiteX56" fmla="*/ 490001 w 680620"/>
                <a:gd name="connsiteY56" fmla="*/ 34789 h 56512"/>
                <a:gd name="connsiteX57" fmla="*/ 501219 w 680620"/>
                <a:gd name="connsiteY57" fmla="*/ 21194 h 56512"/>
                <a:gd name="connsiteX58" fmla="*/ 530644 w 680620"/>
                <a:gd name="connsiteY58" fmla="*/ 6980 h 56512"/>
                <a:gd name="connsiteX59" fmla="*/ 531262 w 680620"/>
                <a:gd name="connsiteY59" fmla="*/ 6980 h 56512"/>
                <a:gd name="connsiteX60" fmla="*/ 560354 w 680620"/>
                <a:gd name="connsiteY60" fmla="*/ 20576 h 56512"/>
                <a:gd name="connsiteX61" fmla="*/ 573712 w 680620"/>
                <a:gd name="connsiteY61" fmla="*/ 36072 h 56512"/>
                <a:gd name="connsiteX62" fmla="*/ 599191 w 680620"/>
                <a:gd name="connsiteY62" fmla="*/ 47766 h 56512"/>
                <a:gd name="connsiteX63" fmla="*/ 624670 w 680620"/>
                <a:gd name="connsiteY63" fmla="*/ 35407 h 56512"/>
                <a:gd name="connsiteX64" fmla="*/ 642877 w 680620"/>
                <a:gd name="connsiteY64" fmla="*/ 13873 h 56512"/>
                <a:gd name="connsiteX65" fmla="*/ 680620 w 680620"/>
                <a:gd name="connsiteY65" fmla="*/ 896 h 56512"/>
                <a:gd name="connsiteX66" fmla="*/ 680620 w 680620"/>
                <a:gd name="connsiteY66" fmla="*/ 9975 h 56512"/>
                <a:gd name="connsiteX67" fmla="*/ 649104 w 680620"/>
                <a:gd name="connsiteY67" fmla="*/ 19530 h 5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680620" h="56512">
                  <a:moveTo>
                    <a:pt x="649104" y="19530"/>
                  </a:moveTo>
                  <a:cubicBezTo>
                    <a:pt x="630898" y="41349"/>
                    <a:pt x="630898" y="41349"/>
                    <a:pt x="630898" y="41349"/>
                  </a:cubicBezTo>
                  <a:cubicBezTo>
                    <a:pt x="623007" y="50856"/>
                    <a:pt x="611170" y="56513"/>
                    <a:pt x="599049" y="56513"/>
                  </a:cubicBezTo>
                  <a:cubicBezTo>
                    <a:pt x="599049" y="56513"/>
                    <a:pt x="599049" y="56513"/>
                    <a:pt x="598763" y="56513"/>
                  </a:cubicBezTo>
                  <a:cubicBezTo>
                    <a:pt x="586927" y="56513"/>
                    <a:pt x="575423" y="51141"/>
                    <a:pt x="567247" y="41634"/>
                  </a:cubicBezTo>
                  <a:cubicBezTo>
                    <a:pt x="553889" y="26470"/>
                    <a:pt x="553889" y="26470"/>
                    <a:pt x="553889" y="26470"/>
                  </a:cubicBezTo>
                  <a:cubicBezTo>
                    <a:pt x="548138" y="19530"/>
                    <a:pt x="539629" y="15727"/>
                    <a:pt x="530834" y="15727"/>
                  </a:cubicBezTo>
                  <a:cubicBezTo>
                    <a:pt x="521755" y="15727"/>
                    <a:pt x="513531" y="19863"/>
                    <a:pt x="507779" y="26803"/>
                  </a:cubicBezTo>
                  <a:cubicBezTo>
                    <a:pt x="496276" y="40398"/>
                    <a:pt x="496276" y="40398"/>
                    <a:pt x="496276" y="40398"/>
                  </a:cubicBezTo>
                  <a:cubicBezTo>
                    <a:pt x="488385" y="50190"/>
                    <a:pt x="476548" y="55895"/>
                    <a:pt x="464141" y="55895"/>
                  </a:cubicBezTo>
                  <a:cubicBezTo>
                    <a:pt x="451735" y="55895"/>
                    <a:pt x="440183" y="50190"/>
                    <a:pt x="432007" y="40731"/>
                  </a:cubicBezTo>
                  <a:cubicBezTo>
                    <a:pt x="420789" y="27136"/>
                    <a:pt x="420789" y="27136"/>
                    <a:pt x="420789" y="27136"/>
                  </a:cubicBezTo>
                  <a:cubicBezTo>
                    <a:pt x="415037" y="20195"/>
                    <a:pt x="406528" y="16392"/>
                    <a:pt x="397448" y="16392"/>
                  </a:cubicBezTo>
                  <a:cubicBezTo>
                    <a:pt x="388654" y="16392"/>
                    <a:pt x="380145" y="20528"/>
                    <a:pt x="374108" y="27468"/>
                  </a:cubicBezTo>
                  <a:cubicBezTo>
                    <a:pt x="363175" y="40778"/>
                    <a:pt x="363175" y="40778"/>
                    <a:pt x="363175" y="40778"/>
                  </a:cubicBezTo>
                  <a:cubicBezTo>
                    <a:pt x="355284" y="50571"/>
                    <a:pt x="343448" y="55942"/>
                    <a:pt x="331326" y="56275"/>
                  </a:cubicBezTo>
                  <a:cubicBezTo>
                    <a:pt x="331041" y="56275"/>
                    <a:pt x="331041" y="56275"/>
                    <a:pt x="331041" y="56275"/>
                  </a:cubicBezTo>
                  <a:cubicBezTo>
                    <a:pt x="318919" y="56275"/>
                    <a:pt x="307368" y="50904"/>
                    <a:pt x="299192" y="41396"/>
                  </a:cubicBezTo>
                  <a:cubicBezTo>
                    <a:pt x="286737" y="26850"/>
                    <a:pt x="286737" y="26850"/>
                    <a:pt x="286737" y="26850"/>
                  </a:cubicBezTo>
                  <a:cubicBezTo>
                    <a:pt x="280652" y="19910"/>
                    <a:pt x="272191" y="16107"/>
                    <a:pt x="263397" y="16107"/>
                  </a:cubicBezTo>
                  <a:cubicBezTo>
                    <a:pt x="254318" y="16440"/>
                    <a:pt x="245809" y="20528"/>
                    <a:pt x="240057" y="27516"/>
                  </a:cubicBezTo>
                  <a:cubicBezTo>
                    <a:pt x="229742" y="40160"/>
                    <a:pt x="229742" y="40160"/>
                    <a:pt x="229742" y="40160"/>
                  </a:cubicBezTo>
                  <a:cubicBezTo>
                    <a:pt x="221850" y="49953"/>
                    <a:pt x="210347" y="55990"/>
                    <a:pt x="197892" y="55990"/>
                  </a:cubicBezTo>
                  <a:cubicBezTo>
                    <a:pt x="185771" y="56323"/>
                    <a:pt x="173934" y="50951"/>
                    <a:pt x="165758" y="41444"/>
                  </a:cubicBezTo>
                  <a:cubicBezTo>
                    <a:pt x="152400" y="26280"/>
                    <a:pt x="152400" y="26280"/>
                    <a:pt x="152400" y="26280"/>
                  </a:cubicBezTo>
                  <a:cubicBezTo>
                    <a:pt x="146648" y="19340"/>
                    <a:pt x="138140" y="15537"/>
                    <a:pt x="129678" y="15537"/>
                  </a:cubicBezTo>
                  <a:cubicBezTo>
                    <a:pt x="129393" y="15537"/>
                    <a:pt x="129393" y="15537"/>
                    <a:pt x="129393" y="15537"/>
                  </a:cubicBezTo>
                  <a:cubicBezTo>
                    <a:pt x="120599" y="15537"/>
                    <a:pt x="112090" y="19672"/>
                    <a:pt x="106338" y="26613"/>
                  </a:cubicBezTo>
                  <a:cubicBezTo>
                    <a:pt x="94502" y="40541"/>
                    <a:pt x="94502" y="40541"/>
                    <a:pt x="94502" y="40541"/>
                  </a:cubicBezTo>
                  <a:cubicBezTo>
                    <a:pt x="86611" y="50333"/>
                    <a:pt x="74774" y="55705"/>
                    <a:pt x="62367" y="55705"/>
                  </a:cubicBezTo>
                  <a:cubicBezTo>
                    <a:pt x="49913" y="55705"/>
                    <a:pt x="38409" y="50000"/>
                    <a:pt x="30233" y="40208"/>
                  </a:cubicBezTo>
                  <a:cubicBezTo>
                    <a:pt x="14784" y="21526"/>
                    <a:pt x="14784" y="21526"/>
                    <a:pt x="14784" y="21526"/>
                  </a:cubicBezTo>
                  <a:cubicBezTo>
                    <a:pt x="10791" y="16630"/>
                    <a:pt x="5752" y="13303"/>
                    <a:pt x="0" y="11544"/>
                  </a:cubicBezTo>
                  <a:lnTo>
                    <a:pt x="0" y="2417"/>
                  </a:lnTo>
                  <a:cubicBezTo>
                    <a:pt x="8271" y="4413"/>
                    <a:pt x="15734" y="9072"/>
                    <a:pt x="21439" y="15822"/>
                  </a:cubicBezTo>
                  <a:cubicBezTo>
                    <a:pt x="36603" y="34504"/>
                    <a:pt x="36603" y="34504"/>
                    <a:pt x="36603" y="34504"/>
                  </a:cubicBezTo>
                  <a:cubicBezTo>
                    <a:pt x="42972" y="42395"/>
                    <a:pt x="52385" y="46863"/>
                    <a:pt x="62367" y="46863"/>
                  </a:cubicBezTo>
                  <a:cubicBezTo>
                    <a:pt x="72397" y="47196"/>
                    <a:pt x="81762" y="42442"/>
                    <a:pt x="88132" y="34836"/>
                  </a:cubicBezTo>
                  <a:cubicBezTo>
                    <a:pt x="99968" y="20908"/>
                    <a:pt x="99968" y="20908"/>
                    <a:pt x="99968" y="20908"/>
                  </a:cubicBezTo>
                  <a:cubicBezTo>
                    <a:pt x="107241" y="12067"/>
                    <a:pt x="118174" y="6980"/>
                    <a:pt x="129393" y="6695"/>
                  </a:cubicBezTo>
                  <a:cubicBezTo>
                    <a:pt x="140612" y="6695"/>
                    <a:pt x="151212" y="11734"/>
                    <a:pt x="158818" y="20290"/>
                  </a:cubicBezTo>
                  <a:cubicBezTo>
                    <a:pt x="171843" y="35454"/>
                    <a:pt x="171843" y="35454"/>
                    <a:pt x="171843" y="35454"/>
                  </a:cubicBezTo>
                  <a:cubicBezTo>
                    <a:pt x="178498" y="43060"/>
                    <a:pt x="187910" y="47481"/>
                    <a:pt x="197940" y="47148"/>
                  </a:cubicBezTo>
                  <a:cubicBezTo>
                    <a:pt x="207637" y="47148"/>
                    <a:pt x="217049" y="42395"/>
                    <a:pt x="223419" y="34504"/>
                  </a:cubicBezTo>
                  <a:cubicBezTo>
                    <a:pt x="233734" y="21859"/>
                    <a:pt x="233734" y="21859"/>
                    <a:pt x="233734" y="21859"/>
                  </a:cubicBezTo>
                  <a:cubicBezTo>
                    <a:pt x="241008" y="13017"/>
                    <a:pt x="251941" y="7598"/>
                    <a:pt x="263159" y="7313"/>
                  </a:cubicBezTo>
                  <a:cubicBezTo>
                    <a:pt x="274663" y="7313"/>
                    <a:pt x="285596" y="12067"/>
                    <a:pt x="293202" y="20908"/>
                  </a:cubicBezTo>
                  <a:cubicBezTo>
                    <a:pt x="305656" y="35454"/>
                    <a:pt x="305656" y="35454"/>
                    <a:pt x="305656" y="35454"/>
                  </a:cubicBezTo>
                  <a:cubicBezTo>
                    <a:pt x="312026" y="43060"/>
                    <a:pt x="321438" y="47481"/>
                    <a:pt x="331136" y="47481"/>
                  </a:cubicBezTo>
                  <a:cubicBezTo>
                    <a:pt x="331136" y="47481"/>
                    <a:pt x="331136" y="47481"/>
                    <a:pt x="331421" y="47481"/>
                  </a:cubicBezTo>
                  <a:cubicBezTo>
                    <a:pt x="341118" y="47148"/>
                    <a:pt x="350530" y="42727"/>
                    <a:pt x="356900" y="35122"/>
                  </a:cubicBezTo>
                  <a:cubicBezTo>
                    <a:pt x="367834" y="21812"/>
                    <a:pt x="367834" y="21812"/>
                    <a:pt x="367834" y="21812"/>
                  </a:cubicBezTo>
                  <a:cubicBezTo>
                    <a:pt x="375392" y="12637"/>
                    <a:pt x="386040" y="7551"/>
                    <a:pt x="397544" y="7551"/>
                  </a:cubicBezTo>
                  <a:cubicBezTo>
                    <a:pt x="409047" y="7551"/>
                    <a:pt x="419695" y="12590"/>
                    <a:pt x="427254" y="21479"/>
                  </a:cubicBezTo>
                  <a:cubicBezTo>
                    <a:pt x="438472" y="34789"/>
                    <a:pt x="438472" y="34789"/>
                    <a:pt x="438472" y="34789"/>
                  </a:cubicBezTo>
                  <a:cubicBezTo>
                    <a:pt x="445127" y="42680"/>
                    <a:pt x="454254" y="47148"/>
                    <a:pt x="464236" y="47148"/>
                  </a:cubicBezTo>
                  <a:cubicBezTo>
                    <a:pt x="474219" y="47148"/>
                    <a:pt x="483631" y="42727"/>
                    <a:pt x="490001" y="34789"/>
                  </a:cubicBezTo>
                  <a:cubicBezTo>
                    <a:pt x="501219" y="21194"/>
                    <a:pt x="501219" y="21194"/>
                    <a:pt x="501219" y="21194"/>
                  </a:cubicBezTo>
                  <a:cubicBezTo>
                    <a:pt x="508778" y="12352"/>
                    <a:pt x="519426" y="6980"/>
                    <a:pt x="530644" y="6980"/>
                  </a:cubicBezTo>
                  <a:cubicBezTo>
                    <a:pt x="530930" y="6980"/>
                    <a:pt x="530930" y="6980"/>
                    <a:pt x="531262" y="6980"/>
                  </a:cubicBezTo>
                  <a:cubicBezTo>
                    <a:pt x="542196" y="6980"/>
                    <a:pt x="552796" y="12019"/>
                    <a:pt x="560354" y="20576"/>
                  </a:cubicBezTo>
                  <a:cubicBezTo>
                    <a:pt x="573712" y="36072"/>
                    <a:pt x="573712" y="36072"/>
                    <a:pt x="573712" y="36072"/>
                  </a:cubicBezTo>
                  <a:cubicBezTo>
                    <a:pt x="580082" y="43345"/>
                    <a:pt x="589494" y="47766"/>
                    <a:pt x="599191" y="47766"/>
                  </a:cubicBezTo>
                  <a:cubicBezTo>
                    <a:pt x="608889" y="47766"/>
                    <a:pt x="618301" y="43345"/>
                    <a:pt x="624670" y="35407"/>
                  </a:cubicBezTo>
                  <a:cubicBezTo>
                    <a:pt x="642877" y="13873"/>
                    <a:pt x="642877" y="13873"/>
                    <a:pt x="642877" y="13873"/>
                  </a:cubicBezTo>
                  <a:cubicBezTo>
                    <a:pt x="652479" y="2464"/>
                    <a:pt x="667073" y="-2099"/>
                    <a:pt x="680620" y="896"/>
                  </a:cubicBezTo>
                  <a:lnTo>
                    <a:pt x="680620" y="9975"/>
                  </a:lnTo>
                  <a:cubicBezTo>
                    <a:pt x="669402" y="6790"/>
                    <a:pt x="657137" y="10165"/>
                    <a:pt x="649104" y="19530"/>
                  </a:cubicBezTo>
                  <a:close/>
                </a:path>
              </a:pathLst>
            </a:custGeom>
            <a:grpFill/>
            <a:ln w="4748" cap="flat">
              <a:solidFill>
                <a:schemeClr val="accent1"/>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338" name="Freeform: Shape 337">
            <a:extLst>
              <a:ext uri="{FF2B5EF4-FFF2-40B4-BE49-F238E27FC236}">
                <a16:creationId xmlns:a16="http://schemas.microsoft.com/office/drawing/2014/main" id="{F96F6D38-7DD9-4CFD-AC35-A9AFC6D9BD97}"/>
              </a:ext>
            </a:extLst>
          </p:cNvPr>
          <p:cNvSpPr/>
          <p:nvPr/>
        </p:nvSpPr>
        <p:spPr>
          <a:xfrm>
            <a:off x="3068737" y="1568331"/>
            <a:ext cx="912578" cy="726724"/>
          </a:xfrm>
          <a:custGeom>
            <a:avLst/>
            <a:gdLst>
              <a:gd name="connsiteX0" fmla="*/ 1431275 w 1469221"/>
              <a:gd name="connsiteY0" fmla="*/ 1170003 h 1170002"/>
              <a:gd name="connsiteX1" fmla="*/ 325397 w 1469221"/>
              <a:gd name="connsiteY1" fmla="*/ 1170003 h 1170002"/>
              <a:gd name="connsiteX2" fmla="*/ 279097 w 1469221"/>
              <a:gd name="connsiteY2" fmla="*/ 1134018 h 1170002"/>
              <a:gd name="connsiteX3" fmla="*/ 1202 w 1469221"/>
              <a:gd name="connsiteY3" fmla="*/ 47298 h 1170002"/>
              <a:gd name="connsiteX4" fmla="*/ 37900 w 1469221"/>
              <a:gd name="connsiteY4" fmla="*/ 0 h 1170002"/>
              <a:gd name="connsiteX5" fmla="*/ 1129373 w 1469221"/>
              <a:gd name="connsiteY5" fmla="*/ 0 h 1170002"/>
              <a:gd name="connsiteX6" fmla="*/ 1193690 w 1469221"/>
              <a:gd name="connsiteY6" fmla="*/ 49913 h 1170002"/>
              <a:gd name="connsiteX7" fmla="*/ 1468020 w 1469221"/>
              <a:gd name="connsiteY7" fmla="*/ 1122705 h 1170002"/>
              <a:gd name="connsiteX8" fmla="*/ 1431275 w 1469221"/>
              <a:gd name="connsiteY8" fmla="*/ 1170003 h 117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9221" h="1170002">
                <a:moveTo>
                  <a:pt x="1431275" y="1170003"/>
                </a:moveTo>
                <a:lnTo>
                  <a:pt x="325397" y="1170003"/>
                </a:lnTo>
                <a:cubicBezTo>
                  <a:pt x="303578" y="1170003"/>
                  <a:pt x="284469" y="1155219"/>
                  <a:pt x="279097" y="1134018"/>
                </a:cubicBezTo>
                <a:lnTo>
                  <a:pt x="1202" y="47298"/>
                </a:lnTo>
                <a:cubicBezTo>
                  <a:pt x="-4930" y="23340"/>
                  <a:pt x="13181" y="0"/>
                  <a:pt x="37900" y="0"/>
                </a:cubicBezTo>
                <a:lnTo>
                  <a:pt x="1129373" y="0"/>
                </a:lnTo>
                <a:cubicBezTo>
                  <a:pt x="1159701" y="0"/>
                  <a:pt x="1186179" y="20536"/>
                  <a:pt x="1193690" y="49913"/>
                </a:cubicBezTo>
                <a:lnTo>
                  <a:pt x="1468020" y="1122705"/>
                </a:lnTo>
                <a:cubicBezTo>
                  <a:pt x="1474152" y="1146710"/>
                  <a:pt x="1456041" y="1170003"/>
                  <a:pt x="1431275" y="1170003"/>
                </a:cubicBezTo>
                <a:close/>
              </a:path>
            </a:pathLst>
          </a:custGeom>
          <a:solidFill>
            <a:schemeClr val="tx1"/>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pic>
        <p:nvPicPr>
          <p:cNvPr id="339" name="Picture 338" descr="A picture containing black, dark, white, sitting&#10;&#10;Description automatically generated">
            <a:extLst>
              <a:ext uri="{FF2B5EF4-FFF2-40B4-BE49-F238E27FC236}">
                <a16:creationId xmlns:a16="http://schemas.microsoft.com/office/drawing/2014/main" id="{832105F5-9277-4EA7-878C-3D9BF55E3AA5}"/>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1743233" y="1495071"/>
            <a:ext cx="2081390" cy="796301"/>
          </a:xfrm>
          <a:custGeom>
            <a:avLst/>
            <a:gdLst>
              <a:gd name="connsiteX0" fmla="*/ 0 w 9332686"/>
              <a:gd name="connsiteY0" fmla="*/ 0 h 3570515"/>
              <a:gd name="connsiteX1" fmla="*/ 9332686 w 9332686"/>
              <a:gd name="connsiteY1" fmla="*/ 0 h 3570515"/>
              <a:gd name="connsiteX2" fmla="*/ 9332686 w 9332686"/>
              <a:gd name="connsiteY2" fmla="*/ 3570515 h 3570515"/>
              <a:gd name="connsiteX3" fmla="*/ 0 w 9332686"/>
              <a:gd name="connsiteY3" fmla="*/ 3570515 h 3570515"/>
            </a:gdLst>
            <a:ahLst/>
            <a:cxnLst>
              <a:cxn ang="0">
                <a:pos x="connsiteX0" y="connsiteY0"/>
              </a:cxn>
              <a:cxn ang="0">
                <a:pos x="connsiteX1" y="connsiteY1"/>
              </a:cxn>
              <a:cxn ang="0">
                <a:pos x="connsiteX2" y="connsiteY2"/>
              </a:cxn>
              <a:cxn ang="0">
                <a:pos x="connsiteX3" y="connsiteY3"/>
              </a:cxn>
            </a:cxnLst>
            <a:rect l="l" t="t" r="r" b="b"/>
            <a:pathLst>
              <a:path w="9332686" h="3570515">
                <a:moveTo>
                  <a:pt x="0" y="0"/>
                </a:moveTo>
                <a:lnTo>
                  <a:pt x="9332686" y="0"/>
                </a:lnTo>
                <a:lnTo>
                  <a:pt x="9332686" y="3570515"/>
                </a:lnTo>
                <a:lnTo>
                  <a:pt x="0" y="3570515"/>
                </a:lnTo>
                <a:close/>
              </a:path>
            </a:pathLst>
          </a:custGeom>
        </p:spPr>
      </p:pic>
      <p:grpSp>
        <p:nvGrpSpPr>
          <p:cNvPr id="316" name="Group 315">
            <a:extLst>
              <a:ext uri="{FF2B5EF4-FFF2-40B4-BE49-F238E27FC236}">
                <a16:creationId xmlns:a16="http://schemas.microsoft.com/office/drawing/2014/main" id="{1ECDC564-6A0B-4A85-9495-58568EDEE752}"/>
              </a:ext>
            </a:extLst>
          </p:cNvPr>
          <p:cNvGrpSpPr/>
          <p:nvPr/>
        </p:nvGrpSpPr>
        <p:grpSpPr>
          <a:xfrm>
            <a:off x="3190745" y="548384"/>
            <a:ext cx="1135070" cy="1942045"/>
            <a:chOff x="5718418" y="546646"/>
            <a:chExt cx="1827425" cy="3126630"/>
          </a:xfrm>
          <a:solidFill>
            <a:schemeClr val="accent2"/>
          </a:solidFill>
        </p:grpSpPr>
        <p:sp>
          <p:nvSpPr>
            <p:cNvPr id="324" name="Freeform: Shape 323">
              <a:extLst>
                <a:ext uri="{FF2B5EF4-FFF2-40B4-BE49-F238E27FC236}">
                  <a16:creationId xmlns:a16="http://schemas.microsoft.com/office/drawing/2014/main" id="{548B206A-71BB-4E08-B728-67DF554ACFF6}"/>
                </a:ext>
              </a:extLst>
            </p:cNvPr>
            <p:cNvSpPr/>
            <p:nvPr/>
          </p:nvSpPr>
          <p:spPr>
            <a:xfrm>
              <a:off x="6785220" y="2257560"/>
              <a:ext cx="45349" cy="45349"/>
            </a:xfrm>
            <a:custGeom>
              <a:avLst/>
              <a:gdLst>
                <a:gd name="connsiteX0" fmla="*/ 45349 w 45349"/>
                <a:gd name="connsiteY0" fmla="*/ 22675 h 45349"/>
                <a:gd name="connsiteX1" fmla="*/ 22674 w 45349"/>
                <a:gd name="connsiteY1" fmla="*/ 45349 h 45349"/>
                <a:gd name="connsiteX2" fmla="*/ 0 w 45349"/>
                <a:gd name="connsiteY2" fmla="*/ 22675 h 45349"/>
                <a:gd name="connsiteX3" fmla="*/ 22674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8"/>
                    <a:pt x="35197" y="45349"/>
                    <a:pt x="22674" y="45349"/>
                  </a:cubicBezTo>
                  <a:cubicBezTo>
                    <a:pt x="10152" y="45349"/>
                    <a:pt x="0" y="35198"/>
                    <a:pt x="0" y="22675"/>
                  </a:cubicBezTo>
                  <a:cubicBezTo>
                    <a:pt x="0" y="10152"/>
                    <a:pt x="10152" y="0"/>
                    <a:pt x="22674" y="0"/>
                  </a:cubicBezTo>
                  <a:cubicBezTo>
                    <a:pt x="35197"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5" name="Freeform: Shape 324">
              <a:extLst>
                <a:ext uri="{FF2B5EF4-FFF2-40B4-BE49-F238E27FC236}">
                  <a16:creationId xmlns:a16="http://schemas.microsoft.com/office/drawing/2014/main" id="{03D5EF52-AAD2-4DF0-A950-365EBF44F26A}"/>
                </a:ext>
              </a:extLst>
            </p:cNvPr>
            <p:cNvSpPr/>
            <p:nvPr/>
          </p:nvSpPr>
          <p:spPr>
            <a:xfrm>
              <a:off x="7140409" y="2257560"/>
              <a:ext cx="45349" cy="45349"/>
            </a:xfrm>
            <a:custGeom>
              <a:avLst/>
              <a:gdLst>
                <a:gd name="connsiteX0" fmla="*/ 45350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50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50" y="22675"/>
                  </a:moveTo>
                  <a:cubicBezTo>
                    <a:pt x="45350" y="35198"/>
                    <a:pt x="35198" y="45349"/>
                    <a:pt x="22675" y="45349"/>
                  </a:cubicBezTo>
                  <a:cubicBezTo>
                    <a:pt x="10152" y="45349"/>
                    <a:pt x="0" y="35198"/>
                    <a:pt x="0" y="22675"/>
                  </a:cubicBezTo>
                  <a:cubicBezTo>
                    <a:pt x="0" y="10152"/>
                    <a:pt x="10152" y="0"/>
                    <a:pt x="22675" y="0"/>
                  </a:cubicBezTo>
                  <a:cubicBezTo>
                    <a:pt x="35198" y="0"/>
                    <a:pt x="45350" y="10152"/>
                    <a:pt x="45350"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6" name="Freeform: Shape 325">
              <a:extLst>
                <a:ext uri="{FF2B5EF4-FFF2-40B4-BE49-F238E27FC236}">
                  <a16:creationId xmlns:a16="http://schemas.microsoft.com/office/drawing/2014/main" id="{8F8DEC0E-13FF-40C4-A188-6B9AC084A96B}"/>
                </a:ext>
              </a:extLst>
            </p:cNvPr>
            <p:cNvSpPr/>
            <p:nvPr/>
          </p:nvSpPr>
          <p:spPr>
            <a:xfrm>
              <a:off x="6073369" y="3288092"/>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8" y="45349"/>
                    <a:pt x="22675" y="45349"/>
                  </a:cubicBezTo>
                  <a:cubicBezTo>
                    <a:pt x="10152" y="45349"/>
                    <a:pt x="0" y="35197"/>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7" name="Freeform: Shape 326">
              <a:extLst>
                <a:ext uri="{FF2B5EF4-FFF2-40B4-BE49-F238E27FC236}">
                  <a16:creationId xmlns:a16="http://schemas.microsoft.com/office/drawing/2014/main" id="{D8252F4C-7902-4ED6-88ED-A5C9C23D8E80}"/>
                </a:ext>
              </a:extLst>
            </p:cNvPr>
            <p:cNvSpPr/>
            <p:nvPr/>
          </p:nvSpPr>
          <p:spPr>
            <a:xfrm>
              <a:off x="6786979" y="3288092"/>
              <a:ext cx="45349" cy="45349"/>
            </a:xfrm>
            <a:custGeom>
              <a:avLst/>
              <a:gdLst>
                <a:gd name="connsiteX0" fmla="*/ 45349 w 45349"/>
                <a:gd name="connsiteY0" fmla="*/ 22675 h 45349"/>
                <a:gd name="connsiteX1" fmla="*/ 22674 w 45349"/>
                <a:gd name="connsiteY1" fmla="*/ 45349 h 45349"/>
                <a:gd name="connsiteX2" fmla="*/ 0 w 45349"/>
                <a:gd name="connsiteY2" fmla="*/ 22675 h 45349"/>
                <a:gd name="connsiteX3" fmla="*/ 22674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7" y="45349"/>
                    <a:pt x="22674" y="45349"/>
                  </a:cubicBezTo>
                  <a:cubicBezTo>
                    <a:pt x="10151" y="45349"/>
                    <a:pt x="0" y="35197"/>
                    <a:pt x="0" y="22675"/>
                  </a:cubicBezTo>
                  <a:cubicBezTo>
                    <a:pt x="0" y="10152"/>
                    <a:pt x="10151" y="0"/>
                    <a:pt x="22674" y="0"/>
                  </a:cubicBezTo>
                  <a:cubicBezTo>
                    <a:pt x="35197"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8" name="Freeform: Shape 327">
              <a:extLst>
                <a:ext uri="{FF2B5EF4-FFF2-40B4-BE49-F238E27FC236}">
                  <a16:creationId xmlns:a16="http://schemas.microsoft.com/office/drawing/2014/main" id="{AC1AD681-2C5B-46F4-9354-F5F983FC8A42}"/>
                </a:ext>
              </a:extLst>
            </p:cNvPr>
            <p:cNvSpPr/>
            <p:nvPr/>
          </p:nvSpPr>
          <p:spPr>
            <a:xfrm>
              <a:off x="6073369" y="3627927"/>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8" y="45349"/>
                    <a:pt x="22675" y="45349"/>
                  </a:cubicBezTo>
                  <a:cubicBezTo>
                    <a:pt x="10152" y="45349"/>
                    <a:pt x="0" y="35197"/>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9" name="Freeform: Shape 328">
              <a:extLst>
                <a:ext uri="{FF2B5EF4-FFF2-40B4-BE49-F238E27FC236}">
                  <a16:creationId xmlns:a16="http://schemas.microsoft.com/office/drawing/2014/main" id="{BB1165D7-B02E-4809-A6C2-389FE4DDE23F}"/>
                </a:ext>
              </a:extLst>
            </p:cNvPr>
            <p:cNvSpPr/>
            <p:nvPr/>
          </p:nvSpPr>
          <p:spPr>
            <a:xfrm>
              <a:off x="6430792" y="3627927"/>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8" y="45349"/>
                    <a:pt x="22675" y="45349"/>
                  </a:cubicBezTo>
                  <a:cubicBezTo>
                    <a:pt x="10152" y="45349"/>
                    <a:pt x="0" y="35197"/>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0" name="Freeform: Shape 329">
              <a:extLst>
                <a:ext uri="{FF2B5EF4-FFF2-40B4-BE49-F238E27FC236}">
                  <a16:creationId xmlns:a16="http://schemas.microsoft.com/office/drawing/2014/main" id="{672F3B3C-F756-42DA-91A8-6C8A5A60C928}"/>
                </a:ext>
              </a:extLst>
            </p:cNvPr>
            <p:cNvSpPr/>
            <p:nvPr/>
          </p:nvSpPr>
          <p:spPr>
            <a:xfrm>
              <a:off x="6786979" y="3627927"/>
              <a:ext cx="45349" cy="45349"/>
            </a:xfrm>
            <a:custGeom>
              <a:avLst/>
              <a:gdLst>
                <a:gd name="connsiteX0" fmla="*/ 45349 w 45349"/>
                <a:gd name="connsiteY0" fmla="*/ 22675 h 45349"/>
                <a:gd name="connsiteX1" fmla="*/ 22674 w 45349"/>
                <a:gd name="connsiteY1" fmla="*/ 45349 h 45349"/>
                <a:gd name="connsiteX2" fmla="*/ 0 w 45349"/>
                <a:gd name="connsiteY2" fmla="*/ 22675 h 45349"/>
                <a:gd name="connsiteX3" fmla="*/ 22674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7"/>
                    <a:pt x="35197" y="45349"/>
                    <a:pt x="22674" y="45349"/>
                  </a:cubicBezTo>
                  <a:cubicBezTo>
                    <a:pt x="10151" y="45349"/>
                    <a:pt x="0" y="35197"/>
                    <a:pt x="0" y="22675"/>
                  </a:cubicBezTo>
                  <a:cubicBezTo>
                    <a:pt x="0" y="10152"/>
                    <a:pt x="10151" y="0"/>
                    <a:pt x="22674" y="0"/>
                  </a:cubicBezTo>
                  <a:cubicBezTo>
                    <a:pt x="35197"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1" name="Freeform: Shape 330">
              <a:extLst>
                <a:ext uri="{FF2B5EF4-FFF2-40B4-BE49-F238E27FC236}">
                  <a16:creationId xmlns:a16="http://schemas.microsoft.com/office/drawing/2014/main" id="{FF169447-E9EF-420A-A06D-F5654DB07C1B}"/>
                </a:ext>
              </a:extLst>
            </p:cNvPr>
            <p:cNvSpPr/>
            <p:nvPr/>
          </p:nvSpPr>
          <p:spPr>
            <a:xfrm>
              <a:off x="7140409" y="1918106"/>
              <a:ext cx="45349" cy="45349"/>
            </a:xfrm>
            <a:custGeom>
              <a:avLst/>
              <a:gdLst>
                <a:gd name="connsiteX0" fmla="*/ 45350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50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50" y="22675"/>
                  </a:moveTo>
                  <a:cubicBezTo>
                    <a:pt x="45350" y="35198"/>
                    <a:pt x="35198" y="45349"/>
                    <a:pt x="22675" y="45349"/>
                  </a:cubicBezTo>
                  <a:cubicBezTo>
                    <a:pt x="10152" y="45349"/>
                    <a:pt x="0" y="35198"/>
                    <a:pt x="0" y="22675"/>
                  </a:cubicBezTo>
                  <a:cubicBezTo>
                    <a:pt x="0" y="10152"/>
                    <a:pt x="10152" y="0"/>
                    <a:pt x="22675" y="0"/>
                  </a:cubicBezTo>
                  <a:cubicBezTo>
                    <a:pt x="35198" y="0"/>
                    <a:pt x="45350" y="10152"/>
                    <a:pt x="45350"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2" name="Freeform: Shape 331">
              <a:extLst>
                <a:ext uri="{FF2B5EF4-FFF2-40B4-BE49-F238E27FC236}">
                  <a16:creationId xmlns:a16="http://schemas.microsoft.com/office/drawing/2014/main" id="{7F0805D4-192F-464F-9B8F-57E4B85937F3}"/>
                </a:ext>
              </a:extLst>
            </p:cNvPr>
            <p:cNvSpPr/>
            <p:nvPr/>
          </p:nvSpPr>
          <p:spPr>
            <a:xfrm>
              <a:off x="7140409" y="1574231"/>
              <a:ext cx="45349" cy="45349"/>
            </a:xfrm>
            <a:custGeom>
              <a:avLst/>
              <a:gdLst>
                <a:gd name="connsiteX0" fmla="*/ 45350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50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50" y="22675"/>
                  </a:moveTo>
                  <a:cubicBezTo>
                    <a:pt x="45350" y="35198"/>
                    <a:pt x="35198" y="45349"/>
                    <a:pt x="22675" y="45349"/>
                  </a:cubicBezTo>
                  <a:cubicBezTo>
                    <a:pt x="10152" y="45349"/>
                    <a:pt x="0" y="35198"/>
                    <a:pt x="0" y="22675"/>
                  </a:cubicBezTo>
                  <a:cubicBezTo>
                    <a:pt x="0" y="10152"/>
                    <a:pt x="10152" y="0"/>
                    <a:pt x="22675" y="0"/>
                  </a:cubicBezTo>
                  <a:cubicBezTo>
                    <a:pt x="35198" y="0"/>
                    <a:pt x="45350" y="10152"/>
                    <a:pt x="45350"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3" name="Freeform: Shape 332">
              <a:extLst>
                <a:ext uri="{FF2B5EF4-FFF2-40B4-BE49-F238E27FC236}">
                  <a16:creationId xmlns:a16="http://schemas.microsoft.com/office/drawing/2014/main" id="{1A81AF74-59FB-46E9-A050-A5B2E5244099}"/>
                </a:ext>
              </a:extLst>
            </p:cNvPr>
            <p:cNvSpPr/>
            <p:nvPr/>
          </p:nvSpPr>
          <p:spPr>
            <a:xfrm>
              <a:off x="6431647" y="1574231"/>
              <a:ext cx="45349" cy="45349"/>
            </a:xfrm>
            <a:custGeom>
              <a:avLst/>
              <a:gdLst>
                <a:gd name="connsiteX0" fmla="*/ 45349 w 45349"/>
                <a:gd name="connsiteY0" fmla="*/ 22675 h 45349"/>
                <a:gd name="connsiteX1" fmla="*/ 22674 w 45349"/>
                <a:gd name="connsiteY1" fmla="*/ 45349 h 45349"/>
                <a:gd name="connsiteX2" fmla="*/ 0 w 45349"/>
                <a:gd name="connsiteY2" fmla="*/ 22675 h 45349"/>
                <a:gd name="connsiteX3" fmla="*/ 22674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8"/>
                    <a:pt x="35197" y="45349"/>
                    <a:pt x="22674" y="45349"/>
                  </a:cubicBezTo>
                  <a:cubicBezTo>
                    <a:pt x="10151" y="45349"/>
                    <a:pt x="0" y="35198"/>
                    <a:pt x="0" y="22675"/>
                  </a:cubicBezTo>
                  <a:cubicBezTo>
                    <a:pt x="0" y="10152"/>
                    <a:pt x="10151" y="0"/>
                    <a:pt x="22674" y="0"/>
                  </a:cubicBezTo>
                  <a:cubicBezTo>
                    <a:pt x="35197"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4" name="Freeform: Shape 333">
              <a:extLst>
                <a:ext uri="{FF2B5EF4-FFF2-40B4-BE49-F238E27FC236}">
                  <a16:creationId xmlns:a16="http://schemas.microsoft.com/office/drawing/2014/main" id="{DC5241F8-0140-451A-9425-FF68C24DDB8E}"/>
                </a:ext>
              </a:extLst>
            </p:cNvPr>
            <p:cNvSpPr/>
            <p:nvPr/>
          </p:nvSpPr>
          <p:spPr>
            <a:xfrm>
              <a:off x="5718418" y="888477"/>
              <a:ext cx="45349" cy="45349"/>
            </a:xfrm>
            <a:custGeom>
              <a:avLst/>
              <a:gdLst>
                <a:gd name="connsiteX0" fmla="*/ 45349 w 45349"/>
                <a:gd name="connsiteY0" fmla="*/ 22675 h 45349"/>
                <a:gd name="connsiteX1" fmla="*/ 22674 w 45349"/>
                <a:gd name="connsiteY1" fmla="*/ 45349 h 45349"/>
                <a:gd name="connsiteX2" fmla="*/ 0 w 45349"/>
                <a:gd name="connsiteY2" fmla="*/ 22675 h 45349"/>
                <a:gd name="connsiteX3" fmla="*/ 22674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8"/>
                    <a:pt x="35197" y="45349"/>
                    <a:pt x="22674" y="45349"/>
                  </a:cubicBezTo>
                  <a:cubicBezTo>
                    <a:pt x="10152" y="45349"/>
                    <a:pt x="0" y="35197"/>
                    <a:pt x="0" y="22675"/>
                  </a:cubicBezTo>
                  <a:cubicBezTo>
                    <a:pt x="0" y="10152"/>
                    <a:pt x="10152" y="0"/>
                    <a:pt x="22674" y="0"/>
                  </a:cubicBezTo>
                  <a:cubicBezTo>
                    <a:pt x="35197"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5" name="Freeform: Shape 334">
              <a:extLst>
                <a:ext uri="{FF2B5EF4-FFF2-40B4-BE49-F238E27FC236}">
                  <a16:creationId xmlns:a16="http://schemas.microsoft.com/office/drawing/2014/main" id="{7ECCD7CB-EC9B-498E-88C9-C9F570AFD322}"/>
                </a:ext>
              </a:extLst>
            </p:cNvPr>
            <p:cNvSpPr/>
            <p:nvPr/>
          </p:nvSpPr>
          <p:spPr>
            <a:xfrm>
              <a:off x="6076459" y="888477"/>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8"/>
                    <a:pt x="35197" y="45349"/>
                    <a:pt x="22675" y="45349"/>
                  </a:cubicBezTo>
                  <a:cubicBezTo>
                    <a:pt x="10152" y="45349"/>
                    <a:pt x="0" y="35197"/>
                    <a:pt x="0" y="22675"/>
                  </a:cubicBezTo>
                  <a:cubicBezTo>
                    <a:pt x="0" y="10152"/>
                    <a:pt x="10152" y="0"/>
                    <a:pt x="22675" y="0"/>
                  </a:cubicBezTo>
                  <a:cubicBezTo>
                    <a:pt x="35197"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6" name="Freeform: Shape 335">
              <a:extLst>
                <a:ext uri="{FF2B5EF4-FFF2-40B4-BE49-F238E27FC236}">
                  <a16:creationId xmlns:a16="http://schemas.microsoft.com/office/drawing/2014/main" id="{3BC3235E-CF00-48DA-8535-909F592A7E00}"/>
                </a:ext>
              </a:extLst>
            </p:cNvPr>
            <p:cNvSpPr/>
            <p:nvPr/>
          </p:nvSpPr>
          <p:spPr>
            <a:xfrm>
              <a:off x="6427179" y="546646"/>
              <a:ext cx="45349" cy="45349"/>
            </a:xfrm>
            <a:custGeom>
              <a:avLst/>
              <a:gdLst>
                <a:gd name="connsiteX0" fmla="*/ 45349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49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49" y="22675"/>
                  </a:moveTo>
                  <a:cubicBezTo>
                    <a:pt x="45349" y="35198"/>
                    <a:pt x="35198" y="45349"/>
                    <a:pt x="22675" y="45349"/>
                  </a:cubicBezTo>
                  <a:cubicBezTo>
                    <a:pt x="10152" y="45349"/>
                    <a:pt x="0" y="35198"/>
                    <a:pt x="0" y="22675"/>
                  </a:cubicBezTo>
                  <a:cubicBezTo>
                    <a:pt x="0" y="10152"/>
                    <a:pt x="10152" y="0"/>
                    <a:pt x="22675" y="0"/>
                  </a:cubicBezTo>
                  <a:cubicBezTo>
                    <a:pt x="35198" y="0"/>
                    <a:pt x="45349" y="10152"/>
                    <a:pt x="45349"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7" name="Freeform: Shape 336">
              <a:extLst>
                <a:ext uri="{FF2B5EF4-FFF2-40B4-BE49-F238E27FC236}">
                  <a16:creationId xmlns:a16="http://schemas.microsoft.com/office/drawing/2014/main" id="{24FFAD8F-ABD9-487B-96FE-F4FBCF139F5C}"/>
                </a:ext>
              </a:extLst>
            </p:cNvPr>
            <p:cNvSpPr/>
            <p:nvPr/>
          </p:nvSpPr>
          <p:spPr>
            <a:xfrm>
              <a:off x="7500494" y="2257560"/>
              <a:ext cx="45349" cy="45349"/>
            </a:xfrm>
            <a:custGeom>
              <a:avLst/>
              <a:gdLst>
                <a:gd name="connsiteX0" fmla="*/ 45350 w 45349"/>
                <a:gd name="connsiteY0" fmla="*/ 22675 h 45349"/>
                <a:gd name="connsiteX1" fmla="*/ 22675 w 45349"/>
                <a:gd name="connsiteY1" fmla="*/ 45349 h 45349"/>
                <a:gd name="connsiteX2" fmla="*/ 0 w 45349"/>
                <a:gd name="connsiteY2" fmla="*/ 22675 h 45349"/>
                <a:gd name="connsiteX3" fmla="*/ 22675 w 45349"/>
                <a:gd name="connsiteY3" fmla="*/ 0 h 45349"/>
                <a:gd name="connsiteX4" fmla="*/ 45350 w 45349"/>
                <a:gd name="connsiteY4" fmla="*/ 22675 h 4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49" h="45349">
                  <a:moveTo>
                    <a:pt x="45350" y="22675"/>
                  </a:moveTo>
                  <a:cubicBezTo>
                    <a:pt x="45350" y="35198"/>
                    <a:pt x="35198" y="45349"/>
                    <a:pt x="22675" y="45349"/>
                  </a:cubicBezTo>
                  <a:cubicBezTo>
                    <a:pt x="10152" y="45349"/>
                    <a:pt x="0" y="35198"/>
                    <a:pt x="0" y="22675"/>
                  </a:cubicBezTo>
                  <a:cubicBezTo>
                    <a:pt x="0" y="10152"/>
                    <a:pt x="10152" y="0"/>
                    <a:pt x="22675" y="0"/>
                  </a:cubicBezTo>
                  <a:cubicBezTo>
                    <a:pt x="35198" y="0"/>
                    <a:pt x="45350" y="10152"/>
                    <a:pt x="45350" y="2267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317" name="Freeform: Shape 316">
            <a:extLst>
              <a:ext uri="{FF2B5EF4-FFF2-40B4-BE49-F238E27FC236}">
                <a16:creationId xmlns:a16="http://schemas.microsoft.com/office/drawing/2014/main" id="{040C0DAA-B94A-45C0-A069-BDC4E4C391FA}"/>
              </a:ext>
            </a:extLst>
          </p:cNvPr>
          <p:cNvSpPr/>
          <p:nvPr/>
        </p:nvSpPr>
        <p:spPr>
          <a:xfrm>
            <a:off x="2214968" y="1388282"/>
            <a:ext cx="52083" cy="52083"/>
          </a:xfrm>
          <a:custGeom>
            <a:avLst/>
            <a:gdLst>
              <a:gd name="connsiteX0" fmla="*/ 83853 w 83853"/>
              <a:gd name="connsiteY0" fmla="*/ 41927 h 83853"/>
              <a:gd name="connsiteX1" fmla="*/ 41927 w 83853"/>
              <a:gd name="connsiteY1" fmla="*/ 83853 h 83853"/>
              <a:gd name="connsiteX2" fmla="*/ 0 w 83853"/>
              <a:gd name="connsiteY2" fmla="*/ 41927 h 83853"/>
              <a:gd name="connsiteX3" fmla="*/ 41927 w 83853"/>
              <a:gd name="connsiteY3" fmla="*/ 0 h 83853"/>
              <a:gd name="connsiteX4" fmla="*/ 83853 w 83853"/>
              <a:gd name="connsiteY4" fmla="*/ 41927 h 83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53" h="83853">
                <a:moveTo>
                  <a:pt x="83853" y="41927"/>
                </a:moveTo>
                <a:cubicBezTo>
                  <a:pt x="83853" y="65082"/>
                  <a:pt x="65082" y="83853"/>
                  <a:pt x="41927" y="83853"/>
                </a:cubicBezTo>
                <a:cubicBezTo>
                  <a:pt x="18771" y="83853"/>
                  <a:pt x="0" y="65082"/>
                  <a:pt x="0" y="41927"/>
                </a:cubicBezTo>
                <a:cubicBezTo>
                  <a:pt x="0" y="18771"/>
                  <a:pt x="18771" y="0"/>
                  <a:pt x="41927" y="0"/>
                </a:cubicBezTo>
                <a:cubicBezTo>
                  <a:pt x="65082" y="0"/>
                  <a:pt x="83853" y="18771"/>
                  <a:pt x="83853" y="41927"/>
                </a:cubicBezTo>
                <a:close/>
              </a:path>
            </a:pathLst>
          </a:custGeom>
          <a:solidFill>
            <a:schemeClr val="bg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pic>
        <p:nvPicPr>
          <p:cNvPr id="318" name="Picture 317" descr="A picture containing black, dark, white, sitting&#10;&#10;Description automatically generated">
            <a:extLst>
              <a:ext uri="{FF2B5EF4-FFF2-40B4-BE49-F238E27FC236}">
                <a16:creationId xmlns:a16="http://schemas.microsoft.com/office/drawing/2014/main" id="{D20E0456-A9EE-4DEA-8C2E-1EDB35014F66}"/>
              </a:ext>
            </a:extLst>
          </p:cNvPr>
          <p:cNvPicPr>
            <a:picLocks noChangeAspect="1"/>
          </p:cNvPicPr>
          <p:nvPr/>
        </p:nvPicPr>
        <p:blipFill>
          <a:blip r:embed="rId4" cstate="screen">
            <a:duotone>
              <a:prstClr val="black"/>
              <a:schemeClr val="accent3">
                <a:tint val="45000"/>
                <a:satMod val="400000"/>
              </a:schemeClr>
            </a:duotone>
            <a:extLst>
              <a:ext uri="{BEBA8EAE-BF5A-486C-A8C5-ECC9F3942E4B}">
                <a14:imgProps xmlns:a14="http://schemas.microsoft.com/office/drawing/2010/main">
                  <a14:imgLayer r:embed="rId5">
                    <a14:imgEffect>
                      <a14:brightnessContrast bright="-24000"/>
                    </a14:imgEffect>
                  </a14:imgLayer>
                </a14:imgProps>
              </a:ext>
              <a:ext uri="{28A0092B-C50C-407E-A947-70E740481C1C}">
                <a14:useLocalDpi xmlns:a14="http://schemas.microsoft.com/office/drawing/2010/main"/>
              </a:ext>
            </a:extLst>
          </a:blip>
          <a:srcRect/>
          <a:stretch>
            <a:fillRect/>
          </a:stretch>
        </p:blipFill>
        <p:spPr>
          <a:xfrm>
            <a:off x="3068736" y="1568332"/>
            <a:ext cx="755886" cy="723040"/>
          </a:xfrm>
          <a:custGeom>
            <a:avLst/>
            <a:gdLst>
              <a:gd name="connsiteX0" fmla="*/ 37900 w 1216952"/>
              <a:gd name="connsiteY0" fmla="*/ 0 h 1164072"/>
              <a:gd name="connsiteX1" fmla="*/ 1129373 w 1216952"/>
              <a:gd name="connsiteY1" fmla="*/ 0 h 1164072"/>
              <a:gd name="connsiteX2" fmla="*/ 1193690 w 1216952"/>
              <a:gd name="connsiteY2" fmla="*/ 49913 h 1164072"/>
              <a:gd name="connsiteX3" fmla="*/ 1216952 w 1216952"/>
              <a:gd name="connsiteY3" fmla="*/ 140881 h 1164072"/>
              <a:gd name="connsiteX4" fmla="*/ 1216952 w 1216952"/>
              <a:gd name="connsiteY4" fmla="*/ 1164072 h 1164072"/>
              <a:gd name="connsiteX5" fmla="*/ 308082 w 1216952"/>
              <a:gd name="connsiteY5" fmla="*/ 1164072 h 1164072"/>
              <a:gd name="connsiteX6" fmla="*/ 296080 w 1216952"/>
              <a:gd name="connsiteY6" fmla="*/ 1159961 h 1164072"/>
              <a:gd name="connsiteX7" fmla="*/ 279097 w 1216952"/>
              <a:gd name="connsiteY7" fmla="*/ 1134018 h 1164072"/>
              <a:gd name="connsiteX8" fmla="*/ 1202 w 1216952"/>
              <a:gd name="connsiteY8" fmla="*/ 47298 h 1164072"/>
              <a:gd name="connsiteX9" fmla="*/ 37900 w 1216952"/>
              <a:gd name="connsiteY9" fmla="*/ 0 h 1164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6952" h="1164072">
                <a:moveTo>
                  <a:pt x="37900" y="0"/>
                </a:moveTo>
                <a:lnTo>
                  <a:pt x="1129373" y="0"/>
                </a:lnTo>
                <a:cubicBezTo>
                  <a:pt x="1159701" y="0"/>
                  <a:pt x="1186179" y="20536"/>
                  <a:pt x="1193690" y="49913"/>
                </a:cubicBezTo>
                <a:lnTo>
                  <a:pt x="1216952" y="140881"/>
                </a:lnTo>
                <a:lnTo>
                  <a:pt x="1216952" y="1164072"/>
                </a:lnTo>
                <a:lnTo>
                  <a:pt x="308082" y="1164072"/>
                </a:lnTo>
                <a:lnTo>
                  <a:pt x="296080" y="1159961"/>
                </a:lnTo>
                <a:cubicBezTo>
                  <a:pt x="287904" y="1153615"/>
                  <a:pt x="281783" y="1144619"/>
                  <a:pt x="279097" y="1134018"/>
                </a:cubicBezTo>
                <a:lnTo>
                  <a:pt x="1202" y="47298"/>
                </a:lnTo>
                <a:cubicBezTo>
                  <a:pt x="-4930" y="23340"/>
                  <a:pt x="13181" y="0"/>
                  <a:pt x="37900" y="0"/>
                </a:cubicBezTo>
                <a:close/>
              </a:path>
            </a:pathLst>
          </a:custGeom>
        </p:spPr>
      </p:pic>
      <p:pic>
        <p:nvPicPr>
          <p:cNvPr id="319" name="Picture 318" descr="A picture containing black, dark, white, sitting&#10;&#10;Description automatically generated">
            <a:extLst>
              <a:ext uri="{FF2B5EF4-FFF2-40B4-BE49-F238E27FC236}">
                <a16:creationId xmlns:a16="http://schemas.microsoft.com/office/drawing/2014/main" id="{7334AF6D-C57D-4F70-BF0D-A268A1A7E965}"/>
              </a:ext>
            </a:extLst>
          </p:cNvPr>
          <p:cNvPicPr>
            <a:picLocks noChangeAspect="1"/>
          </p:cNvPicPr>
          <p:nvPr/>
        </p:nvPicPr>
        <p:blipFill>
          <a:blip r:embed="rId6" cstate="screen">
            <a:duotone>
              <a:schemeClr val="accent2">
                <a:shade val="45000"/>
                <a:satMod val="135000"/>
              </a:schemeClr>
              <a:prstClr val="white"/>
            </a:duotone>
            <a:extLst>
              <a:ext uri="{BEBA8EAE-BF5A-486C-A8C5-ECC9F3942E4B}">
                <a14:imgProps xmlns:a14="http://schemas.microsoft.com/office/drawing/2010/main">
                  <a14:imgLayer r:embed="rId7">
                    <a14:imgEffect>
                      <a14:brightnessContrast bright="-26000"/>
                    </a14:imgEffect>
                  </a14:imgLayer>
                </a14:imgProps>
              </a:ext>
              <a:ext uri="{28A0092B-C50C-407E-A947-70E740481C1C}">
                <a14:useLocalDpi xmlns:a14="http://schemas.microsoft.com/office/drawing/2010/main"/>
              </a:ext>
            </a:extLst>
          </a:blip>
          <a:srcRect/>
          <a:stretch>
            <a:fillRect/>
          </a:stretch>
        </p:blipFill>
        <p:spPr>
          <a:xfrm>
            <a:off x="1804712" y="1483762"/>
            <a:ext cx="845629" cy="630968"/>
          </a:xfrm>
          <a:custGeom>
            <a:avLst/>
            <a:gdLst>
              <a:gd name="connsiteX0" fmla="*/ 89162 w 1325589"/>
              <a:gd name="connsiteY0" fmla="*/ 0 h 989091"/>
              <a:gd name="connsiteX1" fmla="*/ 1236427 w 1325589"/>
              <a:gd name="connsiteY1" fmla="*/ 0 h 989091"/>
              <a:gd name="connsiteX2" fmla="*/ 1273503 w 1325589"/>
              <a:gd name="connsiteY2" fmla="*/ 68308 h 989091"/>
              <a:gd name="connsiteX3" fmla="*/ 1325589 w 1325589"/>
              <a:gd name="connsiteY3" fmla="*/ 326297 h 989091"/>
              <a:gd name="connsiteX4" fmla="*/ 662794 w 1325589"/>
              <a:gd name="connsiteY4" fmla="*/ 989091 h 989091"/>
              <a:gd name="connsiteX5" fmla="*/ 0 w 1325589"/>
              <a:gd name="connsiteY5" fmla="*/ 326297 h 989091"/>
              <a:gd name="connsiteX6" fmla="*/ 52086 w 1325589"/>
              <a:gd name="connsiteY6" fmla="*/ 68308 h 98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5589" h="989091">
                <a:moveTo>
                  <a:pt x="89162" y="0"/>
                </a:moveTo>
                <a:lnTo>
                  <a:pt x="1236427" y="0"/>
                </a:lnTo>
                <a:lnTo>
                  <a:pt x="1273503" y="68308"/>
                </a:lnTo>
                <a:cubicBezTo>
                  <a:pt x="1307043" y="147603"/>
                  <a:pt x="1325589" y="234784"/>
                  <a:pt x="1325589" y="326297"/>
                </a:cubicBezTo>
                <a:cubicBezTo>
                  <a:pt x="1325589" y="692348"/>
                  <a:pt x="1028845" y="989091"/>
                  <a:pt x="662794" y="989091"/>
                </a:cubicBezTo>
                <a:cubicBezTo>
                  <a:pt x="296743" y="989091"/>
                  <a:pt x="0" y="692348"/>
                  <a:pt x="0" y="326297"/>
                </a:cubicBezTo>
                <a:cubicBezTo>
                  <a:pt x="0" y="234784"/>
                  <a:pt x="18547" y="147603"/>
                  <a:pt x="52086" y="68308"/>
                </a:cubicBezTo>
                <a:close/>
              </a:path>
            </a:pathLst>
          </a:custGeom>
        </p:spPr>
      </p:pic>
      <p:grpSp>
        <p:nvGrpSpPr>
          <p:cNvPr id="320" name="Group 319">
            <a:extLst>
              <a:ext uri="{FF2B5EF4-FFF2-40B4-BE49-F238E27FC236}">
                <a16:creationId xmlns:a16="http://schemas.microsoft.com/office/drawing/2014/main" id="{7E413D4F-443F-46E7-891D-F8E1ED440BFE}"/>
              </a:ext>
            </a:extLst>
          </p:cNvPr>
          <p:cNvGrpSpPr/>
          <p:nvPr/>
        </p:nvGrpSpPr>
        <p:grpSpPr>
          <a:xfrm>
            <a:off x="1723425" y="1816822"/>
            <a:ext cx="301897" cy="201456"/>
            <a:chOff x="3356079" y="2588791"/>
            <a:chExt cx="486045" cy="324337"/>
          </a:xfrm>
          <a:solidFill>
            <a:schemeClr val="tx2"/>
          </a:solidFill>
        </p:grpSpPr>
        <p:sp>
          <p:nvSpPr>
            <p:cNvPr id="322" name="Freeform: Shape 321">
              <a:extLst>
                <a:ext uri="{FF2B5EF4-FFF2-40B4-BE49-F238E27FC236}">
                  <a16:creationId xmlns:a16="http://schemas.microsoft.com/office/drawing/2014/main" id="{D0F5BFB7-407E-4F0E-9806-57775B4ADCC6}"/>
                </a:ext>
              </a:extLst>
            </p:cNvPr>
            <p:cNvSpPr/>
            <p:nvPr/>
          </p:nvSpPr>
          <p:spPr>
            <a:xfrm>
              <a:off x="3356079" y="2611761"/>
              <a:ext cx="463122" cy="301367"/>
            </a:xfrm>
            <a:custGeom>
              <a:avLst/>
              <a:gdLst>
                <a:gd name="connsiteX0" fmla="*/ 19004 w 463122"/>
                <a:gd name="connsiteY0" fmla="*/ 301368 h 301367"/>
                <a:gd name="connsiteX1" fmla="*/ 2842 w 463122"/>
                <a:gd name="connsiteY1" fmla="*/ 292384 h 301367"/>
                <a:gd name="connsiteX2" fmla="*/ 8974 w 463122"/>
                <a:gd name="connsiteY2" fmla="*/ 266191 h 301367"/>
                <a:gd name="connsiteX3" fmla="*/ 434088 w 463122"/>
                <a:gd name="connsiteY3" fmla="*/ 2842 h 301367"/>
                <a:gd name="connsiteX4" fmla="*/ 460281 w 463122"/>
                <a:gd name="connsiteY4" fmla="*/ 8974 h 301367"/>
                <a:gd name="connsiteX5" fmla="*/ 454149 w 463122"/>
                <a:gd name="connsiteY5" fmla="*/ 35166 h 301367"/>
                <a:gd name="connsiteX6" fmla="*/ 29034 w 463122"/>
                <a:gd name="connsiteY6" fmla="*/ 298516 h 301367"/>
                <a:gd name="connsiteX7" fmla="*/ 19004 w 463122"/>
                <a:gd name="connsiteY7" fmla="*/ 301368 h 301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122" h="301367">
                  <a:moveTo>
                    <a:pt x="19004" y="301368"/>
                  </a:moveTo>
                  <a:cubicBezTo>
                    <a:pt x="12634" y="301368"/>
                    <a:pt x="6407" y="298183"/>
                    <a:pt x="2842" y="292384"/>
                  </a:cubicBezTo>
                  <a:cubicBezTo>
                    <a:pt x="-2672" y="283447"/>
                    <a:pt x="85" y="271753"/>
                    <a:pt x="8974" y="266191"/>
                  </a:cubicBezTo>
                  <a:lnTo>
                    <a:pt x="434088" y="2842"/>
                  </a:lnTo>
                  <a:cubicBezTo>
                    <a:pt x="443025" y="-2672"/>
                    <a:pt x="454719" y="85"/>
                    <a:pt x="460281" y="8974"/>
                  </a:cubicBezTo>
                  <a:cubicBezTo>
                    <a:pt x="465795" y="17911"/>
                    <a:pt x="463038" y="29605"/>
                    <a:pt x="454149" y="35166"/>
                  </a:cubicBezTo>
                  <a:lnTo>
                    <a:pt x="29034" y="298516"/>
                  </a:lnTo>
                  <a:cubicBezTo>
                    <a:pt x="25897" y="300417"/>
                    <a:pt x="22427" y="301368"/>
                    <a:pt x="19004" y="30136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3" name="Freeform: Shape 322">
              <a:extLst>
                <a:ext uri="{FF2B5EF4-FFF2-40B4-BE49-F238E27FC236}">
                  <a16:creationId xmlns:a16="http://schemas.microsoft.com/office/drawing/2014/main" id="{13030D6A-7B99-414B-8D53-D85A6B13C753}"/>
                </a:ext>
              </a:extLst>
            </p:cNvPr>
            <p:cNvSpPr/>
            <p:nvPr/>
          </p:nvSpPr>
          <p:spPr>
            <a:xfrm>
              <a:off x="3758271" y="2588791"/>
              <a:ext cx="83853" cy="83853"/>
            </a:xfrm>
            <a:custGeom>
              <a:avLst/>
              <a:gdLst>
                <a:gd name="connsiteX0" fmla="*/ 83854 w 83853"/>
                <a:gd name="connsiteY0" fmla="*/ 41927 h 83853"/>
                <a:gd name="connsiteX1" fmla="*/ 41927 w 83853"/>
                <a:gd name="connsiteY1" fmla="*/ 83854 h 83853"/>
                <a:gd name="connsiteX2" fmla="*/ 0 w 83853"/>
                <a:gd name="connsiteY2" fmla="*/ 41927 h 83853"/>
                <a:gd name="connsiteX3" fmla="*/ 41927 w 83853"/>
                <a:gd name="connsiteY3" fmla="*/ 0 h 83853"/>
                <a:gd name="connsiteX4" fmla="*/ 83854 w 83853"/>
                <a:gd name="connsiteY4" fmla="*/ 41927 h 83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53" h="83853">
                  <a:moveTo>
                    <a:pt x="83854" y="41927"/>
                  </a:moveTo>
                  <a:cubicBezTo>
                    <a:pt x="83854" y="65082"/>
                    <a:pt x="65082" y="83854"/>
                    <a:pt x="41927" y="83854"/>
                  </a:cubicBezTo>
                  <a:cubicBezTo>
                    <a:pt x="18771" y="83854"/>
                    <a:pt x="0" y="65082"/>
                    <a:pt x="0" y="41927"/>
                  </a:cubicBezTo>
                  <a:cubicBezTo>
                    <a:pt x="0" y="18771"/>
                    <a:pt x="18771" y="0"/>
                    <a:pt x="41927" y="0"/>
                  </a:cubicBezTo>
                  <a:cubicBezTo>
                    <a:pt x="65082" y="0"/>
                    <a:pt x="83854" y="18771"/>
                    <a:pt x="83854" y="41927"/>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321" name="Freeform: Shape 320">
            <a:extLst>
              <a:ext uri="{FF2B5EF4-FFF2-40B4-BE49-F238E27FC236}">
                <a16:creationId xmlns:a16="http://schemas.microsoft.com/office/drawing/2014/main" id="{5DB52AD8-5DF3-45D0-8789-16CF29A52716}"/>
              </a:ext>
            </a:extLst>
          </p:cNvPr>
          <p:cNvSpPr/>
          <p:nvPr/>
        </p:nvSpPr>
        <p:spPr>
          <a:xfrm>
            <a:off x="2214968" y="1741944"/>
            <a:ext cx="52083" cy="52083"/>
          </a:xfrm>
          <a:custGeom>
            <a:avLst/>
            <a:gdLst>
              <a:gd name="connsiteX0" fmla="*/ 83853 w 83853"/>
              <a:gd name="connsiteY0" fmla="*/ 41927 h 83853"/>
              <a:gd name="connsiteX1" fmla="*/ 41927 w 83853"/>
              <a:gd name="connsiteY1" fmla="*/ 83853 h 83853"/>
              <a:gd name="connsiteX2" fmla="*/ 0 w 83853"/>
              <a:gd name="connsiteY2" fmla="*/ 41927 h 83853"/>
              <a:gd name="connsiteX3" fmla="*/ 41927 w 83853"/>
              <a:gd name="connsiteY3" fmla="*/ 0 h 83853"/>
              <a:gd name="connsiteX4" fmla="*/ 83853 w 83853"/>
              <a:gd name="connsiteY4" fmla="*/ 41927 h 83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53" h="83853">
                <a:moveTo>
                  <a:pt x="83853" y="41927"/>
                </a:moveTo>
                <a:cubicBezTo>
                  <a:pt x="83853" y="65082"/>
                  <a:pt x="65082" y="83853"/>
                  <a:pt x="41927" y="83853"/>
                </a:cubicBezTo>
                <a:cubicBezTo>
                  <a:pt x="18771" y="83853"/>
                  <a:pt x="0" y="65082"/>
                  <a:pt x="0" y="41927"/>
                </a:cubicBezTo>
                <a:cubicBezTo>
                  <a:pt x="0" y="18771"/>
                  <a:pt x="18771" y="0"/>
                  <a:pt x="41927" y="0"/>
                </a:cubicBezTo>
                <a:cubicBezTo>
                  <a:pt x="65082" y="0"/>
                  <a:pt x="83853" y="18771"/>
                  <a:pt x="83853" y="41927"/>
                </a:cubicBezTo>
                <a:close/>
              </a:path>
            </a:pathLst>
          </a:custGeom>
          <a:solidFill>
            <a:schemeClr val="bg2"/>
          </a:solid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07" name="Group 106">
            <a:extLst>
              <a:ext uri="{FF2B5EF4-FFF2-40B4-BE49-F238E27FC236}">
                <a16:creationId xmlns:a16="http://schemas.microsoft.com/office/drawing/2014/main" id="{8BBF8199-BB90-407E-A9CD-9901C60742F8}"/>
              </a:ext>
            </a:extLst>
          </p:cNvPr>
          <p:cNvGrpSpPr/>
          <p:nvPr/>
        </p:nvGrpSpPr>
        <p:grpSpPr>
          <a:xfrm>
            <a:off x="4893597" y="709571"/>
            <a:ext cx="81775" cy="3663203"/>
            <a:chOff x="3690235" y="709571"/>
            <a:chExt cx="81775" cy="3663203"/>
          </a:xfrm>
        </p:grpSpPr>
        <p:cxnSp>
          <p:nvCxnSpPr>
            <p:cNvPr id="108" name="Straight Connector 107">
              <a:extLst>
                <a:ext uri="{FF2B5EF4-FFF2-40B4-BE49-F238E27FC236}">
                  <a16:creationId xmlns:a16="http://schemas.microsoft.com/office/drawing/2014/main" id="{C165BD13-D7AF-4725-B236-0F4BD606CA9C}"/>
                </a:ext>
              </a:extLst>
            </p:cNvPr>
            <p:cNvCxnSpPr>
              <a:cxnSpLocks/>
            </p:cNvCxnSpPr>
            <p:nvPr/>
          </p:nvCxnSpPr>
          <p:spPr>
            <a:xfrm>
              <a:off x="3690235" y="709571"/>
              <a:ext cx="0" cy="3192871"/>
            </a:xfrm>
            <a:prstGeom prst="line">
              <a:avLst/>
            </a:prstGeom>
            <a:ln>
              <a:solidFill>
                <a:schemeClr val="accent3"/>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C3A8EC1-0D9C-4BA6-88F5-526728481655}"/>
                </a:ext>
              </a:extLst>
            </p:cNvPr>
            <p:cNvCxnSpPr>
              <a:cxnSpLocks/>
            </p:cNvCxnSpPr>
            <p:nvPr/>
          </p:nvCxnSpPr>
          <p:spPr>
            <a:xfrm>
              <a:off x="3772010" y="1179903"/>
              <a:ext cx="0" cy="3192871"/>
            </a:xfrm>
            <a:prstGeom prst="line">
              <a:avLst/>
            </a:prstGeom>
            <a:ln>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34154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C459593-E913-477F-B6CE-8D91E966FA74}"/>
              </a:ext>
            </a:extLst>
          </p:cNvPr>
          <p:cNvGrpSpPr/>
          <p:nvPr/>
        </p:nvGrpSpPr>
        <p:grpSpPr>
          <a:xfrm>
            <a:off x="320048" y="1396925"/>
            <a:ext cx="3359137" cy="3009221"/>
            <a:chOff x="383082" y="1237910"/>
            <a:chExt cx="3013591" cy="2699672"/>
          </a:xfrm>
        </p:grpSpPr>
        <p:grpSp>
          <p:nvGrpSpPr>
            <p:cNvPr id="46" name="Graphic 1">
              <a:extLst>
                <a:ext uri="{FF2B5EF4-FFF2-40B4-BE49-F238E27FC236}">
                  <a16:creationId xmlns:a16="http://schemas.microsoft.com/office/drawing/2014/main" id="{63E538A5-9720-4627-BF0F-9B9807AC706E}"/>
                </a:ext>
              </a:extLst>
            </p:cNvPr>
            <p:cNvGrpSpPr/>
            <p:nvPr/>
          </p:nvGrpSpPr>
          <p:grpSpPr>
            <a:xfrm>
              <a:off x="494739" y="1237910"/>
              <a:ext cx="2092880" cy="2093357"/>
              <a:chOff x="3453884" y="801171"/>
              <a:chExt cx="2092880" cy="2093357"/>
            </a:xfrm>
            <a:solidFill>
              <a:schemeClr val="accent4"/>
            </a:solidFill>
          </p:grpSpPr>
          <p:sp>
            <p:nvSpPr>
              <p:cNvPr id="47" name="Freeform: Shape 46">
                <a:extLst>
                  <a:ext uri="{FF2B5EF4-FFF2-40B4-BE49-F238E27FC236}">
                    <a16:creationId xmlns:a16="http://schemas.microsoft.com/office/drawing/2014/main" id="{2C02CD19-6D9D-469E-A158-F51C5072744F}"/>
                  </a:ext>
                </a:extLst>
              </p:cNvPr>
              <p:cNvSpPr/>
              <p:nvPr/>
            </p:nvSpPr>
            <p:spPr>
              <a:xfrm>
                <a:off x="4134921" y="1482623"/>
                <a:ext cx="1350882" cy="1350944"/>
              </a:xfrm>
              <a:custGeom>
                <a:avLst/>
                <a:gdLst>
                  <a:gd name="connsiteX0" fmla="*/ 1324332 w 1350882"/>
                  <a:gd name="connsiteY0" fmla="*/ 4229 h 1350944"/>
                  <a:gd name="connsiteX1" fmla="*/ 4643 w 1350882"/>
                  <a:gd name="connsiteY1" fmla="*/ 1324394 h 1350944"/>
                  <a:gd name="connsiteX2" fmla="*/ 4643 w 1350882"/>
                  <a:gd name="connsiteY2" fmla="*/ 1346301 h 1350944"/>
                  <a:gd name="connsiteX3" fmla="*/ 26551 w 1350882"/>
                  <a:gd name="connsiteY3" fmla="*/ 1346301 h 1350944"/>
                  <a:gd name="connsiteX4" fmla="*/ 1346240 w 1350882"/>
                  <a:gd name="connsiteY4" fmla="*/ 26612 h 1350944"/>
                  <a:gd name="connsiteX5" fmla="*/ 1346240 w 1350882"/>
                  <a:gd name="connsiteY5" fmla="*/ 4705 h 1350944"/>
                  <a:gd name="connsiteX6" fmla="*/ 1324332 w 1350882"/>
                  <a:gd name="connsiteY6" fmla="*/ 4229 h 135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2" h="1350944">
                    <a:moveTo>
                      <a:pt x="1324332" y="4229"/>
                    </a:moveTo>
                    <a:lnTo>
                      <a:pt x="4643" y="1324394"/>
                    </a:lnTo>
                    <a:cubicBezTo>
                      <a:pt x="-1548" y="1330585"/>
                      <a:pt x="-1548" y="1340110"/>
                      <a:pt x="4643" y="1346301"/>
                    </a:cubicBezTo>
                    <a:cubicBezTo>
                      <a:pt x="10835" y="1352492"/>
                      <a:pt x="20360" y="1352492"/>
                      <a:pt x="26551" y="1346301"/>
                    </a:cubicBezTo>
                    <a:lnTo>
                      <a:pt x="1346240" y="26612"/>
                    </a:lnTo>
                    <a:cubicBezTo>
                      <a:pt x="1352431" y="20421"/>
                      <a:pt x="1352431" y="10896"/>
                      <a:pt x="1346240" y="4705"/>
                    </a:cubicBezTo>
                    <a:cubicBezTo>
                      <a:pt x="1340048" y="-1486"/>
                      <a:pt x="1330523" y="-1486"/>
                      <a:pt x="1324332" y="4229"/>
                    </a:cubicBezTo>
                    <a:close/>
                  </a:path>
                </a:pathLst>
              </a:custGeom>
              <a:grpFill/>
              <a:ln w="4763"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4C46E1F5-B8C4-469C-B731-29782D08DAD4}"/>
                  </a:ext>
                </a:extLst>
              </p:cNvPr>
              <p:cNvSpPr/>
              <p:nvPr/>
            </p:nvSpPr>
            <p:spPr>
              <a:xfrm>
                <a:off x="4037766" y="1385411"/>
                <a:ext cx="1407556" cy="1407199"/>
              </a:xfrm>
              <a:custGeom>
                <a:avLst/>
                <a:gdLst>
                  <a:gd name="connsiteX0" fmla="*/ 1381006 w 1407556"/>
                  <a:gd name="connsiteY0" fmla="*/ 4286 h 1407199"/>
                  <a:gd name="connsiteX1" fmla="*/ 4643 w 1407556"/>
                  <a:gd name="connsiteY1" fmla="*/ 1380649 h 1407199"/>
                  <a:gd name="connsiteX2" fmla="*/ 4643 w 1407556"/>
                  <a:gd name="connsiteY2" fmla="*/ 1402556 h 1407199"/>
                  <a:gd name="connsiteX3" fmla="*/ 26551 w 1407556"/>
                  <a:gd name="connsiteY3" fmla="*/ 1402556 h 1407199"/>
                  <a:gd name="connsiteX4" fmla="*/ 1402914 w 1407556"/>
                  <a:gd name="connsiteY4" fmla="*/ 26194 h 1407199"/>
                  <a:gd name="connsiteX5" fmla="*/ 1402914 w 1407556"/>
                  <a:gd name="connsiteY5" fmla="*/ 4286 h 1407199"/>
                  <a:gd name="connsiteX6" fmla="*/ 1381006 w 1407556"/>
                  <a:gd name="connsiteY6" fmla="*/ 4286 h 140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199">
                    <a:moveTo>
                      <a:pt x="1381006" y="4286"/>
                    </a:moveTo>
                    <a:lnTo>
                      <a:pt x="4643" y="1380649"/>
                    </a:lnTo>
                    <a:cubicBezTo>
                      <a:pt x="-1548" y="1386840"/>
                      <a:pt x="-1548" y="1396365"/>
                      <a:pt x="4643" y="1402556"/>
                    </a:cubicBezTo>
                    <a:cubicBezTo>
                      <a:pt x="10835" y="1408748"/>
                      <a:pt x="20360" y="1408748"/>
                      <a:pt x="26551" y="1402556"/>
                    </a:cubicBezTo>
                    <a:lnTo>
                      <a:pt x="1402914" y="26194"/>
                    </a:lnTo>
                    <a:cubicBezTo>
                      <a:pt x="1409105" y="20003"/>
                      <a:pt x="1409105" y="10478"/>
                      <a:pt x="1402914" y="4286"/>
                    </a:cubicBezTo>
                    <a:cubicBezTo>
                      <a:pt x="1396722" y="-1429"/>
                      <a:pt x="1386721" y="-1429"/>
                      <a:pt x="1381006" y="4286"/>
                    </a:cubicBezTo>
                    <a:close/>
                  </a:path>
                </a:pathLst>
              </a:custGeom>
              <a:grpFill/>
              <a:ln w="4763"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8759EEC1-A920-4AF0-8D2B-5B7993B6F458}"/>
                  </a:ext>
                </a:extLst>
              </p:cNvPr>
              <p:cNvSpPr/>
              <p:nvPr/>
            </p:nvSpPr>
            <p:spPr>
              <a:xfrm>
                <a:off x="3948707" y="1295995"/>
                <a:ext cx="1448038" cy="1448038"/>
              </a:xfrm>
              <a:custGeom>
                <a:avLst/>
                <a:gdLst>
                  <a:gd name="connsiteX0" fmla="*/ 1421487 w 1448038"/>
                  <a:gd name="connsiteY0" fmla="*/ 4644 h 1448038"/>
                  <a:gd name="connsiteX1" fmla="*/ 4643 w 1448038"/>
                  <a:gd name="connsiteY1" fmla="*/ 1421487 h 1448038"/>
                  <a:gd name="connsiteX2" fmla="*/ 4643 w 1448038"/>
                  <a:gd name="connsiteY2" fmla="*/ 1443395 h 1448038"/>
                  <a:gd name="connsiteX3" fmla="*/ 26551 w 1448038"/>
                  <a:gd name="connsiteY3" fmla="*/ 1443395 h 1448038"/>
                  <a:gd name="connsiteX4" fmla="*/ 1443395 w 1448038"/>
                  <a:gd name="connsiteY4" fmla="*/ 26551 h 1448038"/>
                  <a:gd name="connsiteX5" fmla="*/ 1443395 w 1448038"/>
                  <a:gd name="connsiteY5" fmla="*/ 4644 h 1448038"/>
                  <a:gd name="connsiteX6" fmla="*/ 1421487 w 1448038"/>
                  <a:gd name="connsiteY6" fmla="*/ 4644 h 1448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8" h="1448038">
                    <a:moveTo>
                      <a:pt x="1421487" y="4644"/>
                    </a:moveTo>
                    <a:lnTo>
                      <a:pt x="4643" y="1421487"/>
                    </a:lnTo>
                    <a:cubicBezTo>
                      <a:pt x="-1548" y="1427679"/>
                      <a:pt x="-1548" y="1437204"/>
                      <a:pt x="4643" y="1443395"/>
                    </a:cubicBezTo>
                    <a:cubicBezTo>
                      <a:pt x="10835" y="1449586"/>
                      <a:pt x="20360" y="1449586"/>
                      <a:pt x="26551" y="1443395"/>
                    </a:cubicBezTo>
                    <a:lnTo>
                      <a:pt x="1443395" y="26551"/>
                    </a:lnTo>
                    <a:cubicBezTo>
                      <a:pt x="1449586" y="20360"/>
                      <a:pt x="1449586" y="10835"/>
                      <a:pt x="1443395" y="4644"/>
                    </a:cubicBezTo>
                    <a:cubicBezTo>
                      <a:pt x="1437204" y="-1548"/>
                      <a:pt x="1427203" y="-1548"/>
                      <a:pt x="1421487" y="4644"/>
                    </a:cubicBezTo>
                    <a:close/>
                  </a:path>
                </a:pathLst>
              </a:custGeom>
              <a:grpFill/>
              <a:ln w="4763"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0CD5C715-3AC5-4853-B961-0FAB54B47F49}"/>
                  </a:ext>
                </a:extLst>
              </p:cNvPr>
              <p:cNvSpPr/>
              <p:nvPr/>
            </p:nvSpPr>
            <p:spPr>
              <a:xfrm>
                <a:off x="4240649" y="1588351"/>
                <a:ext cx="1277064" cy="1276649"/>
              </a:xfrm>
              <a:custGeom>
                <a:avLst/>
                <a:gdLst>
                  <a:gd name="connsiteX0" fmla="*/ 1250514 w 1277064"/>
                  <a:gd name="connsiteY0" fmla="*/ 4705 h 1276649"/>
                  <a:gd name="connsiteX1" fmla="*/ 4644 w 1277064"/>
                  <a:gd name="connsiteY1" fmla="*/ 1250099 h 1276649"/>
                  <a:gd name="connsiteX2" fmla="*/ 4644 w 1277064"/>
                  <a:gd name="connsiteY2" fmla="*/ 1272006 h 1276649"/>
                  <a:gd name="connsiteX3" fmla="*/ 26551 w 1277064"/>
                  <a:gd name="connsiteY3" fmla="*/ 1272006 h 1276649"/>
                  <a:gd name="connsiteX4" fmla="*/ 1272421 w 1277064"/>
                  <a:gd name="connsiteY4" fmla="*/ 26136 h 1276649"/>
                  <a:gd name="connsiteX5" fmla="*/ 1272421 w 1277064"/>
                  <a:gd name="connsiteY5" fmla="*/ 4228 h 1276649"/>
                  <a:gd name="connsiteX6" fmla="*/ 1250514 w 1277064"/>
                  <a:gd name="connsiteY6" fmla="*/ 4705 h 127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6649">
                    <a:moveTo>
                      <a:pt x="1250514" y="4705"/>
                    </a:moveTo>
                    <a:lnTo>
                      <a:pt x="4644" y="1250099"/>
                    </a:lnTo>
                    <a:cubicBezTo>
                      <a:pt x="-1548" y="1256290"/>
                      <a:pt x="-1548" y="1265815"/>
                      <a:pt x="4644" y="1272006"/>
                    </a:cubicBezTo>
                    <a:cubicBezTo>
                      <a:pt x="10835" y="1278197"/>
                      <a:pt x="20360" y="1278197"/>
                      <a:pt x="26551" y="1272006"/>
                    </a:cubicBezTo>
                    <a:lnTo>
                      <a:pt x="1272421" y="26136"/>
                    </a:lnTo>
                    <a:cubicBezTo>
                      <a:pt x="1278612" y="19945"/>
                      <a:pt x="1278612" y="10420"/>
                      <a:pt x="1272421" y="4228"/>
                    </a:cubicBezTo>
                    <a:cubicBezTo>
                      <a:pt x="1266230" y="-1486"/>
                      <a:pt x="1256705" y="-1486"/>
                      <a:pt x="1250514" y="4705"/>
                    </a:cubicBezTo>
                    <a:close/>
                  </a:path>
                </a:pathLst>
              </a:custGeom>
              <a:grpFill/>
              <a:ln w="4763"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E194E8B7-4B47-4313-A905-8BD792DD5BC3}"/>
                  </a:ext>
                </a:extLst>
              </p:cNvPr>
              <p:cNvSpPr/>
              <p:nvPr/>
            </p:nvSpPr>
            <p:spPr>
              <a:xfrm>
                <a:off x="5116949" y="2464593"/>
                <a:ext cx="213598" cy="213240"/>
              </a:xfrm>
              <a:custGeom>
                <a:avLst/>
                <a:gdLst>
                  <a:gd name="connsiteX0" fmla="*/ 187047 w 213598"/>
                  <a:gd name="connsiteY0" fmla="*/ 4286 h 213240"/>
                  <a:gd name="connsiteX1" fmla="*/ 4644 w 213598"/>
                  <a:gd name="connsiteY1" fmla="*/ 186690 h 213240"/>
                  <a:gd name="connsiteX2" fmla="*/ 4644 w 213598"/>
                  <a:gd name="connsiteY2" fmla="*/ 208597 h 213240"/>
                  <a:gd name="connsiteX3" fmla="*/ 26551 w 213598"/>
                  <a:gd name="connsiteY3" fmla="*/ 208597 h 213240"/>
                  <a:gd name="connsiteX4" fmla="*/ 208955 w 213598"/>
                  <a:gd name="connsiteY4" fmla="*/ 26194 h 213240"/>
                  <a:gd name="connsiteX5" fmla="*/ 208955 w 213598"/>
                  <a:gd name="connsiteY5" fmla="*/ 4286 h 213240"/>
                  <a:gd name="connsiteX6" fmla="*/ 187047 w 213598"/>
                  <a:gd name="connsiteY6" fmla="*/ 4286 h 21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240">
                    <a:moveTo>
                      <a:pt x="187047" y="4286"/>
                    </a:moveTo>
                    <a:lnTo>
                      <a:pt x="4644" y="186690"/>
                    </a:lnTo>
                    <a:cubicBezTo>
                      <a:pt x="-1548" y="192881"/>
                      <a:pt x="-1548" y="202406"/>
                      <a:pt x="4644" y="208597"/>
                    </a:cubicBezTo>
                    <a:cubicBezTo>
                      <a:pt x="10835" y="214789"/>
                      <a:pt x="20360" y="214789"/>
                      <a:pt x="26551" y="208597"/>
                    </a:cubicBezTo>
                    <a:lnTo>
                      <a:pt x="208955" y="26194"/>
                    </a:lnTo>
                    <a:cubicBezTo>
                      <a:pt x="215146" y="20002"/>
                      <a:pt x="215146" y="10477"/>
                      <a:pt x="208955" y="4286"/>
                    </a:cubicBezTo>
                    <a:cubicBezTo>
                      <a:pt x="202764" y="-1429"/>
                      <a:pt x="192762" y="-1429"/>
                      <a:pt x="187047" y="4286"/>
                    </a:cubicBezTo>
                    <a:close/>
                  </a:path>
                </a:pathLst>
              </a:custGeom>
              <a:grpFill/>
              <a:ln w="4763"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4138F496-6F92-4B02-9EEC-66E0C6D81CC7}"/>
                  </a:ext>
                </a:extLst>
              </p:cNvPr>
              <p:cNvSpPr/>
              <p:nvPr/>
            </p:nvSpPr>
            <p:spPr>
              <a:xfrm>
                <a:off x="4817387" y="2165508"/>
                <a:ext cx="674131" cy="673774"/>
              </a:xfrm>
              <a:custGeom>
                <a:avLst/>
                <a:gdLst>
                  <a:gd name="connsiteX0" fmla="*/ 647581 w 674131"/>
                  <a:gd name="connsiteY0" fmla="*/ 4286 h 673774"/>
                  <a:gd name="connsiteX1" fmla="*/ 4643 w 674131"/>
                  <a:gd name="connsiteY1" fmla="*/ 647224 h 673774"/>
                  <a:gd name="connsiteX2" fmla="*/ 4643 w 674131"/>
                  <a:gd name="connsiteY2" fmla="*/ 669131 h 673774"/>
                  <a:gd name="connsiteX3" fmla="*/ 26551 w 674131"/>
                  <a:gd name="connsiteY3" fmla="*/ 669131 h 673774"/>
                  <a:gd name="connsiteX4" fmla="*/ 669488 w 674131"/>
                  <a:gd name="connsiteY4" fmla="*/ 26194 h 673774"/>
                  <a:gd name="connsiteX5" fmla="*/ 669488 w 674131"/>
                  <a:gd name="connsiteY5" fmla="*/ 4286 h 673774"/>
                  <a:gd name="connsiteX6" fmla="*/ 647581 w 674131"/>
                  <a:gd name="connsiteY6" fmla="*/ 4286 h 67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774">
                    <a:moveTo>
                      <a:pt x="647581" y="4286"/>
                    </a:moveTo>
                    <a:lnTo>
                      <a:pt x="4643" y="647224"/>
                    </a:lnTo>
                    <a:cubicBezTo>
                      <a:pt x="-1548" y="653415"/>
                      <a:pt x="-1548" y="662940"/>
                      <a:pt x="4643" y="669131"/>
                    </a:cubicBezTo>
                    <a:cubicBezTo>
                      <a:pt x="10835" y="675323"/>
                      <a:pt x="20360" y="675323"/>
                      <a:pt x="26551" y="669131"/>
                    </a:cubicBezTo>
                    <a:lnTo>
                      <a:pt x="669488" y="26194"/>
                    </a:lnTo>
                    <a:cubicBezTo>
                      <a:pt x="675680" y="20002"/>
                      <a:pt x="675680" y="10477"/>
                      <a:pt x="669488" y="4286"/>
                    </a:cubicBezTo>
                    <a:cubicBezTo>
                      <a:pt x="663774" y="-1429"/>
                      <a:pt x="653772" y="-1429"/>
                      <a:pt x="647581" y="4286"/>
                    </a:cubicBezTo>
                    <a:close/>
                  </a:path>
                </a:pathLst>
              </a:custGeom>
              <a:grpFill/>
              <a:ln w="4763"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CB970BCC-4425-4A5B-A9D7-4BA7D0BDFACF}"/>
                  </a:ext>
                </a:extLst>
              </p:cNvPr>
              <p:cNvSpPr/>
              <p:nvPr/>
            </p:nvSpPr>
            <p:spPr>
              <a:xfrm>
                <a:off x="4357330" y="1704975"/>
                <a:ext cx="1181338" cy="1181457"/>
              </a:xfrm>
              <a:custGeom>
                <a:avLst/>
                <a:gdLst>
                  <a:gd name="connsiteX0" fmla="*/ 1155264 w 1181338"/>
                  <a:gd name="connsiteY0" fmla="*/ 4286 h 1181457"/>
                  <a:gd name="connsiteX1" fmla="*/ 4644 w 1181338"/>
                  <a:gd name="connsiteY1" fmla="*/ 1154906 h 1181457"/>
                  <a:gd name="connsiteX2" fmla="*/ 4644 w 1181338"/>
                  <a:gd name="connsiteY2" fmla="*/ 1176814 h 1181457"/>
                  <a:gd name="connsiteX3" fmla="*/ 26551 w 1181338"/>
                  <a:gd name="connsiteY3" fmla="*/ 1176814 h 1181457"/>
                  <a:gd name="connsiteX4" fmla="*/ 1176695 w 1181338"/>
                  <a:gd name="connsiteY4" fmla="*/ 26194 h 1181457"/>
                  <a:gd name="connsiteX5" fmla="*/ 1176695 w 1181338"/>
                  <a:gd name="connsiteY5" fmla="*/ 4286 h 1181457"/>
                  <a:gd name="connsiteX6" fmla="*/ 1155264 w 1181338"/>
                  <a:gd name="connsiteY6" fmla="*/ 4286 h 118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338" h="1181457">
                    <a:moveTo>
                      <a:pt x="1155264" y="4286"/>
                    </a:moveTo>
                    <a:lnTo>
                      <a:pt x="4644" y="1154906"/>
                    </a:lnTo>
                    <a:cubicBezTo>
                      <a:pt x="-1548" y="1161097"/>
                      <a:pt x="-1548" y="1170622"/>
                      <a:pt x="4644" y="1176814"/>
                    </a:cubicBezTo>
                    <a:cubicBezTo>
                      <a:pt x="10835" y="1183005"/>
                      <a:pt x="20360" y="1183005"/>
                      <a:pt x="26551" y="1176814"/>
                    </a:cubicBezTo>
                    <a:lnTo>
                      <a:pt x="1176695" y="26194"/>
                    </a:lnTo>
                    <a:cubicBezTo>
                      <a:pt x="1182886" y="20003"/>
                      <a:pt x="1182886" y="10478"/>
                      <a:pt x="1176695" y="4286"/>
                    </a:cubicBezTo>
                    <a:cubicBezTo>
                      <a:pt x="1170980" y="-1429"/>
                      <a:pt x="1160978" y="-1429"/>
                      <a:pt x="1155264" y="4286"/>
                    </a:cubicBezTo>
                    <a:close/>
                  </a:path>
                </a:pathLst>
              </a:custGeom>
              <a:grpFill/>
              <a:ln w="4763"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D52D9E4B-FBBC-4345-ACAC-B4891E2D7F12}"/>
                  </a:ext>
                </a:extLst>
              </p:cNvPr>
              <p:cNvSpPr/>
              <p:nvPr/>
            </p:nvSpPr>
            <p:spPr>
              <a:xfrm>
                <a:off x="4635936" y="1983639"/>
                <a:ext cx="899874" cy="899459"/>
              </a:xfrm>
              <a:custGeom>
                <a:avLst/>
                <a:gdLst>
                  <a:gd name="connsiteX0" fmla="*/ 873324 w 899874"/>
                  <a:gd name="connsiteY0" fmla="*/ 4705 h 899459"/>
                  <a:gd name="connsiteX1" fmla="*/ 4644 w 899874"/>
                  <a:gd name="connsiteY1" fmla="*/ 872908 h 899459"/>
                  <a:gd name="connsiteX2" fmla="*/ 4644 w 899874"/>
                  <a:gd name="connsiteY2" fmla="*/ 894816 h 899459"/>
                  <a:gd name="connsiteX3" fmla="*/ 26551 w 899874"/>
                  <a:gd name="connsiteY3" fmla="*/ 894816 h 899459"/>
                  <a:gd name="connsiteX4" fmla="*/ 895231 w 899874"/>
                  <a:gd name="connsiteY4" fmla="*/ 26136 h 899459"/>
                  <a:gd name="connsiteX5" fmla="*/ 895231 w 899874"/>
                  <a:gd name="connsiteY5" fmla="*/ 4228 h 899459"/>
                  <a:gd name="connsiteX6" fmla="*/ 873324 w 899874"/>
                  <a:gd name="connsiteY6" fmla="*/ 4705 h 899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459">
                    <a:moveTo>
                      <a:pt x="873324" y="4705"/>
                    </a:moveTo>
                    <a:lnTo>
                      <a:pt x="4644" y="872908"/>
                    </a:lnTo>
                    <a:cubicBezTo>
                      <a:pt x="-1548" y="879100"/>
                      <a:pt x="-1548" y="888625"/>
                      <a:pt x="4644" y="894816"/>
                    </a:cubicBezTo>
                    <a:cubicBezTo>
                      <a:pt x="10835" y="901007"/>
                      <a:pt x="20360" y="901007"/>
                      <a:pt x="26551" y="894816"/>
                    </a:cubicBezTo>
                    <a:lnTo>
                      <a:pt x="895231" y="26136"/>
                    </a:lnTo>
                    <a:cubicBezTo>
                      <a:pt x="901422" y="19945"/>
                      <a:pt x="901422" y="10420"/>
                      <a:pt x="895231" y="4228"/>
                    </a:cubicBezTo>
                    <a:cubicBezTo>
                      <a:pt x="889040" y="-1486"/>
                      <a:pt x="879039" y="-1486"/>
                      <a:pt x="873324" y="4705"/>
                    </a:cubicBezTo>
                    <a:close/>
                  </a:path>
                </a:pathLst>
              </a:custGeom>
              <a:grpFill/>
              <a:ln w="4763"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5B6583A1-AAFB-4913-BD0F-80ED5918B784}"/>
                  </a:ext>
                </a:extLst>
              </p:cNvPr>
              <p:cNvSpPr/>
              <p:nvPr/>
            </p:nvSpPr>
            <p:spPr>
              <a:xfrm>
                <a:off x="4486870" y="1834634"/>
                <a:ext cx="1059894" cy="1059894"/>
              </a:xfrm>
              <a:custGeom>
                <a:avLst/>
                <a:gdLst>
                  <a:gd name="connsiteX0" fmla="*/ 1033343 w 1059894"/>
                  <a:gd name="connsiteY0" fmla="*/ 4644 h 1059894"/>
                  <a:gd name="connsiteX1" fmla="*/ 4643 w 1059894"/>
                  <a:gd name="connsiteY1" fmla="*/ 1033344 h 1059894"/>
                  <a:gd name="connsiteX2" fmla="*/ 4643 w 1059894"/>
                  <a:gd name="connsiteY2" fmla="*/ 1055251 h 1059894"/>
                  <a:gd name="connsiteX3" fmla="*/ 26551 w 1059894"/>
                  <a:gd name="connsiteY3" fmla="*/ 1055251 h 1059894"/>
                  <a:gd name="connsiteX4" fmla="*/ 1055251 w 1059894"/>
                  <a:gd name="connsiteY4" fmla="*/ 26551 h 1059894"/>
                  <a:gd name="connsiteX5" fmla="*/ 1055251 w 1059894"/>
                  <a:gd name="connsiteY5" fmla="*/ 4644 h 1059894"/>
                  <a:gd name="connsiteX6" fmla="*/ 1033343 w 1059894"/>
                  <a:gd name="connsiteY6" fmla="*/ 4644 h 105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894">
                    <a:moveTo>
                      <a:pt x="1033343" y="4644"/>
                    </a:moveTo>
                    <a:lnTo>
                      <a:pt x="4643" y="1033344"/>
                    </a:lnTo>
                    <a:cubicBezTo>
                      <a:pt x="-1548" y="1039535"/>
                      <a:pt x="-1548" y="1049060"/>
                      <a:pt x="4643" y="1055251"/>
                    </a:cubicBezTo>
                    <a:cubicBezTo>
                      <a:pt x="10835" y="1061442"/>
                      <a:pt x="20360" y="1061442"/>
                      <a:pt x="26551" y="1055251"/>
                    </a:cubicBezTo>
                    <a:lnTo>
                      <a:pt x="1055251" y="26551"/>
                    </a:lnTo>
                    <a:cubicBezTo>
                      <a:pt x="1061442" y="20360"/>
                      <a:pt x="1061442" y="10835"/>
                      <a:pt x="1055251" y="4644"/>
                    </a:cubicBezTo>
                    <a:cubicBezTo>
                      <a:pt x="1049060" y="-1548"/>
                      <a:pt x="1039535" y="-1548"/>
                      <a:pt x="1033343" y="4644"/>
                    </a:cubicBezTo>
                    <a:close/>
                  </a:path>
                </a:pathLst>
              </a:custGeom>
              <a:grpFill/>
              <a:ln w="4763"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B39FCED9-469F-4206-BA01-111A1DC4C0E3}"/>
                  </a:ext>
                </a:extLst>
              </p:cNvPr>
              <p:cNvSpPr/>
              <p:nvPr/>
            </p:nvSpPr>
            <p:spPr>
              <a:xfrm>
                <a:off x="3866316" y="1214019"/>
                <a:ext cx="1474708" cy="1474293"/>
              </a:xfrm>
              <a:custGeom>
                <a:avLst/>
                <a:gdLst>
                  <a:gd name="connsiteX0" fmla="*/ 1448157 w 1474708"/>
                  <a:gd name="connsiteY0" fmla="*/ 4705 h 1474293"/>
                  <a:gd name="connsiteX1" fmla="*/ 4643 w 1474708"/>
                  <a:gd name="connsiteY1" fmla="*/ 1447742 h 1474293"/>
                  <a:gd name="connsiteX2" fmla="*/ 4643 w 1474708"/>
                  <a:gd name="connsiteY2" fmla="*/ 1469650 h 1474293"/>
                  <a:gd name="connsiteX3" fmla="*/ 26551 w 1474708"/>
                  <a:gd name="connsiteY3" fmla="*/ 1469650 h 1474293"/>
                  <a:gd name="connsiteX4" fmla="*/ 1470065 w 1474708"/>
                  <a:gd name="connsiteY4" fmla="*/ 26136 h 1474293"/>
                  <a:gd name="connsiteX5" fmla="*/ 1470065 w 1474708"/>
                  <a:gd name="connsiteY5" fmla="*/ 4228 h 1474293"/>
                  <a:gd name="connsiteX6" fmla="*/ 1448157 w 1474708"/>
                  <a:gd name="connsiteY6" fmla="*/ 4705 h 147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293">
                    <a:moveTo>
                      <a:pt x="1448157" y="4705"/>
                    </a:moveTo>
                    <a:lnTo>
                      <a:pt x="4643" y="1447742"/>
                    </a:lnTo>
                    <a:cubicBezTo>
                      <a:pt x="-1548" y="1453934"/>
                      <a:pt x="-1548" y="1463459"/>
                      <a:pt x="4643" y="1469650"/>
                    </a:cubicBezTo>
                    <a:cubicBezTo>
                      <a:pt x="10835" y="1475841"/>
                      <a:pt x="20360" y="1475841"/>
                      <a:pt x="26551" y="1469650"/>
                    </a:cubicBezTo>
                    <a:lnTo>
                      <a:pt x="1470065" y="26136"/>
                    </a:lnTo>
                    <a:cubicBezTo>
                      <a:pt x="1476256" y="19945"/>
                      <a:pt x="1476256" y="10420"/>
                      <a:pt x="1470065" y="4228"/>
                    </a:cubicBezTo>
                    <a:cubicBezTo>
                      <a:pt x="1463873" y="-1486"/>
                      <a:pt x="1453872" y="-1486"/>
                      <a:pt x="1448157" y="4705"/>
                    </a:cubicBezTo>
                    <a:close/>
                  </a:path>
                </a:pathLst>
              </a:custGeom>
              <a:grpFill/>
              <a:ln w="4763"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5304266F-6252-489B-BD11-18310840B32C}"/>
                  </a:ext>
                </a:extLst>
              </p:cNvPr>
              <p:cNvSpPr/>
              <p:nvPr/>
            </p:nvSpPr>
            <p:spPr>
              <a:xfrm>
                <a:off x="3791069" y="1138771"/>
                <a:ext cx="1487566" cy="1487152"/>
              </a:xfrm>
              <a:custGeom>
                <a:avLst/>
                <a:gdLst>
                  <a:gd name="connsiteX0" fmla="*/ 1461016 w 1487566"/>
                  <a:gd name="connsiteY0" fmla="*/ 4705 h 1487152"/>
                  <a:gd name="connsiteX1" fmla="*/ 4643 w 1487566"/>
                  <a:gd name="connsiteY1" fmla="*/ 1460601 h 1487152"/>
                  <a:gd name="connsiteX2" fmla="*/ 4643 w 1487566"/>
                  <a:gd name="connsiteY2" fmla="*/ 1482509 h 1487152"/>
                  <a:gd name="connsiteX3" fmla="*/ 26551 w 1487566"/>
                  <a:gd name="connsiteY3" fmla="*/ 1482509 h 1487152"/>
                  <a:gd name="connsiteX4" fmla="*/ 1482924 w 1487566"/>
                  <a:gd name="connsiteY4" fmla="*/ 26136 h 1487152"/>
                  <a:gd name="connsiteX5" fmla="*/ 1482924 w 1487566"/>
                  <a:gd name="connsiteY5" fmla="*/ 4228 h 1487152"/>
                  <a:gd name="connsiteX6" fmla="*/ 1461016 w 1487566"/>
                  <a:gd name="connsiteY6" fmla="*/ 4705 h 148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152">
                    <a:moveTo>
                      <a:pt x="1461016" y="4705"/>
                    </a:moveTo>
                    <a:lnTo>
                      <a:pt x="4643" y="1460601"/>
                    </a:lnTo>
                    <a:cubicBezTo>
                      <a:pt x="-1548" y="1466792"/>
                      <a:pt x="-1548" y="1476317"/>
                      <a:pt x="4643" y="1482509"/>
                    </a:cubicBezTo>
                    <a:cubicBezTo>
                      <a:pt x="10835" y="1488700"/>
                      <a:pt x="20360" y="1488700"/>
                      <a:pt x="26551" y="1482509"/>
                    </a:cubicBezTo>
                    <a:lnTo>
                      <a:pt x="1482924" y="26136"/>
                    </a:lnTo>
                    <a:cubicBezTo>
                      <a:pt x="1489114" y="19945"/>
                      <a:pt x="1489114" y="10420"/>
                      <a:pt x="1482924" y="4228"/>
                    </a:cubicBezTo>
                    <a:cubicBezTo>
                      <a:pt x="1476732" y="-1486"/>
                      <a:pt x="1466731" y="-1486"/>
                      <a:pt x="1461016" y="4705"/>
                    </a:cubicBezTo>
                    <a:close/>
                  </a:path>
                </a:pathLst>
              </a:custGeom>
              <a:grpFill/>
              <a:ln w="4763"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FA623F28-C335-4DF3-8E2E-B012D5EC7F9D}"/>
                  </a:ext>
                </a:extLst>
              </p:cNvPr>
              <p:cNvSpPr/>
              <p:nvPr/>
            </p:nvSpPr>
            <p:spPr>
              <a:xfrm>
                <a:off x="3508652" y="856416"/>
                <a:ext cx="674131" cy="673955"/>
              </a:xfrm>
              <a:custGeom>
                <a:avLst/>
                <a:gdLst>
                  <a:gd name="connsiteX0" fmla="*/ 26551 w 674131"/>
                  <a:gd name="connsiteY0" fmla="*/ 669488 h 673955"/>
                  <a:gd name="connsiteX1" fmla="*/ 669488 w 674131"/>
                  <a:gd name="connsiteY1" fmla="*/ 26551 h 673955"/>
                  <a:gd name="connsiteX2" fmla="*/ 669488 w 674131"/>
                  <a:gd name="connsiteY2" fmla="*/ 4643 h 673955"/>
                  <a:gd name="connsiteX3" fmla="*/ 647581 w 674131"/>
                  <a:gd name="connsiteY3" fmla="*/ 4643 h 673955"/>
                  <a:gd name="connsiteX4" fmla="*/ 4643 w 674131"/>
                  <a:gd name="connsiteY4" fmla="*/ 647581 h 673955"/>
                  <a:gd name="connsiteX5" fmla="*/ 4643 w 674131"/>
                  <a:gd name="connsiteY5" fmla="*/ 669488 h 673955"/>
                  <a:gd name="connsiteX6" fmla="*/ 26551 w 674131"/>
                  <a:gd name="connsiteY6" fmla="*/ 669488 h 67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955">
                    <a:moveTo>
                      <a:pt x="26551" y="669488"/>
                    </a:moveTo>
                    <a:lnTo>
                      <a:pt x="669488" y="26551"/>
                    </a:lnTo>
                    <a:cubicBezTo>
                      <a:pt x="675680" y="20360"/>
                      <a:pt x="675680" y="10835"/>
                      <a:pt x="669488" y="4643"/>
                    </a:cubicBezTo>
                    <a:cubicBezTo>
                      <a:pt x="663297" y="-1548"/>
                      <a:pt x="653772" y="-1548"/>
                      <a:pt x="647581" y="4643"/>
                    </a:cubicBezTo>
                    <a:lnTo>
                      <a:pt x="4643" y="647581"/>
                    </a:lnTo>
                    <a:cubicBezTo>
                      <a:pt x="-1548" y="653772"/>
                      <a:pt x="-1548" y="663297"/>
                      <a:pt x="4643" y="669488"/>
                    </a:cubicBezTo>
                    <a:cubicBezTo>
                      <a:pt x="10835" y="675680"/>
                      <a:pt x="20836" y="675203"/>
                      <a:pt x="26551" y="669488"/>
                    </a:cubicBezTo>
                    <a:close/>
                  </a:path>
                </a:pathLst>
              </a:custGeom>
              <a:grpFill/>
              <a:ln w="4763"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0F205F14-E1D0-482B-BCB1-D804FFD5A1B1}"/>
                  </a:ext>
                </a:extLst>
              </p:cNvPr>
              <p:cNvSpPr/>
              <p:nvPr/>
            </p:nvSpPr>
            <p:spPr>
              <a:xfrm>
                <a:off x="3670101" y="1017865"/>
                <a:ext cx="213598" cy="213421"/>
              </a:xfrm>
              <a:custGeom>
                <a:avLst/>
                <a:gdLst>
                  <a:gd name="connsiteX0" fmla="*/ 26551 w 213598"/>
                  <a:gd name="connsiteY0" fmla="*/ 208955 h 213421"/>
                  <a:gd name="connsiteX1" fmla="*/ 208955 w 213598"/>
                  <a:gd name="connsiteY1" fmla="*/ 26551 h 213421"/>
                  <a:gd name="connsiteX2" fmla="*/ 208955 w 213598"/>
                  <a:gd name="connsiteY2" fmla="*/ 4643 h 213421"/>
                  <a:gd name="connsiteX3" fmla="*/ 187047 w 213598"/>
                  <a:gd name="connsiteY3" fmla="*/ 4643 h 213421"/>
                  <a:gd name="connsiteX4" fmla="*/ 4643 w 213598"/>
                  <a:gd name="connsiteY4" fmla="*/ 187047 h 213421"/>
                  <a:gd name="connsiteX5" fmla="*/ 4643 w 213598"/>
                  <a:gd name="connsiteY5" fmla="*/ 208955 h 213421"/>
                  <a:gd name="connsiteX6" fmla="*/ 26551 w 213598"/>
                  <a:gd name="connsiteY6" fmla="*/ 208955 h 21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421">
                    <a:moveTo>
                      <a:pt x="26551" y="208955"/>
                    </a:moveTo>
                    <a:lnTo>
                      <a:pt x="208955" y="26551"/>
                    </a:lnTo>
                    <a:cubicBezTo>
                      <a:pt x="215146" y="20360"/>
                      <a:pt x="215146" y="10835"/>
                      <a:pt x="208955" y="4643"/>
                    </a:cubicBezTo>
                    <a:cubicBezTo>
                      <a:pt x="202764" y="-1548"/>
                      <a:pt x="193239" y="-1548"/>
                      <a:pt x="187047" y="4643"/>
                    </a:cubicBezTo>
                    <a:lnTo>
                      <a:pt x="4643" y="187047"/>
                    </a:lnTo>
                    <a:cubicBezTo>
                      <a:pt x="-1548" y="193238"/>
                      <a:pt x="-1548" y="202763"/>
                      <a:pt x="4643" y="208955"/>
                    </a:cubicBezTo>
                    <a:cubicBezTo>
                      <a:pt x="10835" y="215146"/>
                      <a:pt x="20360" y="214670"/>
                      <a:pt x="26551" y="208955"/>
                    </a:cubicBezTo>
                    <a:close/>
                  </a:path>
                </a:pathLst>
              </a:custGeom>
              <a:grpFill/>
              <a:ln w="4763" cap="flat">
                <a:no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D09BA370-4DD6-4B1D-A900-164ED5F28E00}"/>
                  </a:ext>
                </a:extLst>
              </p:cNvPr>
              <p:cNvSpPr/>
              <p:nvPr/>
            </p:nvSpPr>
            <p:spPr>
              <a:xfrm>
                <a:off x="3461504" y="809267"/>
                <a:ext cx="1181814" cy="1181399"/>
              </a:xfrm>
              <a:custGeom>
                <a:avLst/>
                <a:gdLst>
                  <a:gd name="connsiteX0" fmla="*/ 26551 w 1181814"/>
                  <a:gd name="connsiteY0" fmla="*/ 1176695 h 1181399"/>
                  <a:gd name="connsiteX1" fmla="*/ 1177171 w 1181814"/>
                  <a:gd name="connsiteY1" fmla="*/ 26551 h 1181399"/>
                  <a:gd name="connsiteX2" fmla="*/ 1177171 w 1181814"/>
                  <a:gd name="connsiteY2" fmla="*/ 4643 h 1181399"/>
                  <a:gd name="connsiteX3" fmla="*/ 1155264 w 1181814"/>
                  <a:gd name="connsiteY3" fmla="*/ 4643 h 1181399"/>
                  <a:gd name="connsiteX4" fmla="*/ 4643 w 1181814"/>
                  <a:gd name="connsiteY4" fmla="*/ 1155263 h 1181399"/>
                  <a:gd name="connsiteX5" fmla="*/ 4643 w 1181814"/>
                  <a:gd name="connsiteY5" fmla="*/ 1177171 h 1181399"/>
                  <a:gd name="connsiteX6" fmla="*/ 26551 w 1181814"/>
                  <a:gd name="connsiteY6" fmla="*/ 1176695 h 118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814" h="1181399">
                    <a:moveTo>
                      <a:pt x="26551" y="1176695"/>
                    </a:moveTo>
                    <a:lnTo>
                      <a:pt x="1177171" y="26551"/>
                    </a:lnTo>
                    <a:cubicBezTo>
                      <a:pt x="1183362" y="20360"/>
                      <a:pt x="1183362" y="10835"/>
                      <a:pt x="1177171" y="4643"/>
                    </a:cubicBezTo>
                    <a:cubicBezTo>
                      <a:pt x="1170980" y="-1548"/>
                      <a:pt x="1161455" y="-1548"/>
                      <a:pt x="1155264" y="4643"/>
                    </a:cubicBezTo>
                    <a:lnTo>
                      <a:pt x="4643" y="1155263"/>
                    </a:lnTo>
                    <a:cubicBezTo>
                      <a:pt x="-1548" y="1161455"/>
                      <a:pt x="-1548" y="1170980"/>
                      <a:pt x="4643" y="1177171"/>
                    </a:cubicBezTo>
                    <a:cubicBezTo>
                      <a:pt x="10835" y="1182886"/>
                      <a:pt x="20836" y="1182886"/>
                      <a:pt x="26551" y="1176695"/>
                    </a:cubicBezTo>
                    <a:close/>
                  </a:path>
                </a:pathLst>
              </a:custGeom>
              <a:grpFill/>
              <a:ln w="4763"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4C36687C-D008-43AC-BA3C-C9F6E362A726}"/>
                  </a:ext>
                </a:extLst>
              </p:cNvPr>
              <p:cNvSpPr/>
              <p:nvPr/>
            </p:nvSpPr>
            <p:spPr>
              <a:xfrm>
                <a:off x="3453884" y="801171"/>
                <a:ext cx="1059894" cy="1059717"/>
              </a:xfrm>
              <a:custGeom>
                <a:avLst/>
                <a:gdLst>
                  <a:gd name="connsiteX0" fmla="*/ 26551 w 1059894"/>
                  <a:gd name="connsiteY0" fmla="*/ 1055251 h 1059717"/>
                  <a:gd name="connsiteX1" fmla="*/ 1055251 w 1059894"/>
                  <a:gd name="connsiteY1" fmla="*/ 26551 h 1059717"/>
                  <a:gd name="connsiteX2" fmla="*/ 1055251 w 1059894"/>
                  <a:gd name="connsiteY2" fmla="*/ 4643 h 1059717"/>
                  <a:gd name="connsiteX3" fmla="*/ 1033343 w 1059894"/>
                  <a:gd name="connsiteY3" fmla="*/ 4643 h 1059717"/>
                  <a:gd name="connsiteX4" fmla="*/ 4643 w 1059894"/>
                  <a:gd name="connsiteY4" fmla="*/ 1033344 h 1059717"/>
                  <a:gd name="connsiteX5" fmla="*/ 4643 w 1059894"/>
                  <a:gd name="connsiteY5" fmla="*/ 1055251 h 1059717"/>
                  <a:gd name="connsiteX6" fmla="*/ 26551 w 1059894"/>
                  <a:gd name="connsiteY6" fmla="*/ 1055251 h 105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717">
                    <a:moveTo>
                      <a:pt x="26551" y="1055251"/>
                    </a:moveTo>
                    <a:lnTo>
                      <a:pt x="1055251" y="26551"/>
                    </a:lnTo>
                    <a:cubicBezTo>
                      <a:pt x="1061442" y="20360"/>
                      <a:pt x="1061442" y="10835"/>
                      <a:pt x="1055251" y="4643"/>
                    </a:cubicBezTo>
                    <a:cubicBezTo>
                      <a:pt x="1049060" y="-1548"/>
                      <a:pt x="1039535" y="-1548"/>
                      <a:pt x="1033343" y="4643"/>
                    </a:cubicBezTo>
                    <a:lnTo>
                      <a:pt x="4643" y="1033344"/>
                    </a:lnTo>
                    <a:cubicBezTo>
                      <a:pt x="-1548" y="1039535"/>
                      <a:pt x="-1548" y="1049060"/>
                      <a:pt x="4643" y="1055251"/>
                    </a:cubicBezTo>
                    <a:cubicBezTo>
                      <a:pt x="10835" y="1061442"/>
                      <a:pt x="20360" y="1060966"/>
                      <a:pt x="26551" y="1055251"/>
                    </a:cubicBezTo>
                    <a:close/>
                  </a:path>
                </a:pathLst>
              </a:custGeom>
              <a:grpFill/>
              <a:ln w="4763"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BB7CD163-2CB9-4BAC-85F7-A29F66CD8CA5}"/>
                  </a:ext>
                </a:extLst>
              </p:cNvPr>
              <p:cNvSpPr/>
              <p:nvPr/>
            </p:nvSpPr>
            <p:spPr>
              <a:xfrm>
                <a:off x="3464837" y="812125"/>
                <a:ext cx="899874" cy="899874"/>
              </a:xfrm>
              <a:custGeom>
                <a:avLst/>
                <a:gdLst>
                  <a:gd name="connsiteX0" fmla="*/ 26551 w 899874"/>
                  <a:gd name="connsiteY0" fmla="*/ 895231 h 899874"/>
                  <a:gd name="connsiteX1" fmla="*/ 895231 w 899874"/>
                  <a:gd name="connsiteY1" fmla="*/ 26551 h 899874"/>
                  <a:gd name="connsiteX2" fmla="*/ 895231 w 899874"/>
                  <a:gd name="connsiteY2" fmla="*/ 4643 h 899874"/>
                  <a:gd name="connsiteX3" fmla="*/ 873324 w 899874"/>
                  <a:gd name="connsiteY3" fmla="*/ 4643 h 899874"/>
                  <a:gd name="connsiteX4" fmla="*/ 4643 w 899874"/>
                  <a:gd name="connsiteY4" fmla="*/ 873323 h 899874"/>
                  <a:gd name="connsiteX5" fmla="*/ 4643 w 899874"/>
                  <a:gd name="connsiteY5" fmla="*/ 895231 h 899874"/>
                  <a:gd name="connsiteX6" fmla="*/ 26551 w 899874"/>
                  <a:gd name="connsiteY6" fmla="*/ 895231 h 89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874">
                    <a:moveTo>
                      <a:pt x="26551" y="895231"/>
                    </a:moveTo>
                    <a:lnTo>
                      <a:pt x="895231" y="26551"/>
                    </a:lnTo>
                    <a:cubicBezTo>
                      <a:pt x="901422" y="20360"/>
                      <a:pt x="901422" y="10835"/>
                      <a:pt x="895231" y="4643"/>
                    </a:cubicBezTo>
                    <a:cubicBezTo>
                      <a:pt x="889040" y="-1548"/>
                      <a:pt x="879515" y="-1548"/>
                      <a:pt x="873324" y="4643"/>
                    </a:cubicBezTo>
                    <a:lnTo>
                      <a:pt x="4643" y="873323"/>
                    </a:lnTo>
                    <a:cubicBezTo>
                      <a:pt x="-1548" y="879515"/>
                      <a:pt x="-1548" y="889040"/>
                      <a:pt x="4643" y="895231"/>
                    </a:cubicBezTo>
                    <a:cubicBezTo>
                      <a:pt x="10835" y="901422"/>
                      <a:pt x="20360" y="901422"/>
                      <a:pt x="26551" y="895231"/>
                    </a:cubicBezTo>
                    <a:close/>
                  </a:path>
                </a:pathLst>
              </a:custGeom>
              <a:grpFill/>
              <a:ln w="4763"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68DA7B33-F34C-454A-AD82-9F55726ACD39}"/>
                  </a:ext>
                </a:extLst>
              </p:cNvPr>
              <p:cNvSpPr/>
              <p:nvPr/>
            </p:nvSpPr>
            <p:spPr>
              <a:xfrm>
                <a:off x="3482935" y="830222"/>
                <a:ext cx="1277064" cy="1277064"/>
              </a:xfrm>
              <a:custGeom>
                <a:avLst/>
                <a:gdLst>
                  <a:gd name="connsiteX0" fmla="*/ 26551 w 1277064"/>
                  <a:gd name="connsiteY0" fmla="*/ 1272421 h 1277064"/>
                  <a:gd name="connsiteX1" fmla="*/ 1272421 w 1277064"/>
                  <a:gd name="connsiteY1" fmla="*/ 26551 h 1277064"/>
                  <a:gd name="connsiteX2" fmla="*/ 1272421 w 1277064"/>
                  <a:gd name="connsiteY2" fmla="*/ 4643 h 1277064"/>
                  <a:gd name="connsiteX3" fmla="*/ 1250514 w 1277064"/>
                  <a:gd name="connsiteY3" fmla="*/ 4643 h 1277064"/>
                  <a:gd name="connsiteX4" fmla="*/ 4643 w 1277064"/>
                  <a:gd name="connsiteY4" fmla="*/ 1250513 h 1277064"/>
                  <a:gd name="connsiteX5" fmla="*/ 4643 w 1277064"/>
                  <a:gd name="connsiteY5" fmla="*/ 1272421 h 1277064"/>
                  <a:gd name="connsiteX6" fmla="*/ 26551 w 1277064"/>
                  <a:gd name="connsiteY6" fmla="*/ 1272421 h 127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7064">
                    <a:moveTo>
                      <a:pt x="26551" y="1272421"/>
                    </a:moveTo>
                    <a:lnTo>
                      <a:pt x="1272421" y="26551"/>
                    </a:lnTo>
                    <a:cubicBezTo>
                      <a:pt x="1278612" y="20360"/>
                      <a:pt x="1278612" y="10835"/>
                      <a:pt x="1272421" y="4643"/>
                    </a:cubicBezTo>
                    <a:cubicBezTo>
                      <a:pt x="1266230" y="-1548"/>
                      <a:pt x="1256705" y="-1548"/>
                      <a:pt x="1250514" y="4643"/>
                    </a:cubicBezTo>
                    <a:lnTo>
                      <a:pt x="4643" y="1250513"/>
                    </a:lnTo>
                    <a:cubicBezTo>
                      <a:pt x="-1548" y="1256705"/>
                      <a:pt x="-1548" y="1266230"/>
                      <a:pt x="4643" y="1272421"/>
                    </a:cubicBezTo>
                    <a:cubicBezTo>
                      <a:pt x="10835" y="1278612"/>
                      <a:pt x="20360" y="1278612"/>
                      <a:pt x="26551" y="1272421"/>
                    </a:cubicBezTo>
                    <a:close/>
                  </a:path>
                </a:pathLst>
              </a:custGeom>
              <a:grpFill/>
              <a:ln w="4763"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00010DA6-ED2E-488B-A1DA-872862650AAE}"/>
                  </a:ext>
                </a:extLst>
              </p:cNvPr>
              <p:cNvSpPr/>
              <p:nvPr/>
            </p:nvSpPr>
            <p:spPr>
              <a:xfrm>
                <a:off x="3722012" y="1069300"/>
                <a:ext cx="1487566" cy="1487811"/>
              </a:xfrm>
              <a:custGeom>
                <a:avLst/>
                <a:gdLst>
                  <a:gd name="connsiteX0" fmla="*/ 26551 w 1487566"/>
                  <a:gd name="connsiteY0" fmla="*/ 1482924 h 1487811"/>
                  <a:gd name="connsiteX1" fmla="*/ 1482924 w 1487566"/>
                  <a:gd name="connsiteY1" fmla="*/ 26551 h 1487811"/>
                  <a:gd name="connsiteX2" fmla="*/ 1482924 w 1487566"/>
                  <a:gd name="connsiteY2" fmla="*/ 4643 h 1487811"/>
                  <a:gd name="connsiteX3" fmla="*/ 1461016 w 1487566"/>
                  <a:gd name="connsiteY3" fmla="*/ 4643 h 1487811"/>
                  <a:gd name="connsiteX4" fmla="*/ 4643 w 1487566"/>
                  <a:gd name="connsiteY4" fmla="*/ 1461492 h 1487811"/>
                  <a:gd name="connsiteX5" fmla="*/ 4643 w 1487566"/>
                  <a:gd name="connsiteY5" fmla="*/ 1483400 h 1487811"/>
                  <a:gd name="connsiteX6" fmla="*/ 26551 w 1487566"/>
                  <a:gd name="connsiteY6" fmla="*/ 1482924 h 1487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811">
                    <a:moveTo>
                      <a:pt x="26551" y="1482924"/>
                    </a:moveTo>
                    <a:lnTo>
                      <a:pt x="1482924" y="26551"/>
                    </a:lnTo>
                    <a:cubicBezTo>
                      <a:pt x="1489114" y="20360"/>
                      <a:pt x="1489114" y="10835"/>
                      <a:pt x="1482924" y="4643"/>
                    </a:cubicBezTo>
                    <a:cubicBezTo>
                      <a:pt x="1476732" y="-1548"/>
                      <a:pt x="1467207" y="-1548"/>
                      <a:pt x="1461016" y="4643"/>
                    </a:cubicBezTo>
                    <a:lnTo>
                      <a:pt x="4643" y="1461492"/>
                    </a:lnTo>
                    <a:cubicBezTo>
                      <a:pt x="-1548" y="1467684"/>
                      <a:pt x="-1548" y="1477209"/>
                      <a:pt x="4643" y="1483400"/>
                    </a:cubicBezTo>
                    <a:cubicBezTo>
                      <a:pt x="10835" y="1489591"/>
                      <a:pt x="20360" y="1489115"/>
                      <a:pt x="26551" y="1482924"/>
                    </a:cubicBezTo>
                    <a:close/>
                  </a:path>
                </a:pathLst>
              </a:custGeom>
              <a:grpFill/>
              <a:ln w="4763"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E5A5FC59-AB37-40D8-A78D-DC3BCD8D87B1}"/>
                  </a:ext>
                </a:extLst>
              </p:cNvPr>
              <p:cNvSpPr/>
              <p:nvPr/>
            </p:nvSpPr>
            <p:spPr>
              <a:xfrm>
                <a:off x="3659624" y="1006911"/>
                <a:ext cx="1474708" cy="1474708"/>
              </a:xfrm>
              <a:custGeom>
                <a:avLst/>
                <a:gdLst>
                  <a:gd name="connsiteX0" fmla="*/ 26551 w 1474708"/>
                  <a:gd name="connsiteY0" fmla="*/ 1470065 h 1474708"/>
                  <a:gd name="connsiteX1" fmla="*/ 1470065 w 1474708"/>
                  <a:gd name="connsiteY1" fmla="*/ 26551 h 1474708"/>
                  <a:gd name="connsiteX2" fmla="*/ 1470065 w 1474708"/>
                  <a:gd name="connsiteY2" fmla="*/ 4643 h 1474708"/>
                  <a:gd name="connsiteX3" fmla="*/ 1448157 w 1474708"/>
                  <a:gd name="connsiteY3" fmla="*/ 4643 h 1474708"/>
                  <a:gd name="connsiteX4" fmla="*/ 4644 w 1474708"/>
                  <a:gd name="connsiteY4" fmla="*/ 1448157 h 1474708"/>
                  <a:gd name="connsiteX5" fmla="*/ 4644 w 1474708"/>
                  <a:gd name="connsiteY5" fmla="*/ 1470065 h 1474708"/>
                  <a:gd name="connsiteX6" fmla="*/ 26551 w 1474708"/>
                  <a:gd name="connsiteY6" fmla="*/ 1470065 h 1474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708">
                    <a:moveTo>
                      <a:pt x="26551" y="1470065"/>
                    </a:moveTo>
                    <a:lnTo>
                      <a:pt x="1470065" y="26551"/>
                    </a:lnTo>
                    <a:cubicBezTo>
                      <a:pt x="1476256" y="20360"/>
                      <a:pt x="1476256" y="10835"/>
                      <a:pt x="1470065" y="4643"/>
                    </a:cubicBezTo>
                    <a:cubicBezTo>
                      <a:pt x="1463874" y="-1548"/>
                      <a:pt x="1454349" y="-1548"/>
                      <a:pt x="1448157" y="4643"/>
                    </a:cubicBezTo>
                    <a:lnTo>
                      <a:pt x="4644" y="1448157"/>
                    </a:lnTo>
                    <a:cubicBezTo>
                      <a:pt x="-1548" y="1454348"/>
                      <a:pt x="-1548" y="1463873"/>
                      <a:pt x="4644" y="1470065"/>
                    </a:cubicBezTo>
                    <a:cubicBezTo>
                      <a:pt x="10835" y="1476256"/>
                      <a:pt x="20360" y="1476256"/>
                      <a:pt x="26551" y="1470065"/>
                    </a:cubicBezTo>
                    <a:close/>
                  </a:path>
                </a:pathLst>
              </a:custGeom>
              <a:grpFill/>
              <a:ln w="4763"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4FD9DDE-1F6E-4C76-AA8B-AB6E35FD4599}"/>
                  </a:ext>
                </a:extLst>
              </p:cNvPr>
              <p:cNvSpPr/>
              <p:nvPr/>
            </p:nvSpPr>
            <p:spPr>
              <a:xfrm>
                <a:off x="3514844" y="862607"/>
                <a:ext cx="1350883" cy="1350706"/>
              </a:xfrm>
              <a:custGeom>
                <a:avLst/>
                <a:gdLst>
                  <a:gd name="connsiteX0" fmla="*/ 26551 w 1350883"/>
                  <a:gd name="connsiteY0" fmla="*/ 1346240 h 1350706"/>
                  <a:gd name="connsiteX1" fmla="*/ 1346240 w 1350883"/>
                  <a:gd name="connsiteY1" fmla="*/ 26551 h 1350706"/>
                  <a:gd name="connsiteX2" fmla="*/ 1346240 w 1350883"/>
                  <a:gd name="connsiteY2" fmla="*/ 4643 h 1350706"/>
                  <a:gd name="connsiteX3" fmla="*/ 1324332 w 1350883"/>
                  <a:gd name="connsiteY3" fmla="*/ 4643 h 1350706"/>
                  <a:gd name="connsiteX4" fmla="*/ 4643 w 1350883"/>
                  <a:gd name="connsiteY4" fmla="*/ 1324332 h 1350706"/>
                  <a:gd name="connsiteX5" fmla="*/ 4643 w 1350883"/>
                  <a:gd name="connsiteY5" fmla="*/ 1346240 h 1350706"/>
                  <a:gd name="connsiteX6" fmla="*/ 26551 w 1350883"/>
                  <a:gd name="connsiteY6" fmla="*/ 1346240 h 135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3" h="1350706">
                    <a:moveTo>
                      <a:pt x="26551" y="1346240"/>
                    </a:moveTo>
                    <a:lnTo>
                      <a:pt x="1346240" y="26551"/>
                    </a:lnTo>
                    <a:cubicBezTo>
                      <a:pt x="1352431" y="20360"/>
                      <a:pt x="1352431" y="10835"/>
                      <a:pt x="1346240" y="4643"/>
                    </a:cubicBezTo>
                    <a:cubicBezTo>
                      <a:pt x="1340049" y="-1548"/>
                      <a:pt x="1330524" y="-1548"/>
                      <a:pt x="1324332" y="4643"/>
                    </a:cubicBezTo>
                    <a:lnTo>
                      <a:pt x="4643" y="1324332"/>
                    </a:lnTo>
                    <a:cubicBezTo>
                      <a:pt x="-1548" y="1330523"/>
                      <a:pt x="-1548" y="1340048"/>
                      <a:pt x="4643" y="1346240"/>
                    </a:cubicBezTo>
                    <a:cubicBezTo>
                      <a:pt x="10835" y="1352431"/>
                      <a:pt x="20360" y="1351955"/>
                      <a:pt x="26551" y="1346240"/>
                    </a:cubicBezTo>
                    <a:close/>
                  </a:path>
                </a:pathLst>
              </a:custGeom>
              <a:grpFill/>
              <a:ln w="4763"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B4E0030D-C1E0-48F1-B9A9-3DE5B98E78BD}"/>
                  </a:ext>
                </a:extLst>
              </p:cNvPr>
              <p:cNvSpPr/>
              <p:nvPr/>
            </p:nvSpPr>
            <p:spPr>
              <a:xfrm>
                <a:off x="3603902" y="951666"/>
                <a:ext cx="1448037" cy="1447680"/>
              </a:xfrm>
              <a:custGeom>
                <a:avLst/>
                <a:gdLst>
                  <a:gd name="connsiteX0" fmla="*/ 26551 w 1448037"/>
                  <a:gd name="connsiteY0" fmla="*/ 1443395 h 1447680"/>
                  <a:gd name="connsiteX1" fmla="*/ 1443395 w 1448037"/>
                  <a:gd name="connsiteY1" fmla="*/ 26551 h 1447680"/>
                  <a:gd name="connsiteX2" fmla="*/ 1443395 w 1448037"/>
                  <a:gd name="connsiteY2" fmla="*/ 4643 h 1447680"/>
                  <a:gd name="connsiteX3" fmla="*/ 1421487 w 1448037"/>
                  <a:gd name="connsiteY3" fmla="*/ 4643 h 1447680"/>
                  <a:gd name="connsiteX4" fmla="*/ 4643 w 1448037"/>
                  <a:gd name="connsiteY4" fmla="*/ 1421487 h 1447680"/>
                  <a:gd name="connsiteX5" fmla="*/ 4643 w 1448037"/>
                  <a:gd name="connsiteY5" fmla="*/ 1443395 h 1447680"/>
                  <a:gd name="connsiteX6" fmla="*/ 26551 w 1448037"/>
                  <a:gd name="connsiteY6" fmla="*/ 1443395 h 144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7" h="1447680">
                    <a:moveTo>
                      <a:pt x="26551" y="1443395"/>
                    </a:moveTo>
                    <a:lnTo>
                      <a:pt x="1443395" y="26551"/>
                    </a:lnTo>
                    <a:cubicBezTo>
                      <a:pt x="1449586" y="20360"/>
                      <a:pt x="1449586" y="10835"/>
                      <a:pt x="1443395" y="4643"/>
                    </a:cubicBezTo>
                    <a:cubicBezTo>
                      <a:pt x="1437203" y="-1548"/>
                      <a:pt x="1427678" y="-1548"/>
                      <a:pt x="1421487" y="4643"/>
                    </a:cubicBezTo>
                    <a:lnTo>
                      <a:pt x="4643" y="1421487"/>
                    </a:lnTo>
                    <a:cubicBezTo>
                      <a:pt x="-1548" y="1427679"/>
                      <a:pt x="-1548" y="1437204"/>
                      <a:pt x="4643" y="1443395"/>
                    </a:cubicBezTo>
                    <a:cubicBezTo>
                      <a:pt x="10835" y="1449110"/>
                      <a:pt x="20360" y="1449110"/>
                      <a:pt x="26551" y="1443395"/>
                    </a:cubicBezTo>
                    <a:close/>
                  </a:path>
                </a:pathLst>
              </a:custGeom>
              <a:grpFill/>
              <a:ln w="4763"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146EFC72-5248-493D-AC9E-811CF454A27D}"/>
                  </a:ext>
                </a:extLst>
              </p:cNvPr>
              <p:cNvSpPr/>
              <p:nvPr/>
            </p:nvSpPr>
            <p:spPr>
              <a:xfrm>
                <a:off x="3555325" y="902612"/>
                <a:ext cx="1407556" cy="1407556"/>
              </a:xfrm>
              <a:custGeom>
                <a:avLst/>
                <a:gdLst>
                  <a:gd name="connsiteX0" fmla="*/ 26551 w 1407556"/>
                  <a:gd name="connsiteY0" fmla="*/ 1402914 h 1407556"/>
                  <a:gd name="connsiteX1" fmla="*/ 1402913 w 1407556"/>
                  <a:gd name="connsiteY1" fmla="*/ 26551 h 1407556"/>
                  <a:gd name="connsiteX2" fmla="*/ 1402913 w 1407556"/>
                  <a:gd name="connsiteY2" fmla="*/ 4643 h 1407556"/>
                  <a:gd name="connsiteX3" fmla="*/ 1381006 w 1407556"/>
                  <a:gd name="connsiteY3" fmla="*/ 4643 h 1407556"/>
                  <a:gd name="connsiteX4" fmla="*/ 4643 w 1407556"/>
                  <a:gd name="connsiteY4" fmla="*/ 1381006 h 1407556"/>
                  <a:gd name="connsiteX5" fmla="*/ 4643 w 1407556"/>
                  <a:gd name="connsiteY5" fmla="*/ 1402914 h 1407556"/>
                  <a:gd name="connsiteX6" fmla="*/ 26551 w 1407556"/>
                  <a:gd name="connsiteY6" fmla="*/ 1402914 h 140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556">
                    <a:moveTo>
                      <a:pt x="26551" y="1402914"/>
                    </a:moveTo>
                    <a:lnTo>
                      <a:pt x="1402913" y="26551"/>
                    </a:lnTo>
                    <a:cubicBezTo>
                      <a:pt x="1409105" y="20360"/>
                      <a:pt x="1409105" y="10835"/>
                      <a:pt x="1402913" y="4643"/>
                    </a:cubicBezTo>
                    <a:cubicBezTo>
                      <a:pt x="1396722" y="-1548"/>
                      <a:pt x="1387197" y="-1548"/>
                      <a:pt x="1381006" y="4643"/>
                    </a:cubicBezTo>
                    <a:lnTo>
                      <a:pt x="4643" y="1381006"/>
                    </a:lnTo>
                    <a:cubicBezTo>
                      <a:pt x="-1548" y="1387197"/>
                      <a:pt x="-1548" y="1396722"/>
                      <a:pt x="4643" y="1402914"/>
                    </a:cubicBezTo>
                    <a:cubicBezTo>
                      <a:pt x="10835" y="1409105"/>
                      <a:pt x="20836" y="1409105"/>
                      <a:pt x="26551" y="1402914"/>
                    </a:cubicBezTo>
                    <a:close/>
                  </a:path>
                </a:pathLst>
              </a:custGeom>
              <a:grpFill/>
              <a:ln w="4763" cap="flat">
                <a:noFill/>
                <a:prstDash val="solid"/>
                <a:miter/>
              </a:ln>
            </p:spPr>
            <p:txBody>
              <a:bodyPr rtlCol="0" anchor="ctr"/>
              <a:lstStyle/>
              <a:p>
                <a:endParaRPr lang="en-US"/>
              </a:p>
            </p:txBody>
          </p:sp>
        </p:grpSp>
        <p:sp>
          <p:nvSpPr>
            <p:cNvPr id="19" name="Isosceles Triangle 49">
              <a:extLst>
                <a:ext uri="{FF2B5EF4-FFF2-40B4-BE49-F238E27FC236}">
                  <a16:creationId xmlns:a16="http://schemas.microsoft.com/office/drawing/2014/main" id="{183456C9-B9BC-4D86-81D4-75FD6166E24D}"/>
                </a:ext>
              </a:extLst>
            </p:cNvPr>
            <p:cNvSpPr/>
            <p:nvPr/>
          </p:nvSpPr>
          <p:spPr>
            <a:xfrm rot="5400000">
              <a:off x="805203" y="2100748"/>
              <a:ext cx="408402" cy="356200"/>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21" name="Rectangle: Rounded Corners 20">
              <a:extLst>
                <a:ext uri="{FF2B5EF4-FFF2-40B4-BE49-F238E27FC236}">
                  <a16:creationId xmlns:a16="http://schemas.microsoft.com/office/drawing/2014/main" id="{3F8A7229-BA58-494B-9238-F4E670A44C31}"/>
                </a:ext>
              </a:extLst>
            </p:cNvPr>
            <p:cNvSpPr/>
            <p:nvPr/>
          </p:nvSpPr>
          <p:spPr>
            <a:xfrm>
              <a:off x="1360248" y="3240701"/>
              <a:ext cx="1768787" cy="596805"/>
            </a:xfrm>
            <a:prstGeom prst="roundRect">
              <a:avLst/>
            </a:prstGeom>
            <a:solidFill>
              <a:schemeClr val="bg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9E7E12C9-45A9-4607-B12F-F728CB970558}"/>
                </a:ext>
              </a:extLst>
            </p:cNvPr>
            <p:cNvSpPr/>
            <p:nvPr/>
          </p:nvSpPr>
          <p:spPr>
            <a:xfrm>
              <a:off x="2401934" y="1949573"/>
              <a:ext cx="994738" cy="994737"/>
            </a:xfrm>
            <a:prstGeom prst="ellipse">
              <a:avLst/>
            </a:prstGeom>
            <a:no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A78C362F-006B-4764-A9A8-57BA2303F795}"/>
                </a:ext>
              </a:extLst>
            </p:cNvPr>
            <p:cNvSpPr/>
            <p:nvPr/>
          </p:nvSpPr>
          <p:spPr>
            <a:xfrm>
              <a:off x="2299789" y="1833915"/>
              <a:ext cx="1036067" cy="1036067"/>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Isosceles Triangle 49">
              <a:extLst>
                <a:ext uri="{FF2B5EF4-FFF2-40B4-BE49-F238E27FC236}">
                  <a16:creationId xmlns:a16="http://schemas.microsoft.com/office/drawing/2014/main" id="{C2DB083F-6097-4A37-8BE3-DDBD32DDB662}"/>
                </a:ext>
              </a:extLst>
            </p:cNvPr>
            <p:cNvSpPr/>
            <p:nvPr/>
          </p:nvSpPr>
          <p:spPr>
            <a:xfrm rot="5400000">
              <a:off x="1999459" y="1507527"/>
              <a:ext cx="353385" cy="308215"/>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2">
                <a:alpha val="6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9" name="Isosceles Triangle 49">
              <a:extLst>
                <a:ext uri="{FF2B5EF4-FFF2-40B4-BE49-F238E27FC236}">
                  <a16:creationId xmlns:a16="http://schemas.microsoft.com/office/drawing/2014/main" id="{DA64599E-EDB5-4E39-92EF-1E8A8016068A}"/>
                </a:ext>
              </a:extLst>
            </p:cNvPr>
            <p:cNvSpPr/>
            <p:nvPr/>
          </p:nvSpPr>
          <p:spPr>
            <a:xfrm rot="5400000">
              <a:off x="1078614" y="2752833"/>
              <a:ext cx="563894" cy="491818"/>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30" name="Oval 29">
              <a:extLst>
                <a:ext uri="{FF2B5EF4-FFF2-40B4-BE49-F238E27FC236}">
                  <a16:creationId xmlns:a16="http://schemas.microsoft.com/office/drawing/2014/main" id="{0DDF7548-271F-413C-B7FD-1DBE6C439D61}"/>
                </a:ext>
              </a:extLst>
            </p:cNvPr>
            <p:cNvSpPr/>
            <p:nvPr/>
          </p:nvSpPr>
          <p:spPr>
            <a:xfrm>
              <a:off x="509310" y="2941310"/>
              <a:ext cx="102236" cy="102236"/>
            </a:xfrm>
            <a:prstGeom prst="ellipse">
              <a:avLst/>
            </a:prstGeom>
            <a:solidFill>
              <a:schemeClr val="accent4">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251BA2FF-AF08-40BD-801C-51C1FAE2A9DF}"/>
                </a:ext>
              </a:extLst>
            </p:cNvPr>
            <p:cNvSpPr/>
            <p:nvPr/>
          </p:nvSpPr>
          <p:spPr>
            <a:xfrm>
              <a:off x="2003599" y="2041381"/>
              <a:ext cx="102236" cy="102236"/>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A09961D6-C47D-42BA-B20D-F698A97C5EE6}"/>
                </a:ext>
              </a:extLst>
            </p:cNvPr>
            <p:cNvSpPr/>
            <p:nvPr/>
          </p:nvSpPr>
          <p:spPr>
            <a:xfrm>
              <a:off x="1214709" y="3040461"/>
              <a:ext cx="102236" cy="102236"/>
            </a:xfrm>
            <a:prstGeom prst="ellipse">
              <a:avLst/>
            </a:prstGeom>
            <a:solidFill>
              <a:schemeClr val="bg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DDFC28ED-96CE-423B-AC77-AFDDC79AC326}"/>
                </a:ext>
              </a:extLst>
            </p:cNvPr>
            <p:cNvSpPr/>
            <p:nvPr/>
          </p:nvSpPr>
          <p:spPr>
            <a:xfrm>
              <a:off x="3055789" y="3080786"/>
              <a:ext cx="102236" cy="102236"/>
            </a:xfrm>
            <a:prstGeom prst="ellipse">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40F4B4F6-70CB-4617-9A1C-35D08F5D3B6C}"/>
                </a:ext>
              </a:extLst>
            </p:cNvPr>
            <p:cNvSpPr/>
            <p:nvPr/>
          </p:nvSpPr>
          <p:spPr>
            <a:xfrm>
              <a:off x="3280521" y="3001114"/>
              <a:ext cx="102236" cy="102236"/>
            </a:xfrm>
            <a:prstGeom prst="ellipse">
              <a:avLst/>
            </a:prstGeom>
            <a:solidFill>
              <a:schemeClr val="accent4">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Rounded Corners 20">
              <a:extLst>
                <a:ext uri="{FF2B5EF4-FFF2-40B4-BE49-F238E27FC236}">
                  <a16:creationId xmlns:a16="http://schemas.microsoft.com/office/drawing/2014/main" id="{3F8A7229-BA58-494B-9238-F4E670A44C31}"/>
                </a:ext>
              </a:extLst>
            </p:cNvPr>
            <p:cNvSpPr/>
            <p:nvPr/>
          </p:nvSpPr>
          <p:spPr>
            <a:xfrm>
              <a:off x="1360248" y="3240706"/>
              <a:ext cx="1768788" cy="596806"/>
            </a:xfrm>
            <a:prstGeom prst="roundRect">
              <a:avLst/>
            </a:prstGeom>
            <a:solidFill>
              <a:schemeClr val="bg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21">
              <a:extLst>
                <a:ext uri="{FF2B5EF4-FFF2-40B4-BE49-F238E27FC236}">
                  <a16:creationId xmlns:a16="http://schemas.microsoft.com/office/drawing/2014/main" id="{9E7E12C9-45A9-4607-B12F-F728CB970558}"/>
                </a:ext>
              </a:extLst>
            </p:cNvPr>
            <p:cNvSpPr/>
            <p:nvPr/>
          </p:nvSpPr>
          <p:spPr>
            <a:xfrm>
              <a:off x="2401935" y="1949576"/>
              <a:ext cx="994738" cy="994739"/>
            </a:xfrm>
            <a:prstGeom prst="ellipse">
              <a:avLst/>
            </a:prstGeom>
            <a:no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22">
              <a:extLst>
                <a:ext uri="{FF2B5EF4-FFF2-40B4-BE49-F238E27FC236}">
                  <a16:creationId xmlns:a16="http://schemas.microsoft.com/office/drawing/2014/main" id="{A78C362F-006B-4764-A9A8-57BA2303F795}"/>
                </a:ext>
              </a:extLst>
            </p:cNvPr>
            <p:cNvSpPr/>
            <p:nvPr/>
          </p:nvSpPr>
          <p:spPr>
            <a:xfrm>
              <a:off x="2299790" y="1833918"/>
              <a:ext cx="1036067" cy="1036068"/>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3" name="Picture 23" descr="A black and white photo of a person&#10;&#10;Description automatically generated">
              <a:extLst>
                <a:ext uri="{FF2B5EF4-FFF2-40B4-BE49-F238E27FC236}">
                  <a16:creationId xmlns:a16="http://schemas.microsoft.com/office/drawing/2014/main" id="{D9F477B7-4B95-4177-9888-C9EC8D18F3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6933" y="2072630"/>
              <a:ext cx="2789647" cy="1864952"/>
            </a:xfrm>
            <a:prstGeom prst="rect">
              <a:avLst/>
            </a:prstGeom>
          </p:spPr>
        </p:pic>
        <p:sp>
          <p:nvSpPr>
            <p:cNvPr id="85" name="Isosceles Triangle 49">
              <a:extLst>
                <a:ext uri="{FF2B5EF4-FFF2-40B4-BE49-F238E27FC236}">
                  <a16:creationId xmlns:a16="http://schemas.microsoft.com/office/drawing/2014/main" id="{C2DB083F-6097-4A37-8BE3-DDBD32DDB662}"/>
                </a:ext>
              </a:extLst>
            </p:cNvPr>
            <p:cNvSpPr/>
            <p:nvPr/>
          </p:nvSpPr>
          <p:spPr>
            <a:xfrm rot="5400000">
              <a:off x="1999459" y="1507527"/>
              <a:ext cx="393697" cy="34337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2">
                <a:alpha val="6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69" name="Isosceles Triangle 49">
              <a:extLst>
                <a:ext uri="{FF2B5EF4-FFF2-40B4-BE49-F238E27FC236}">
                  <a16:creationId xmlns:a16="http://schemas.microsoft.com/office/drawing/2014/main" id="{DA64599E-EDB5-4E39-92EF-1E8A8016068A}"/>
                </a:ext>
              </a:extLst>
            </p:cNvPr>
            <p:cNvSpPr/>
            <p:nvPr/>
          </p:nvSpPr>
          <p:spPr>
            <a:xfrm rot="5400000">
              <a:off x="1078614" y="2752834"/>
              <a:ext cx="563894" cy="491818"/>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70" name="Oval 29">
              <a:extLst>
                <a:ext uri="{FF2B5EF4-FFF2-40B4-BE49-F238E27FC236}">
                  <a16:creationId xmlns:a16="http://schemas.microsoft.com/office/drawing/2014/main" id="{0DDF7548-271F-413C-B7FD-1DBE6C439D61}"/>
                </a:ext>
              </a:extLst>
            </p:cNvPr>
            <p:cNvSpPr/>
            <p:nvPr/>
          </p:nvSpPr>
          <p:spPr>
            <a:xfrm>
              <a:off x="509310" y="2941314"/>
              <a:ext cx="102236" cy="102236"/>
            </a:xfrm>
            <a:prstGeom prst="ellipse">
              <a:avLst/>
            </a:prstGeom>
            <a:solidFill>
              <a:schemeClr val="accent4">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30">
              <a:extLst>
                <a:ext uri="{FF2B5EF4-FFF2-40B4-BE49-F238E27FC236}">
                  <a16:creationId xmlns:a16="http://schemas.microsoft.com/office/drawing/2014/main" id="{251BA2FF-AF08-40BD-801C-51C1FAE2A9DF}"/>
                </a:ext>
              </a:extLst>
            </p:cNvPr>
            <p:cNvSpPr/>
            <p:nvPr/>
          </p:nvSpPr>
          <p:spPr>
            <a:xfrm>
              <a:off x="2003599" y="2041384"/>
              <a:ext cx="102236" cy="102236"/>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34">
              <a:extLst>
                <a:ext uri="{FF2B5EF4-FFF2-40B4-BE49-F238E27FC236}">
                  <a16:creationId xmlns:a16="http://schemas.microsoft.com/office/drawing/2014/main" id="{A09961D6-C47D-42BA-B20D-F698A97C5EE6}"/>
                </a:ext>
              </a:extLst>
            </p:cNvPr>
            <p:cNvSpPr/>
            <p:nvPr/>
          </p:nvSpPr>
          <p:spPr>
            <a:xfrm>
              <a:off x="1214710" y="3040466"/>
              <a:ext cx="102236" cy="102236"/>
            </a:xfrm>
            <a:prstGeom prst="ellipse">
              <a:avLst/>
            </a:prstGeom>
            <a:solidFill>
              <a:schemeClr val="bg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36">
              <a:extLst>
                <a:ext uri="{FF2B5EF4-FFF2-40B4-BE49-F238E27FC236}">
                  <a16:creationId xmlns:a16="http://schemas.microsoft.com/office/drawing/2014/main" id="{DDFC28ED-96CE-423B-AC77-AFDDC79AC326}"/>
                </a:ext>
              </a:extLst>
            </p:cNvPr>
            <p:cNvSpPr/>
            <p:nvPr/>
          </p:nvSpPr>
          <p:spPr>
            <a:xfrm>
              <a:off x="3055790" y="3080791"/>
              <a:ext cx="102236" cy="102236"/>
            </a:xfrm>
            <a:prstGeom prst="ellipse">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39">
              <a:extLst>
                <a:ext uri="{FF2B5EF4-FFF2-40B4-BE49-F238E27FC236}">
                  <a16:creationId xmlns:a16="http://schemas.microsoft.com/office/drawing/2014/main" id="{40F4B4F6-70CB-4617-9A1C-35D08F5D3B6C}"/>
                </a:ext>
              </a:extLst>
            </p:cNvPr>
            <p:cNvSpPr/>
            <p:nvPr/>
          </p:nvSpPr>
          <p:spPr>
            <a:xfrm>
              <a:off x="3280522" y="3001118"/>
              <a:ext cx="102236" cy="102236"/>
            </a:xfrm>
            <a:prstGeom prst="ellipse">
              <a:avLst/>
            </a:prstGeom>
            <a:solidFill>
              <a:schemeClr val="accent4">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Isosceles Triangle 49">
              <a:extLst>
                <a:ext uri="{FF2B5EF4-FFF2-40B4-BE49-F238E27FC236}">
                  <a16:creationId xmlns:a16="http://schemas.microsoft.com/office/drawing/2014/main" id="{0B3CED40-1B6C-459A-B32B-3962EC5DA1AC}"/>
                </a:ext>
              </a:extLst>
            </p:cNvPr>
            <p:cNvSpPr/>
            <p:nvPr/>
          </p:nvSpPr>
          <p:spPr>
            <a:xfrm rot="5400000">
              <a:off x="1167272" y="1832229"/>
              <a:ext cx="987517" cy="86129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2">
                <a:alpha val="6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5" name="Rectangle: Rounded Corners 24">
              <a:extLst>
                <a:ext uri="{FF2B5EF4-FFF2-40B4-BE49-F238E27FC236}">
                  <a16:creationId xmlns:a16="http://schemas.microsoft.com/office/drawing/2014/main" id="{595846CD-CA92-495D-A21D-5F6ED8C5BE3A}"/>
                </a:ext>
              </a:extLst>
            </p:cNvPr>
            <p:cNvSpPr/>
            <p:nvPr/>
          </p:nvSpPr>
          <p:spPr>
            <a:xfrm>
              <a:off x="1237110" y="3076409"/>
              <a:ext cx="1768787" cy="596804"/>
            </a:xfrm>
            <a:prstGeom prst="roundRect">
              <a:avLst/>
            </a:prstGeom>
            <a:noFill/>
            <a:ln w="12700">
              <a:solidFill>
                <a:schemeClr val="accent4">
                  <a:alpha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F0C26769-51B8-433D-ADF1-A015326AF7A9}"/>
                </a:ext>
              </a:extLst>
            </p:cNvPr>
            <p:cNvSpPr/>
            <p:nvPr/>
          </p:nvSpPr>
          <p:spPr>
            <a:xfrm>
              <a:off x="2722604" y="3421461"/>
              <a:ext cx="102236" cy="102236"/>
            </a:xfrm>
            <a:prstGeom prst="ellipse">
              <a:avLst/>
            </a:prstGeom>
            <a:solidFill>
              <a:schemeClr val="bg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35">
              <a:extLst>
                <a:ext uri="{FF2B5EF4-FFF2-40B4-BE49-F238E27FC236}">
                  <a16:creationId xmlns:a16="http://schemas.microsoft.com/office/drawing/2014/main" id="{F0C26769-51B8-433D-ADF1-A015326AF7A9}"/>
                </a:ext>
              </a:extLst>
            </p:cNvPr>
            <p:cNvSpPr/>
            <p:nvPr/>
          </p:nvSpPr>
          <p:spPr>
            <a:xfrm>
              <a:off x="2722605" y="3421466"/>
              <a:ext cx="102236" cy="102236"/>
            </a:xfrm>
            <a:prstGeom prst="ellipse">
              <a:avLst/>
            </a:prstGeom>
            <a:solidFill>
              <a:schemeClr val="bg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Isosceles Triangle 49">
              <a:extLst>
                <a:ext uri="{FF2B5EF4-FFF2-40B4-BE49-F238E27FC236}">
                  <a16:creationId xmlns:a16="http://schemas.microsoft.com/office/drawing/2014/main" id="{183456C9-B9BC-4D86-81D4-75FD6166E24D}"/>
                </a:ext>
              </a:extLst>
            </p:cNvPr>
            <p:cNvSpPr/>
            <p:nvPr/>
          </p:nvSpPr>
          <p:spPr>
            <a:xfrm rot="5400000">
              <a:off x="356980" y="1773686"/>
              <a:ext cx="408403" cy="356200"/>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93" name="Rectangle: Rounded Corners 92">
            <a:extLst>
              <a:ext uri="{FF2B5EF4-FFF2-40B4-BE49-F238E27FC236}">
                <a16:creationId xmlns:a16="http://schemas.microsoft.com/office/drawing/2014/main" id="{A2F5397A-ACCF-4E95-AF62-A77D54261FC0}"/>
              </a:ext>
            </a:extLst>
          </p:cNvPr>
          <p:cNvSpPr/>
          <p:nvPr/>
        </p:nvSpPr>
        <p:spPr>
          <a:xfrm flipV="1">
            <a:off x="3189409" y="1529358"/>
            <a:ext cx="535875" cy="259170"/>
          </a:xfrm>
          <a:prstGeom prst="roundRect">
            <a:avLst/>
          </a:prstGeom>
          <a:solidFill>
            <a:schemeClr val="accent1">
              <a:alpha val="2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Rounded Corners 91">
            <a:extLst>
              <a:ext uri="{FF2B5EF4-FFF2-40B4-BE49-F238E27FC236}">
                <a16:creationId xmlns:a16="http://schemas.microsoft.com/office/drawing/2014/main" id="{2EA0F3EC-91D5-4762-93FF-A90C3980DA64}"/>
              </a:ext>
            </a:extLst>
          </p:cNvPr>
          <p:cNvSpPr/>
          <p:nvPr/>
        </p:nvSpPr>
        <p:spPr>
          <a:xfrm flipV="1">
            <a:off x="3049411" y="1424130"/>
            <a:ext cx="535875" cy="259170"/>
          </a:xfrm>
          <a:prstGeom prst="roundRect">
            <a:avLst/>
          </a:prstGeom>
          <a:solidFill>
            <a:schemeClr val="accent4">
              <a:alpha val="4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Isosceles Triangle 49">
            <a:extLst>
              <a:ext uri="{FF2B5EF4-FFF2-40B4-BE49-F238E27FC236}">
                <a16:creationId xmlns:a16="http://schemas.microsoft.com/office/drawing/2014/main" id="{38C29876-718C-452C-88FD-2248AEE1D825}"/>
              </a:ext>
            </a:extLst>
          </p:cNvPr>
          <p:cNvSpPr/>
          <p:nvPr/>
        </p:nvSpPr>
        <p:spPr>
          <a:xfrm rot="16200000" flipV="1">
            <a:off x="4042491" y="1435511"/>
            <a:ext cx="415108" cy="36939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12700">
            <a:solidFill>
              <a:schemeClr val="tx2"/>
            </a:solidFill>
            <a:miter lim="800000"/>
            <a:headEnd type="triangl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4" name="Freeform: Shape 3">
            <a:extLst>
              <a:ext uri="{FF2B5EF4-FFF2-40B4-BE49-F238E27FC236}">
                <a16:creationId xmlns:a16="http://schemas.microsoft.com/office/drawing/2014/main" id="{179839EE-0335-403A-86AD-2958096179FD}"/>
              </a:ext>
            </a:extLst>
          </p:cNvPr>
          <p:cNvSpPr/>
          <p:nvPr/>
        </p:nvSpPr>
        <p:spPr>
          <a:xfrm flipV="1">
            <a:off x="2744981" y="1620205"/>
            <a:ext cx="1317324" cy="490975"/>
          </a:xfrm>
          <a:custGeom>
            <a:avLst/>
            <a:gdLst>
              <a:gd name="connsiteX0" fmla="*/ 133350 w 3028950"/>
              <a:gd name="connsiteY0" fmla="*/ 0 h 504825"/>
              <a:gd name="connsiteX1" fmla="*/ 0 w 3028950"/>
              <a:gd name="connsiteY1" fmla="*/ 133350 h 504825"/>
              <a:gd name="connsiteX2" fmla="*/ 0 w 3028950"/>
              <a:gd name="connsiteY2" fmla="*/ 352425 h 504825"/>
              <a:gd name="connsiteX3" fmla="*/ 152400 w 3028950"/>
              <a:gd name="connsiteY3" fmla="*/ 504825 h 504825"/>
              <a:gd name="connsiteX4" fmla="*/ 3028950 w 3028950"/>
              <a:gd name="connsiteY4" fmla="*/ 504825 h 504825"/>
              <a:gd name="connsiteX0" fmla="*/ 133350 w 3028950"/>
              <a:gd name="connsiteY0" fmla="*/ 0 h 504825"/>
              <a:gd name="connsiteX1" fmla="*/ 0 w 3028950"/>
              <a:gd name="connsiteY1" fmla="*/ 133350 h 504825"/>
              <a:gd name="connsiteX2" fmla="*/ 0 w 3028950"/>
              <a:gd name="connsiteY2" fmla="*/ 352425 h 504825"/>
              <a:gd name="connsiteX3" fmla="*/ 152400 w 3028950"/>
              <a:gd name="connsiteY3" fmla="*/ 504825 h 504825"/>
              <a:gd name="connsiteX4" fmla="*/ 3028950 w 3028950"/>
              <a:gd name="connsiteY4" fmla="*/ 504825 h 504825"/>
              <a:gd name="connsiteX0" fmla="*/ 133350 w 3028950"/>
              <a:gd name="connsiteY0" fmla="*/ 0 h 504933"/>
              <a:gd name="connsiteX1" fmla="*/ 0 w 3028950"/>
              <a:gd name="connsiteY1" fmla="*/ 133350 h 504933"/>
              <a:gd name="connsiteX2" fmla="*/ 0 w 3028950"/>
              <a:gd name="connsiteY2" fmla="*/ 352425 h 504933"/>
              <a:gd name="connsiteX3" fmla="*/ 152400 w 3028950"/>
              <a:gd name="connsiteY3" fmla="*/ 504825 h 504933"/>
              <a:gd name="connsiteX4" fmla="*/ 3028950 w 3028950"/>
              <a:gd name="connsiteY4" fmla="*/ 504825 h 504933"/>
              <a:gd name="connsiteX0" fmla="*/ 133350 w 3028950"/>
              <a:gd name="connsiteY0" fmla="*/ 0 h 504967"/>
              <a:gd name="connsiteX1" fmla="*/ 0 w 3028950"/>
              <a:gd name="connsiteY1" fmla="*/ 133350 h 504967"/>
              <a:gd name="connsiteX2" fmla="*/ 0 w 3028950"/>
              <a:gd name="connsiteY2" fmla="*/ 352425 h 504967"/>
              <a:gd name="connsiteX3" fmla="*/ 152400 w 3028950"/>
              <a:gd name="connsiteY3" fmla="*/ 504825 h 504967"/>
              <a:gd name="connsiteX4" fmla="*/ 3028950 w 3028950"/>
              <a:gd name="connsiteY4" fmla="*/ 504825 h 504967"/>
              <a:gd name="connsiteX0" fmla="*/ 135731 w 3031331"/>
              <a:gd name="connsiteY0" fmla="*/ 0 h 505086"/>
              <a:gd name="connsiteX1" fmla="*/ 2381 w 3031331"/>
              <a:gd name="connsiteY1" fmla="*/ 133350 h 505086"/>
              <a:gd name="connsiteX2" fmla="*/ 0 w 3031331"/>
              <a:gd name="connsiteY2" fmla="*/ 390525 h 505086"/>
              <a:gd name="connsiteX3" fmla="*/ 154781 w 3031331"/>
              <a:gd name="connsiteY3" fmla="*/ 504825 h 505086"/>
              <a:gd name="connsiteX4" fmla="*/ 3031331 w 3031331"/>
              <a:gd name="connsiteY4" fmla="*/ 504825 h 505086"/>
              <a:gd name="connsiteX0" fmla="*/ 135731 w 3031331"/>
              <a:gd name="connsiteY0" fmla="*/ 0 h 505086"/>
              <a:gd name="connsiteX1" fmla="*/ 2381 w 3031331"/>
              <a:gd name="connsiteY1" fmla="*/ 133350 h 505086"/>
              <a:gd name="connsiteX2" fmla="*/ 0 w 3031331"/>
              <a:gd name="connsiteY2" fmla="*/ 390525 h 505086"/>
              <a:gd name="connsiteX3" fmla="*/ 154781 w 3031331"/>
              <a:gd name="connsiteY3" fmla="*/ 504825 h 505086"/>
              <a:gd name="connsiteX4" fmla="*/ 3031331 w 3031331"/>
              <a:gd name="connsiteY4" fmla="*/ 504825 h 505086"/>
              <a:gd name="connsiteX0" fmla="*/ 135731 w 3031331"/>
              <a:gd name="connsiteY0" fmla="*/ 0 h 505086"/>
              <a:gd name="connsiteX1" fmla="*/ 2381 w 3031331"/>
              <a:gd name="connsiteY1" fmla="*/ 133350 h 505086"/>
              <a:gd name="connsiteX2" fmla="*/ 0 w 3031331"/>
              <a:gd name="connsiteY2" fmla="*/ 390525 h 505086"/>
              <a:gd name="connsiteX3" fmla="*/ 154781 w 3031331"/>
              <a:gd name="connsiteY3" fmla="*/ 504825 h 505086"/>
              <a:gd name="connsiteX4" fmla="*/ 3031331 w 3031331"/>
              <a:gd name="connsiteY4" fmla="*/ 504825 h 505086"/>
              <a:gd name="connsiteX0" fmla="*/ 135731 w 3031331"/>
              <a:gd name="connsiteY0" fmla="*/ 0 h 505086"/>
              <a:gd name="connsiteX1" fmla="*/ 2381 w 3031331"/>
              <a:gd name="connsiteY1" fmla="*/ 133350 h 505086"/>
              <a:gd name="connsiteX2" fmla="*/ 0 w 3031331"/>
              <a:gd name="connsiteY2" fmla="*/ 390525 h 505086"/>
              <a:gd name="connsiteX3" fmla="*/ 154781 w 3031331"/>
              <a:gd name="connsiteY3" fmla="*/ 504825 h 505086"/>
              <a:gd name="connsiteX4" fmla="*/ 3031331 w 3031331"/>
              <a:gd name="connsiteY4" fmla="*/ 504825 h 505086"/>
              <a:gd name="connsiteX0" fmla="*/ 135731 w 3031331"/>
              <a:gd name="connsiteY0" fmla="*/ 0 h 493180"/>
              <a:gd name="connsiteX1" fmla="*/ 2381 w 3031331"/>
              <a:gd name="connsiteY1" fmla="*/ 121444 h 493180"/>
              <a:gd name="connsiteX2" fmla="*/ 0 w 3031331"/>
              <a:gd name="connsiteY2" fmla="*/ 378619 h 493180"/>
              <a:gd name="connsiteX3" fmla="*/ 154781 w 3031331"/>
              <a:gd name="connsiteY3" fmla="*/ 492919 h 493180"/>
              <a:gd name="connsiteX4" fmla="*/ 3031331 w 3031331"/>
              <a:gd name="connsiteY4" fmla="*/ 492919 h 493180"/>
              <a:gd name="connsiteX0" fmla="*/ 135731 w 3031331"/>
              <a:gd name="connsiteY0" fmla="*/ 0 h 493180"/>
              <a:gd name="connsiteX1" fmla="*/ 2381 w 3031331"/>
              <a:gd name="connsiteY1" fmla="*/ 121444 h 493180"/>
              <a:gd name="connsiteX2" fmla="*/ 0 w 3031331"/>
              <a:gd name="connsiteY2" fmla="*/ 378619 h 493180"/>
              <a:gd name="connsiteX3" fmla="*/ 154781 w 3031331"/>
              <a:gd name="connsiteY3" fmla="*/ 492919 h 493180"/>
              <a:gd name="connsiteX4" fmla="*/ 3031331 w 3031331"/>
              <a:gd name="connsiteY4" fmla="*/ 492919 h 493180"/>
              <a:gd name="connsiteX0" fmla="*/ 145256 w 3031331"/>
              <a:gd name="connsiteY0" fmla="*/ 0 h 490799"/>
              <a:gd name="connsiteX1" fmla="*/ 2381 w 3031331"/>
              <a:gd name="connsiteY1" fmla="*/ 119063 h 490799"/>
              <a:gd name="connsiteX2" fmla="*/ 0 w 3031331"/>
              <a:gd name="connsiteY2" fmla="*/ 376238 h 490799"/>
              <a:gd name="connsiteX3" fmla="*/ 154781 w 3031331"/>
              <a:gd name="connsiteY3" fmla="*/ 490538 h 490799"/>
              <a:gd name="connsiteX4" fmla="*/ 3031331 w 3031331"/>
              <a:gd name="connsiteY4" fmla="*/ 490538 h 490799"/>
              <a:gd name="connsiteX0" fmla="*/ 145256 w 3031331"/>
              <a:gd name="connsiteY0" fmla="*/ 176 h 490975"/>
              <a:gd name="connsiteX1" fmla="*/ 2381 w 3031331"/>
              <a:gd name="connsiteY1" fmla="*/ 119239 h 490975"/>
              <a:gd name="connsiteX2" fmla="*/ 0 w 3031331"/>
              <a:gd name="connsiteY2" fmla="*/ 376414 h 490975"/>
              <a:gd name="connsiteX3" fmla="*/ 154781 w 3031331"/>
              <a:gd name="connsiteY3" fmla="*/ 490714 h 490975"/>
              <a:gd name="connsiteX4" fmla="*/ 3031331 w 3031331"/>
              <a:gd name="connsiteY4" fmla="*/ 490714 h 49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1331" h="490975">
                <a:moveTo>
                  <a:pt x="145256" y="176"/>
                </a:moveTo>
                <a:cubicBezTo>
                  <a:pt x="69849" y="-2998"/>
                  <a:pt x="3968" y="36689"/>
                  <a:pt x="2381" y="119239"/>
                </a:cubicBezTo>
                <a:cubicBezTo>
                  <a:pt x="1587" y="204964"/>
                  <a:pt x="794" y="290689"/>
                  <a:pt x="0" y="376414"/>
                </a:cubicBezTo>
                <a:cubicBezTo>
                  <a:pt x="794" y="453408"/>
                  <a:pt x="70643" y="494682"/>
                  <a:pt x="154781" y="490714"/>
                </a:cubicBezTo>
                <a:lnTo>
                  <a:pt x="3031331" y="490714"/>
                </a:lnTo>
              </a:path>
            </a:pathLst>
          </a:custGeom>
          <a:no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Isosceles Triangle 49">
            <a:extLst>
              <a:ext uri="{FF2B5EF4-FFF2-40B4-BE49-F238E27FC236}">
                <a16:creationId xmlns:a16="http://schemas.microsoft.com/office/drawing/2014/main" id="{5059EB48-17E6-4179-AB1D-696CA89606ED}"/>
              </a:ext>
            </a:extLst>
          </p:cNvPr>
          <p:cNvSpPr/>
          <p:nvPr/>
        </p:nvSpPr>
        <p:spPr>
          <a:xfrm rot="16200000" flipV="1">
            <a:off x="4106010" y="1374071"/>
            <a:ext cx="356089" cy="31057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2">
              <a:alpha val="60000"/>
            </a:schemeClr>
          </a:solidFill>
          <a:ln w="12700">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95" name="TextBox 94">
            <a:extLst>
              <a:ext uri="{FF2B5EF4-FFF2-40B4-BE49-F238E27FC236}">
                <a16:creationId xmlns:a16="http://schemas.microsoft.com/office/drawing/2014/main" id="{14CDED95-89D4-4974-96B4-BDC6B4F0FD41}"/>
              </a:ext>
            </a:extLst>
          </p:cNvPr>
          <p:cNvSpPr txBox="1"/>
          <p:nvPr/>
        </p:nvSpPr>
        <p:spPr>
          <a:xfrm>
            <a:off x="4643183" y="1303474"/>
            <a:ext cx="4197239" cy="562178"/>
          </a:xfrm>
          <a:prstGeom prst="rect">
            <a:avLst/>
          </a:prstGeom>
        </p:spPr>
        <p:txBody>
          <a:bodyPr wrap="square" lIns="0" tIns="0" rIns="0" bIns="0" anchor="b">
            <a:noAutofit/>
          </a:bodyPr>
          <a:lstStyle>
            <a:defPPr>
              <a:defRPr lang="en-US"/>
            </a:defPPr>
            <a:lvl1pPr algn="ctr" defTabSz="456752">
              <a:defRPr sz="1100">
                <a:solidFill>
                  <a:srgbClr val="676767"/>
                </a:solidFill>
                <a:cs typeface="CiscoSans ExtraLight"/>
              </a:defRPr>
            </a:lvl1pPr>
          </a:lstStyle>
          <a:p>
            <a:pPr marL="0" marR="0" lvl="0" indent="0" algn="l" defTabSz="342548" eaLnBrk="1" fontAlgn="auto" latinLnBrk="0" hangingPunct="1">
              <a:lnSpc>
                <a:spcPct val="100000"/>
              </a:lnSpc>
              <a:spcBef>
                <a:spcPts val="4050"/>
              </a:spcBef>
              <a:spcAft>
                <a:spcPts val="0"/>
              </a:spcAft>
              <a:buClrTx/>
              <a:buSzTx/>
              <a:buFontTx/>
              <a:buNone/>
              <a:tabLst/>
              <a:defRPr/>
            </a:pPr>
            <a:r>
              <a:rPr lang="en-US" sz="2000" kern="0">
                <a:solidFill>
                  <a:schemeClr val="accent1"/>
                </a:solidFill>
                <a:latin typeface="CiscoSansTT" panose="020B0503020201020303" pitchFamily="34" charset="0"/>
              </a:rPr>
              <a:t>Get started with a free trial today</a:t>
            </a:r>
            <a:br>
              <a:rPr lang="en-US" sz="2000" kern="0">
                <a:solidFill>
                  <a:schemeClr val="accent2"/>
                </a:solidFill>
                <a:latin typeface="CiscoSansTT" panose="020B0503020201020303" pitchFamily="34" charset="0"/>
              </a:rPr>
            </a:br>
            <a:r>
              <a:rPr lang="en-US" sz="1600" kern="0">
                <a:solidFill>
                  <a:schemeClr val="bg2"/>
                </a:solidFill>
                <a:latin typeface="+mn-lt"/>
              </a:rPr>
              <a:t>cisco.com/go/</a:t>
            </a:r>
            <a:r>
              <a:rPr lang="en-US" sz="1600" kern="0" err="1">
                <a:solidFill>
                  <a:schemeClr val="bg2"/>
                </a:solidFill>
                <a:latin typeface="+mn-lt"/>
              </a:rPr>
              <a:t>securityfreetrials</a:t>
            </a:r>
            <a:endParaRPr lang="en-US" sz="1600" kern="0">
              <a:solidFill>
                <a:schemeClr val="bg2"/>
              </a:solidFill>
              <a:latin typeface="+mn-lt"/>
            </a:endParaRPr>
          </a:p>
        </p:txBody>
      </p:sp>
      <p:sp>
        <p:nvSpPr>
          <p:cNvPr id="96" name="TextBox 95">
            <a:extLst>
              <a:ext uri="{FF2B5EF4-FFF2-40B4-BE49-F238E27FC236}">
                <a16:creationId xmlns:a16="http://schemas.microsoft.com/office/drawing/2014/main" id="{C8FBCDFA-BBE5-4E38-A42D-ADAB8F257E41}"/>
              </a:ext>
            </a:extLst>
          </p:cNvPr>
          <p:cNvSpPr txBox="1"/>
          <p:nvPr/>
        </p:nvSpPr>
        <p:spPr>
          <a:xfrm>
            <a:off x="4643183" y="2637434"/>
            <a:ext cx="4436667" cy="1107996"/>
          </a:xfrm>
          <a:prstGeom prst="rect">
            <a:avLst/>
          </a:prstGeom>
          <a:noFill/>
        </p:spPr>
        <p:txBody>
          <a:bodyPr wrap="square" lIns="0" tIns="0" rIns="0" bIns="0" rtlCol="0">
            <a:spAutoFit/>
          </a:bodyPr>
          <a:lstStyle/>
          <a:p>
            <a:r>
              <a:rPr lang="en-US" sz="2000" kern="0">
                <a:solidFill>
                  <a:schemeClr val="accent2"/>
                </a:solidFill>
                <a:latin typeface="CiscoSansTT" panose="020B0503020201020303" pitchFamily="34" charset="0"/>
              </a:rPr>
              <a:t>Do you already have a </a:t>
            </a:r>
            <a:br>
              <a:rPr lang="en-US" sz="2000" kern="0">
                <a:solidFill>
                  <a:schemeClr val="accent2"/>
                </a:solidFill>
                <a:latin typeface="CiscoSansTT" panose="020B0503020201020303" pitchFamily="34" charset="0"/>
              </a:rPr>
            </a:br>
            <a:r>
              <a:rPr lang="en-US" sz="2000" kern="0">
                <a:solidFill>
                  <a:schemeClr val="accent2"/>
                </a:solidFill>
                <a:latin typeface="CiscoSansTT" panose="020B0503020201020303" pitchFamily="34" charset="0"/>
              </a:rPr>
              <a:t>Cisco Security solution? </a:t>
            </a:r>
            <a:br>
              <a:rPr lang="en-US" sz="1600" kern="0">
                <a:solidFill>
                  <a:schemeClr val="bg2"/>
                </a:solidFill>
                <a:latin typeface="+mn-lt"/>
              </a:rPr>
            </a:br>
            <a:r>
              <a:rPr lang="en-US" sz="1600" kern="0">
                <a:solidFill>
                  <a:schemeClr val="bg2"/>
                </a:solidFill>
                <a:latin typeface="+mn-lt"/>
              </a:rPr>
              <a:t>Unlock its potential with </a:t>
            </a:r>
            <a:r>
              <a:rPr lang="en-US" sz="1600" kern="0" err="1">
                <a:solidFill>
                  <a:schemeClr val="bg2"/>
                </a:solidFill>
                <a:latin typeface="+mn-lt"/>
              </a:rPr>
              <a:t>SecureX</a:t>
            </a:r>
            <a:endParaRPr lang="en-US" sz="1600" kern="0">
              <a:solidFill>
                <a:schemeClr val="bg2"/>
              </a:solidFill>
              <a:latin typeface="+mn-lt"/>
            </a:endParaRPr>
          </a:p>
          <a:p>
            <a:r>
              <a:rPr lang="en-US" sz="1600" kern="0">
                <a:solidFill>
                  <a:schemeClr val="bg2"/>
                </a:solidFill>
                <a:latin typeface="+mn-lt"/>
              </a:rPr>
              <a:t>cisco.com/go/</a:t>
            </a:r>
            <a:r>
              <a:rPr lang="en-US" sz="1600" kern="0" err="1">
                <a:solidFill>
                  <a:schemeClr val="bg2"/>
                </a:solidFill>
                <a:latin typeface="+mn-lt"/>
              </a:rPr>
              <a:t>securex</a:t>
            </a:r>
            <a:endParaRPr lang="en-US" sz="1600" kern="0">
              <a:solidFill>
                <a:schemeClr val="bg2"/>
              </a:solidFill>
              <a:latin typeface="+mn-lt"/>
            </a:endParaRPr>
          </a:p>
        </p:txBody>
      </p:sp>
      <p:grpSp>
        <p:nvGrpSpPr>
          <p:cNvPr id="11" name="Group 10">
            <a:extLst>
              <a:ext uri="{FF2B5EF4-FFF2-40B4-BE49-F238E27FC236}">
                <a16:creationId xmlns:a16="http://schemas.microsoft.com/office/drawing/2014/main" id="{ED18AB90-7501-48D7-BA34-88A47621A4BF}"/>
              </a:ext>
            </a:extLst>
          </p:cNvPr>
          <p:cNvGrpSpPr/>
          <p:nvPr/>
        </p:nvGrpSpPr>
        <p:grpSpPr>
          <a:xfrm>
            <a:off x="4065347" y="2840795"/>
            <a:ext cx="373995" cy="476450"/>
            <a:chOff x="4217747" y="1503713"/>
            <a:chExt cx="373995" cy="476450"/>
          </a:xfrm>
        </p:grpSpPr>
        <p:sp>
          <p:nvSpPr>
            <p:cNvPr id="97" name="Isosceles Triangle 49">
              <a:extLst>
                <a:ext uri="{FF2B5EF4-FFF2-40B4-BE49-F238E27FC236}">
                  <a16:creationId xmlns:a16="http://schemas.microsoft.com/office/drawing/2014/main" id="{542BB90D-124F-45FE-B96D-6C2C3E6603F0}"/>
                </a:ext>
              </a:extLst>
            </p:cNvPr>
            <p:cNvSpPr/>
            <p:nvPr/>
          </p:nvSpPr>
          <p:spPr>
            <a:xfrm rot="16200000" flipV="1">
              <a:off x="4194891" y="1587911"/>
              <a:ext cx="415108" cy="36939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12700">
              <a:solidFill>
                <a:schemeClr val="tx2"/>
              </a:solidFill>
              <a:miter lim="800000"/>
              <a:headEnd type="triangl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lt1"/>
                </a:solidFill>
              </a:endParaRPr>
            </a:p>
          </p:txBody>
        </p:sp>
        <p:sp>
          <p:nvSpPr>
            <p:cNvPr id="98" name="Isosceles Triangle 49">
              <a:extLst>
                <a:ext uri="{FF2B5EF4-FFF2-40B4-BE49-F238E27FC236}">
                  <a16:creationId xmlns:a16="http://schemas.microsoft.com/office/drawing/2014/main" id="{0ED75E80-AADC-4DBF-850D-C9361B789EE3}"/>
                </a:ext>
              </a:extLst>
            </p:cNvPr>
            <p:cNvSpPr/>
            <p:nvPr/>
          </p:nvSpPr>
          <p:spPr>
            <a:xfrm rot="16200000" flipV="1">
              <a:off x="4258410" y="1526471"/>
              <a:ext cx="356089" cy="31057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2">
                <a:alpha val="60000"/>
              </a:schemeClr>
            </a:solidFill>
            <a:ln w="12700">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spTree>
    <p:extLst>
      <p:ext uri="{BB962C8B-B14F-4D97-AF65-F5344CB8AC3E}">
        <p14:creationId xmlns:p14="http://schemas.microsoft.com/office/powerpoint/2010/main" val="27162202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9" name="Group 578">
            <a:extLst>
              <a:ext uri="{FF2B5EF4-FFF2-40B4-BE49-F238E27FC236}">
                <a16:creationId xmlns:a16="http://schemas.microsoft.com/office/drawing/2014/main" id="{E81722C4-AECC-43F5-8950-7A8CD705E787}"/>
              </a:ext>
            </a:extLst>
          </p:cNvPr>
          <p:cNvGrpSpPr/>
          <p:nvPr/>
        </p:nvGrpSpPr>
        <p:grpSpPr>
          <a:xfrm>
            <a:off x="-51376" y="1015826"/>
            <a:ext cx="3381722" cy="3111849"/>
            <a:chOff x="-51376" y="13899"/>
            <a:chExt cx="3381722" cy="3111849"/>
          </a:xfrm>
        </p:grpSpPr>
        <p:sp>
          <p:nvSpPr>
            <p:cNvPr id="3" name="Rectangle 2">
              <a:extLst>
                <a:ext uri="{FF2B5EF4-FFF2-40B4-BE49-F238E27FC236}">
                  <a16:creationId xmlns:a16="http://schemas.microsoft.com/office/drawing/2014/main" id="{8B4EF5DC-5DF7-413C-8E92-4A7A18622A74}"/>
                </a:ext>
              </a:extLst>
            </p:cNvPr>
            <p:cNvSpPr/>
            <p:nvPr/>
          </p:nvSpPr>
          <p:spPr>
            <a:xfrm>
              <a:off x="531179" y="2017752"/>
              <a:ext cx="2635926" cy="1107996"/>
            </a:xfrm>
            <a:prstGeom prst="rect">
              <a:avLst/>
            </a:prstGeom>
          </p:spPr>
          <p:txBody>
            <a:bodyPr wrap="square" lIns="0" tIns="0" rIns="0" bIns="0" anchor="ctr">
              <a:spAutoFit/>
            </a:bodyPr>
            <a:lstStyle/>
            <a:p>
              <a:pPr lvl="0">
                <a:defRPr/>
              </a:pPr>
              <a:r>
                <a:rPr lang="en-US" sz="2400">
                  <a:solidFill>
                    <a:schemeClr val="bg2"/>
                  </a:solidFill>
                  <a:latin typeface="+mn-lt"/>
                </a:rPr>
                <a:t>Cisco is a recognized leader in security</a:t>
              </a:r>
            </a:p>
          </p:txBody>
        </p:sp>
        <p:grpSp>
          <p:nvGrpSpPr>
            <p:cNvPr id="178" name="Group 177">
              <a:extLst>
                <a:ext uri="{FF2B5EF4-FFF2-40B4-BE49-F238E27FC236}">
                  <a16:creationId xmlns:a16="http://schemas.microsoft.com/office/drawing/2014/main" id="{B7CF5D80-A062-4B8C-8801-3F4CA703B93A}"/>
                </a:ext>
              </a:extLst>
            </p:cNvPr>
            <p:cNvGrpSpPr/>
            <p:nvPr/>
          </p:nvGrpSpPr>
          <p:grpSpPr>
            <a:xfrm>
              <a:off x="-51376" y="13899"/>
              <a:ext cx="3381722" cy="1974634"/>
              <a:chOff x="1279178" y="689610"/>
              <a:chExt cx="6545112" cy="3821780"/>
            </a:xfrm>
          </p:grpSpPr>
          <p:grpSp>
            <p:nvGrpSpPr>
              <p:cNvPr id="179" name="Group 178">
                <a:extLst>
                  <a:ext uri="{FF2B5EF4-FFF2-40B4-BE49-F238E27FC236}">
                    <a16:creationId xmlns:a16="http://schemas.microsoft.com/office/drawing/2014/main" id="{12905CB4-1B86-4B52-9EA0-315E9C2D6E7C}"/>
                  </a:ext>
                </a:extLst>
              </p:cNvPr>
              <p:cNvGrpSpPr/>
              <p:nvPr/>
            </p:nvGrpSpPr>
            <p:grpSpPr>
              <a:xfrm>
                <a:off x="3128884" y="1033235"/>
                <a:ext cx="3508621" cy="3467308"/>
                <a:chOff x="3128884" y="1033235"/>
                <a:chExt cx="3508621" cy="3467308"/>
              </a:xfrm>
            </p:grpSpPr>
            <p:sp>
              <p:nvSpPr>
                <p:cNvPr id="350" name="Freeform: Shape 349">
                  <a:extLst>
                    <a:ext uri="{FF2B5EF4-FFF2-40B4-BE49-F238E27FC236}">
                      <a16:creationId xmlns:a16="http://schemas.microsoft.com/office/drawing/2014/main" id="{A246EB0A-CF43-4DE9-9503-92B28EA841A9}"/>
                    </a:ext>
                  </a:extLst>
                </p:cNvPr>
                <p:cNvSpPr/>
                <p:nvPr/>
              </p:nvSpPr>
              <p:spPr>
                <a:xfrm>
                  <a:off x="3607233" y="3823907"/>
                  <a:ext cx="3030272" cy="676636"/>
                </a:xfrm>
                <a:custGeom>
                  <a:avLst/>
                  <a:gdLst>
                    <a:gd name="connsiteX0" fmla="*/ 2983897 w 3030272"/>
                    <a:gd name="connsiteY0" fmla="*/ 676636 h 676636"/>
                    <a:gd name="connsiteX1" fmla="*/ 46375 w 3030272"/>
                    <a:gd name="connsiteY1" fmla="*/ 676636 h 676636"/>
                    <a:gd name="connsiteX2" fmla="*/ 0 w 3030272"/>
                    <a:gd name="connsiteY2" fmla="*/ 630261 h 676636"/>
                    <a:gd name="connsiteX3" fmla="*/ 0 w 3030272"/>
                    <a:gd name="connsiteY3" fmla="*/ 46376 h 676636"/>
                    <a:gd name="connsiteX4" fmla="*/ 46375 w 3030272"/>
                    <a:gd name="connsiteY4" fmla="*/ 0 h 676636"/>
                    <a:gd name="connsiteX5" fmla="*/ 2983897 w 3030272"/>
                    <a:gd name="connsiteY5" fmla="*/ 0 h 676636"/>
                    <a:gd name="connsiteX6" fmla="*/ 3030272 w 3030272"/>
                    <a:gd name="connsiteY6" fmla="*/ 46376 h 676636"/>
                    <a:gd name="connsiteX7" fmla="*/ 3030272 w 3030272"/>
                    <a:gd name="connsiteY7" fmla="*/ 630261 h 676636"/>
                    <a:gd name="connsiteX8" fmla="*/ 2983897 w 3030272"/>
                    <a:gd name="connsiteY8" fmla="*/ 676636 h 676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0272" h="676636">
                      <a:moveTo>
                        <a:pt x="2983897" y="676636"/>
                      </a:moveTo>
                      <a:lnTo>
                        <a:pt x="46375" y="676636"/>
                      </a:lnTo>
                      <a:cubicBezTo>
                        <a:pt x="20748" y="676636"/>
                        <a:pt x="0" y="655888"/>
                        <a:pt x="0" y="630261"/>
                      </a:cubicBezTo>
                      <a:lnTo>
                        <a:pt x="0" y="46376"/>
                      </a:lnTo>
                      <a:cubicBezTo>
                        <a:pt x="0" y="20748"/>
                        <a:pt x="20748" y="0"/>
                        <a:pt x="46375" y="0"/>
                      </a:cubicBezTo>
                      <a:lnTo>
                        <a:pt x="2983897" y="0"/>
                      </a:lnTo>
                      <a:cubicBezTo>
                        <a:pt x="3009524" y="0"/>
                        <a:pt x="3030272" y="20748"/>
                        <a:pt x="3030272" y="46376"/>
                      </a:cubicBezTo>
                      <a:lnTo>
                        <a:pt x="3030272" y="630261"/>
                      </a:lnTo>
                      <a:cubicBezTo>
                        <a:pt x="3030272" y="655841"/>
                        <a:pt x="3009477" y="676636"/>
                        <a:pt x="2983897" y="676636"/>
                      </a:cubicBezTo>
                      <a:close/>
                    </a:path>
                  </a:pathLst>
                </a:custGeom>
                <a:solidFill>
                  <a:srgbClr val="00BCEB"/>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pic>
              <p:nvPicPr>
                <p:cNvPr id="351" name="Picture 350" descr="A picture containing tower, black, white, clock&#10;&#10;Description automatically generated">
                  <a:extLst>
                    <a:ext uri="{FF2B5EF4-FFF2-40B4-BE49-F238E27FC236}">
                      <a16:creationId xmlns:a16="http://schemas.microsoft.com/office/drawing/2014/main" id="{11210815-6F2C-441C-8F70-B8CE1F0E08D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128884" y="1033235"/>
                  <a:ext cx="2890316" cy="3383841"/>
                </a:xfrm>
                <a:prstGeom prst="rect">
                  <a:avLst/>
                </a:prstGeom>
              </p:spPr>
            </p:pic>
          </p:grpSp>
          <p:pic>
            <p:nvPicPr>
              <p:cNvPr id="180" name="Picture 179" descr="A picture containing tower, black, white, clock&#10;&#10;Description automatically generated">
                <a:extLst>
                  <a:ext uri="{FF2B5EF4-FFF2-40B4-BE49-F238E27FC236}">
                    <a16:creationId xmlns:a16="http://schemas.microsoft.com/office/drawing/2014/main" id="{955A3ECF-3E8A-401B-808A-3E86DD000ED7}"/>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brightnessContrast bright="-30000"/>
                        </a14:imgEffect>
                      </a14:imgLayer>
                    </a14:imgProps>
                  </a:ext>
                  <a:ext uri="{28A0092B-C50C-407E-A947-70E740481C1C}">
                    <a14:useLocalDpi xmlns:a14="http://schemas.microsoft.com/office/drawing/2010/main"/>
                  </a:ext>
                </a:extLst>
              </a:blip>
              <a:srcRect/>
              <a:stretch/>
            </p:blipFill>
            <p:spPr>
              <a:xfrm>
                <a:off x="3607234" y="3823907"/>
                <a:ext cx="2411967" cy="593169"/>
              </a:xfrm>
              <a:custGeom>
                <a:avLst/>
                <a:gdLst>
                  <a:gd name="connsiteX0" fmla="*/ 46375 w 2411967"/>
                  <a:gd name="connsiteY0" fmla="*/ 0 h 593169"/>
                  <a:gd name="connsiteX1" fmla="*/ 2411967 w 2411967"/>
                  <a:gd name="connsiteY1" fmla="*/ 0 h 593169"/>
                  <a:gd name="connsiteX2" fmla="*/ 2411967 w 2411967"/>
                  <a:gd name="connsiteY2" fmla="*/ 593169 h 593169"/>
                  <a:gd name="connsiteX3" fmla="*/ 0 w 2411967"/>
                  <a:gd name="connsiteY3" fmla="*/ 593169 h 593169"/>
                  <a:gd name="connsiteX4" fmla="*/ 0 w 2411967"/>
                  <a:gd name="connsiteY4" fmla="*/ 46376 h 593169"/>
                  <a:gd name="connsiteX5" fmla="*/ 46375 w 2411967"/>
                  <a:gd name="connsiteY5" fmla="*/ 0 h 59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1967" h="593169">
                    <a:moveTo>
                      <a:pt x="46375" y="0"/>
                    </a:moveTo>
                    <a:lnTo>
                      <a:pt x="2411967" y="0"/>
                    </a:lnTo>
                    <a:lnTo>
                      <a:pt x="2411967" y="593169"/>
                    </a:lnTo>
                    <a:lnTo>
                      <a:pt x="0" y="593169"/>
                    </a:lnTo>
                    <a:lnTo>
                      <a:pt x="0" y="46376"/>
                    </a:lnTo>
                    <a:cubicBezTo>
                      <a:pt x="0" y="20748"/>
                      <a:pt x="20748" y="0"/>
                      <a:pt x="46375" y="0"/>
                    </a:cubicBezTo>
                    <a:close/>
                  </a:path>
                </a:pathLst>
              </a:custGeom>
            </p:spPr>
          </p:pic>
          <p:sp>
            <p:nvSpPr>
              <p:cNvPr id="181" name="Freeform: Shape 180">
                <a:extLst>
                  <a:ext uri="{FF2B5EF4-FFF2-40B4-BE49-F238E27FC236}">
                    <a16:creationId xmlns:a16="http://schemas.microsoft.com/office/drawing/2014/main" id="{E9394392-5FD9-473D-B734-5D3CB7821D88}"/>
                  </a:ext>
                </a:extLst>
              </p:cNvPr>
              <p:cNvSpPr/>
              <p:nvPr/>
            </p:nvSpPr>
            <p:spPr>
              <a:xfrm>
                <a:off x="5747675" y="985650"/>
                <a:ext cx="705636" cy="658801"/>
              </a:xfrm>
              <a:custGeom>
                <a:avLst/>
                <a:gdLst>
                  <a:gd name="connsiteX0" fmla="*/ 310398 w 705636"/>
                  <a:gd name="connsiteY0" fmla="*/ 24514 h 658801"/>
                  <a:gd name="connsiteX1" fmla="*/ 10355 w 705636"/>
                  <a:gd name="connsiteY1" fmla="*/ 544213 h 658801"/>
                  <a:gd name="connsiteX2" fmla="*/ 76531 w 705636"/>
                  <a:gd name="connsiteY2" fmla="*/ 658801 h 658801"/>
                  <a:gd name="connsiteX3" fmla="*/ 629105 w 705636"/>
                  <a:gd name="connsiteY3" fmla="*/ 658801 h 658801"/>
                  <a:gd name="connsiteX4" fmla="*/ 695281 w 705636"/>
                  <a:gd name="connsiteY4" fmla="*/ 544213 h 658801"/>
                  <a:gd name="connsiteX5" fmla="*/ 395238 w 705636"/>
                  <a:gd name="connsiteY5" fmla="*/ 24514 h 658801"/>
                  <a:gd name="connsiteX6" fmla="*/ 310398 w 705636"/>
                  <a:gd name="connsiteY6" fmla="*/ 24514 h 65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5636" h="658801">
                    <a:moveTo>
                      <a:pt x="310398" y="24514"/>
                    </a:moveTo>
                    <a:lnTo>
                      <a:pt x="10355" y="544213"/>
                    </a:lnTo>
                    <a:cubicBezTo>
                      <a:pt x="-19062" y="595136"/>
                      <a:pt x="17697" y="658801"/>
                      <a:pt x="76531" y="658801"/>
                    </a:cubicBezTo>
                    <a:lnTo>
                      <a:pt x="629105" y="658801"/>
                    </a:lnTo>
                    <a:cubicBezTo>
                      <a:pt x="687939" y="658801"/>
                      <a:pt x="724698" y="595136"/>
                      <a:pt x="695281" y="544213"/>
                    </a:cubicBezTo>
                    <a:lnTo>
                      <a:pt x="395238" y="24514"/>
                    </a:lnTo>
                    <a:cubicBezTo>
                      <a:pt x="376385" y="-8171"/>
                      <a:pt x="329251" y="-8171"/>
                      <a:pt x="310398" y="24514"/>
                    </a:cubicBezTo>
                    <a:close/>
                  </a:path>
                </a:pathLst>
              </a:custGeom>
              <a:solidFill>
                <a:srgbClr val="74BF4B"/>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2" name="Freeform: Shape 181">
                <a:extLst>
                  <a:ext uri="{FF2B5EF4-FFF2-40B4-BE49-F238E27FC236}">
                    <a16:creationId xmlns:a16="http://schemas.microsoft.com/office/drawing/2014/main" id="{28376BE8-3743-4EE6-A178-09B8645E1E0F}"/>
                  </a:ext>
                </a:extLst>
              </p:cNvPr>
              <p:cNvSpPr/>
              <p:nvPr/>
            </p:nvSpPr>
            <p:spPr>
              <a:xfrm>
                <a:off x="5877973" y="1448670"/>
                <a:ext cx="444974" cy="415448"/>
              </a:xfrm>
              <a:custGeom>
                <a:avLst/>
                <a:gdLst>
                  <a:gd name="connsiteX0" fmla="*/ 195780 w 444974"/>
                  <a:gd name="connsiteY0" fmla="*/ 399994 h 415448"/>
                  <a:gd name="connsiteX1" fmla="*/ 6536 w 444974"/>
                  <a:gd name="connsiteY1" fmla="*/ 72287 h 415448"/>
                  <a:gd name="connsiteX2" fmla="*/ 48269 w 444974"/>
                  <a:gd name="connsiteY2" fmla="*/ 0 h 415448"/>
                  <a:gd name="connsiteX3" fmla="*/ 396724 w 444974"/>
                  <a:gd name="connsiteY3" fmla="*/ 0 h 415448"/>
                  <a:gd name="connsiteX4" fmla="*/ 438458 w 444974"/>
                  <a:gd name="connsiteY4" fmla="*/ 72287 h 415448"/>
                  <a:gd name="connsiteX5" fmla="*/ 249261 w 444974"/>
                  <a:gd name="connsiteY5" fmla="*/ 399994 h 415448"/>
                  <a:gd name="connsiteX6" fmla="*/ 195780 w 444974"/>
                  <a:gd name="connsiteY6" fmla="*/ 399994 h 415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974" h="415448">
                    <a:moveTo>
                      <a:pt x="195780" y="399994"/>
                    </a:moveTo>
                    <a:lnTo>
                      <a:pt x="6536" y="72287"/>
                    </a:lnTo>
                    <a:cubicBezTo>
                      <a:pt x="-12033" y="40170"/>
                      <a:pt x="11178" y="0"/>
                      <a:pt x="48269" y="0"/>
                    </a:cubicBezTo>
                    <a:lnTo>
                      <a:pt x="396724" y="0"/>
                    </a:lnTo>
                    <a:cubicBezTo>
                      <a:pt x="433815" y="0"/>
                      <a:pt x="456979" y="40170"/>
                      <a:pt x="438458" y="72287"/>
                    </a:cubicBezTo>
                    <a:lnTo>
                      <a:pt x="249261" y="399994"/>
                    </a:lnTo>
                    <a:cubicBezTo>
                      <a:pt x="237371" y="420600"/>
                      <a:pt x="207670" y="420600"/>
                      <a:pt x="195780" y="399994"/>
                    </a:cubicBezTo>
                    <a:close/>
                  </a:path>
                </a:pathLst>
              </a:custGeom>
              <a:solidFill>
                <a:srgbClr val="0D274D"/>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3" name="Freeform: Shape 182">
                <a:extLst>
                  <a:ext uri="{FF2B5EF4-FFF2-40B4-BE49-F238E27FC236}">
                    <a16:creationId xmlns:a16="http://schemas.microsoft.com/office/drawing/2014/main" id="{C13C83DB-9A65-4B3F-ADE9-8458AA4F9172}"/>
                  </a:ext>
                </a:extLst>
              </p:cNvPr>
              <p:cNvSpPr/>
              <p:nvPr/>
            </p:nvSpPr>
            <p:spPr>
              <a:xfrm>
                <a:off x="6574598" y="1344550"/>
                <a:ext cx="598664" cy="80434"/>
              </a:xfrm>
              <a:custGeom>
                <a:avLst/>
                <a:gdLst>
                  <a:gd name="connsiteX0" fmla="*/ 0 w 598664"/>
                  <a:gd name="connsiteY0" fmla="*/ 40217 h 80434"/>
                  <a:gd name="connsiteX1" fmla="*/ 0 w 598664"/>
                  <a:gd name="connsiteY1" fmla="*/ 40217 h 80434"/>
                  <a:gd name="connsiteX2" fmla="*/ 40217 w 598664"/>
                  <a:gd name="connsiteY2" fmla="*/ 0 h 80434"/>
                  <a:gd name="connsiteX3" fmla="*/ 558447 w 598664"/>
                  <a:gd name="connsiteY3" fmla="*/ 0 h 80434"/>
                  <a:gd name="connsiteX4" fmla="*/ 598665 w 598664"/>
                  <a:gd name="connsiteY4" fmla="*/ 40217 h 80434"/>
                  <a:gd name="connsiteX5" fmla="*/ 598665 w 598664"/>
                  <a:gd name="connsiteY5" fmla="*/ 40217 h 80434"/>
                  <a:gd name="connsiteX6" fmla="*/ 558447 w 598664"/>
                  <a:gd name="connsiteY6" fmla="*/ 80435 h 80434"/>
                  <a:gd name="connsiteX7" fmla="*/ 40217 w 598664"/>
                  <a:gd name="connsiteY7" fmla="*/ 80435 h 80434"/>
                  <a:gd name="connsiteX8" fmla="*/ 0 w 598664"/>
                  <a:gd name="connsiteY8" fmla="*/ 40217 h 80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664" h="80434">
                    <a:moveTo>
                      <a:pt x="0" y="40217"/>
                    </a:moveTo>
                    <a:lnTo>
                      <a:pt x="0" y="40217"/>
                    </a:lnTo>
                    <a:cubicBezTo>
                      <a:pt x="0" y="18001"/>
                      <a:pt x="18001" y="0"/>
                      <a:pt x="40217" y="0"/>
                    </a:cubicBezTo>
                    <a:lnTo>
                      <a:pt x="558447" y="0"/>
                    </a:lnTo>
                    <a:cubicBezTo>
                      <a:pt x="580664" y="0"/>
                      <a:pt x="598665" y="18001"/>
                      <a:pt x="598665" y="40217"/>
                    </a:cubicBezTo>
                    <a:lnTo>
                      <a:pt x="598665" y="40217"/>
                    </a:lnTo>
                    <a:cubicBezTo>
                      <a:pt x="598665" y="62434"/>
                      <a:pt x="580664" y="80435"/>
                      <a:pt x="558447" y="80435"/>
                    </a:cubicBezTo>
                    <a:lnTo>
                      <a:pt x="40217" y="80435"/>
                    </a:lnTo>
                    <a:cubicBezTo>
                      <a:pt x="18001" y="80435"/>
                      <a:pt x="0" y="62434"/>
                      <a:pt x="0" y="40217"/>
                    </a:cubicBezTo>
                    <a:close/>
                  </a:path>
                </a:pathLst>
              </a:custGeom>
              <a:solidFill>
                <a:srgbClr val="0D274D"/>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4" name="Freeform: Shape 183">
                <a:extLst>
                  <a:ext uri="{FF2B5EF4-FFF2-40B4-BE49-F238E27FC236}">
                    <a16:creationId xmlns:a16="http://schemas.microsoft.com/office/drawing/2014/main" id="{1EFC3E08-1D07-4B4B-B2E6-BAA991BD154E}"/>
                  </a:ext>
                </a:extLst>
              </p:cNvPr>
              <p:cNvSpPr/>
              <p:nvPr/>
            </p:nvSpPr>
            <p:spPr>
              <a:xfrm>
                <a:off x="3661899" y="689610"/>
                <a:ext cx="1804520" cy="2222278"/>
              </a:xfrm>
              <a:custGeom>
                <a:avLst/>
                <a:gdLst>
                  <a:gd name="connsiteX0" fmla="*/ 902260 w 1804520"/>
                  <a:gd name="connsiteY0" fmla="*/ 2222279 h 2222278"/>
                  <a:gd name="connsiteX1" fmla="*/ 871233 w 1804520"/>
                  <a:gd name="connsiteY1" fmla="*/ 2209773 h 2222278"/>
                  <a:gd name="connsiteX2" fmla="*/ 5732 w 1804520"/>
                  <a:gd name="connsiteY2" fmla="*/ 1378236 h 2222278"/>
                  <a:gd name="connsiteX3" fmla="*/ 0 w 1804520"/>
                  <a:gd name="connsiteY3" fmla="*/ 1363599 h 2222278"/>
                  <a:gd name="connsiteX4" fmla="*/ 1184 w 1804520"/>
                  <a:gd name="connsiteY4" fmla="*/ 273089 h 2222278"/>
                  <a:gd name="connsiteX5" fmla="*/ 73329 w 1804520"/>
                  <a:gd name="connsiteY5" fmla="*/ 263710 h 2222278"/>
                  <a:gd name="connsiteX6" fmla="*/ 862896 w 1804520"/>
                  <a:gd name="connsiteY6" fmla="*/ 21269 h 2222278"/>
                  <a:gd name="connsiteX7" fmla="*/ 902260 w 1804520"/>
                  <a:gd name="connsiteY7" fmla="*/ 0 h 2222278"/>
                  <a:gd name="connsiteX8" fmla="*/ 941625 w 1804520"/>
                  <a:gd name="connsiteY8" fmla="*/ 21222 h 2222278"/>
                  <a:gd name="connsiteX9" fmla="*/ 1731192 w 1804520"/>
                  <a:gd name="connsiteY9" fmla="*/ 263663 h 2222278"/>
                  <a:gd name="connsiteX10" fmla="*/ 1803336 w 1804520"/>
                  <a:gd name="connsiteY10" fmla="*/ 273042 h 2222278"/>
                  <a:gd name="connsiteX11" fmla="*/ 1804521 w 1804520"/>
                  <a:gd name="connsiteY11" fmla="*/ 1363552 h 2222278"/>
                  <a:gd name="connsiteX12" fmla="*/ 1798789 w 1804520"/>
                  <a:gd name="connsiteY12" fmla="*/ 1378189 h 2222278"/>
                  <a:gd name="connsiteX13" fmla="*/ 933288 w 1804520"/>
                  <a:gd name="connsiteY13" fmla="*/ 2209726 h 2222278"/>
                  <a:gd name="connsiteX14" fmla="*/ 902260 w 1804520"/>
                  <a:gd name="connsiteY14" fmla="*/ 2222279 h 2222278"/>
                  <a:gd name="connsiteX15" fmla="*/ 165843 w 1804520"/>
                  <a:gd name="connsiteY15" fmla="*/ 1332098 h 2222278"/>
                  <a:gd name="connsiteX16" fmla="*/ 902260 w 1804520"/>
                  <a:gd name="connsiteY16" fmla="*/ 2043125 h 2222278"/>
                  <a:gd name="connsiteX17" fmla="*/ 1638677 w 1804520"/>
                  <a:gd name="connsiteY17" fmla="*/ 1332098 h 2222278"/>
                  <a:gd name="connsiteX18" fmla="*/ 1637683 w 1804520"/>
                  <a:gd name="connsiteY18" fmla="*/ 417853 h 2222278"/>
                  <a:gd name="connsiteX19" fmla="*/ 902260 w 1804520"/>
                  <a:gd name="connsiteY19" fmla="*/ 187870 h 2222278"/>
                  <a:gd name="connsiteX20" fmla="*/ 166838 w 1804520"/>
                  <a:gd name="connsiteY20" fmla="*/ 417853 h 2222278"/>
                  <a:gd name="connsiteX21" fmla="*/ 165843 w 1804520"/>
                  <a:gd name="connsiteY21" fmla="*/ 1332098 h 2222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04520" h="2222278">
                    <a:moveTo>
                      <a:pt x="902260" y="2222279"/>
                    </a:moveTo>
                    <a:lnTo>
                      <a:pt x="871233" y="2209773"/>
                    </a:lnTo>
                    <a:cubicBezTo>
                      <a:pt x="445801" y="2038056"/>
                      <a:pt x="154616" y="1758288"/>
                      <a:pt x="5732" y="1378236"/>
                    </a:cubicBezTo>
                    <a:lnTo>
                      <a:pt x="0" y="1363599"/>
                    </a:lnTo>
                    <a:lnTo>
                      <a:pt x="1184" y="273089"/>
                    </a:lnTo>
                    <a:lnTo>
                      <a:pt x="73329" y="263710"/>
                    </a:lnTo>
                    <a:cubicBezTo>
                      <a:pt x="370814" y="225009"/>
                      <a:pt x="636466" y="143437"/>
                      <a:pt x="862896" y="21269"/>
                    </a:cubicBezTo>
                    <a:lnTo>
                      <a:pt x="902260" y="0"/>
                    </a:lnTo>
                    <a:lnTo>
                      <a:pt x="941625" y="21222"/>
                    </a:lnTo>
                    <a:cubicBezTo>
                      <a:pt x="1168055" y="143390"/>
                      <a:pt x="1433706" y="224961"/>
                      <a:pt x="1731192" y="263663"/>
                    </a:cubicBezTo>
                    <a:lnTo>
                      <a:pt x="1803336" y="273042"/>
                    </a:lnTo>
                    <a:lnTo>
                      <a:pt x="1804521" y="1363552"/>
                    </a:lnTo>
                    <a:lnTo>
                      <a:pt x="1798789" y="1378189"/>
                    </a:lnTo>
                    <a:cubicBezTo>
                      <a:pt x="1649904" y="1758240"/>
                      <a:pt x="1358720" y="2038009"/>
                      <a:pt x="933288" y="2209726"/>
                    </a:cubicBezTo>
                    <a:lnTo>
                      <a:pt x="902260" y="2222279"/>
                    </a:lnTo>
                    <a:close/>
                    <a:moveTo>
                      <a:pt x="165843" y="1332098"/>
                    </a:moveTo>
                    <a:cubicBezTo>
                      <a:pt x="295448" y="1651610"/>
                      <a:pt x="543052" y="1890640"/>
                      <a:pt x="902260" y="2043125"/>
                    </a:cubicBezTo>
                    <a:cubicBezTo>
                      <a:pt x="1261469" y="1890640"/>
                      <a:pt x="1509073" y="1651610"/>
                      <a:pt x="1638677" y="1332098"/>
                    </a:cubicBezTo>
                    <a:lnTo>
                      <a:pt x="1637683" y="417853"/>
                    </a:lnTo>
                    <a:cubicBezTo>
                      <a:pt x="1365541" y="375741"/>
                      <a:pt x="1118695" y="298527"/>
                      <a:pt x="902260" y="187870"/>
                    </a:cubicBezTo>
                    <a:cubicBezTo>
                      <a:pt x="685826" y="298574"/>
                      <a:pt x="438980" y="375741"/>
                      <a:pt x="166838" y="417853"/>
                    </a:cubicBezTo>
                    <a:lnTo>
                      <a:pt x="165843" y="1332098"/>
                    </a:lnTo>
                    <a:close/>
                  </a:path>
                </a:pathLst>
              </a:custGeom>
              <a:solidFill>
                <a:srgbClr val="0D274D"/>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185" name="Graphic 1">
                <a:extLst>
                  <a:ext uri="{FF2B5EF4-FFF2-40B4-BE49-F238E27FC236}">
                    <a16:creationId xmlns:a16="http://schemas.microsoft.com/office/drawing/2014/main" id="{25B186AE-297E-485B-82D6-D2ABC28C3984}"/>
                  </a:ext>
                </a:extLst>
              </p:cNvPr>
              <p:cNvGrpSpPr/>
              <p:nvPr/>
            </p:nvGrpSpPr>
            <p:grpSpPr>
              <a:xfrm>
                <a:off x="2029048" y="979089"/>
                <a:ext cx="1299222" cy="743049"/>
                <a:chOff x="2029048" y="979089"/>
                <a:chExt cx="1299222" cy="743049"/>
              </a:xfrm>
              <a:solidFill>
                <a:srgbClr val="0D274D"/>
              </a:solidFill>
            </p:grpSpPr>
            <p:sp>
              <p:nvSpPr>
                <p:cNvPr id="337" name="Freeform: Shape 336">
                  <a:extLst>
                    <a:ext uri="{FF2B5EF4-FFF2-40B4-BE49-F238E27FC236}">
                      <a16:creationId xmlns:a16="http://schemas.microsoft.com/office/drawing/2014/main" id="{CB891CFA-8C5F-4FEF-95D7-31B665A03ED3}"/>
                    </a:ext>
                  </a:extLst>
                </p:cNvPr>
                <p:cNvSpPr/>
                <p:nvPr/>
              </p:nvSpPr>
              <p:spPr>
                <a:xfrm>
                  <a:off x="2667645" y="981268"/>
                  <a:ext cx="51207" cy="165937"/>
                </a:xfrm>
                <a:custGeom>
                  <a:avLst/>
                  <a:gdLst>
                    <a:gd name="connsiteX0" fmla="*/ 38417 w 51207"/>
                    <a:gd name="connsiteY0" fmla="*/ 165938 h 165937"/>
                    <a:gd name="connsiteX1" fmla="*/ 38417 w 51207"/>
                    <a:gd name="connsiteY1" fmla="*/ 13737 h 165937"/>
                    <a:gd name="connsiteX2" fmla="*/ 0 w 51207"/>
                    <a:gd name="connsiteY2" fmla="*/ 35528 h 165937"/>
                    <a:gd name="connsiteX3" fmla="*/ 0 w 51207"/>
                    <a:gd name="connsiteY3" fmla="*/ 22027 h 165937"/>
                    <a:gd name="connsiteX4" fmla="*/ 38654 w 51207"/>
                    <a:gd name="connsiteY4" fmla="*/ 0 h 165937"/>
                    <a:gd name="connsiteX5" fmla="*/ 51207 w 51207"/>
                    <a:gd name="connsiteY5" fmla="*/ 0 h 165937"/>
                    <a:gd name="connsiteX6" fmla="*/ 51207 w 51207"/>
                    <a:gd name="connsiteY6" fmla="*/ 165938 h 165937"/>
                    <a:gd name="connsiteX7" fmla="*/ 38417 w 51207"/>
                    <a:gd name="connsiteY7" fmla="*/ 165938 h 1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07" h="165937">
                      <a:moveTo>
                        <a:pt x="38417" y="165938"/>
                      </a:moveTo>
                      <a:lnTo>
                        <a:pt x="38417" y="13737"/>
                      </a:lnTo>
                      <a:lnTo>
                        <a:pt x="0" y="35528"/>
                      </a:lnTo>
                      <a:lnTo>
                        <a:pt x="0" y="22027"/>
                      </a:lnTo>
                      <a:lnTo>
                        <a:pt x="38654" y="0"/>
                      </a:lnTo>
                      <a:lnTo>
                        <a:pt x="51207" y="0"/>
                      </a:lnTo>
                      <a:lnTo>
                        <a:pt x="51207" y="165938"/>
                      </a:lnTo>
                      <a:lnTo>
                        <a:pt x="38417" y="165938"/>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8" name="Freeform: Shape 337">
                  <a:extLst>
                    <a:ext uri="{FF2B5EF4-FFF2-40B4-BE49-F238E27FC236}">
                      <a16:creationId xmlns:a16="http://schemas.microsoft.com/office/drawing/2014/main" id="{8F568A7C-FCB5-4CA0-9C47-D0BB0BF1F35F}"/>
                    </a:ext>
                  </a:extLst>
                </p:cNvPr>
                <p:cNvSpPr/>
                <p:nvPr/>
              </p:nvSpPr>
              <p:spPr>
                <a:xfrm>
                  <a:off x="2970625" y="981268"/>
                  <a:ext cx="51207" cy="165937"/>
                </a:xfrm>
                <a:custGeom>
                  <a:avLst/>
                  <a:gdLst>
                    <a:gd name="connsiteX0" fmla="*/ 38417 w 51207"/>
                    <a:gd name="connsiteY0" fmla="*/ 165938 h 165937"/>
                    <a:gd name="connsiteX1" fmla="*/ 38417 w 51207"/>
                    <a:gd name="connsiteY1" fmla="*/ 13737 h 165937"/>
                    <a:gd name="connsiteX2" fmla="*/ 0 w 51207"/>
                    <a:gd name="connsiteY2" fmla="*/ 35528 h 165937"/>
                    <a:gd name="connsiteX3" fmla="*/ 0 w 51207"/>
                    <a:gd name="connsiteY3" fmla="*/ 22027 h 165937"/>
                    <a:gd name="connsiteX4" fmla="*/ 38654 w 51207"/>
                    <a:gd name="connsiteY4" fmla="*/ 0 h 165937"/>
                    <a:gd name="connsiteX5" fmla="*/ 51207 w 51207"/>
                    <a:gd name="connsiteY5" fmla="*/ 0 h 165937"/>
                    <a:gd name="connsiteX6" fmla="*/ 51207 w 51207"/>
                    <a:gd name="connsiteY6" fmla="*/ 165938 h 165937"/>
                    <a:gd name="connsiteX7" fmla="*/ 38417 w 51207"/>
                    <a:gd name="connsiteY7" fmla="*/ 165938 h 1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07" h="165937">
                      <a:moveTo>
                        <a:pt x="38417" y="165938"/>
                      </a:moveTo>
                      <a:lnTo>
                        <a:pt x="38417" y="13737"/>
                      </a:lnTo>
                      <a:lnTo>
                        <a:pt x="0" y="35528"/>
                      </a:lnTo>
                      <a:lnTo>
                        <a:pt x="0" y="22027"/>
                      </a:lnTo>
                      <a:lnTo>
                        <a:pt x="38654" y="0"/>
                      </a:lnTo>
                      <a:lnTo>
                        <a:pt x="51207" y="0"/>
                      </a:lnTo>
                      <a:lnTo>
                        <a:pt x="51207" y="165938"/>
                      </a:lnTo>
                      <a:lnTo>
                        <a:pt x="38417" y="165938"/>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9" name="Freeform: Shape 338">
                  <a:extLst>
                    <a:ext uri="{FF2B5EF4-FFF2-40B4-BE49-F238E27FC236}">
                      <a16:creationId xmlns:a16="http://schemas.microsoft.com/office/drawing/2014/main" id="{C68E06C2-F165-44F3-B86A-AAB9F535C9B2}"/>
                    </a:ext>
                  </a:extLst>
                </p:cNvPr>
                <p:cNvSpPr/>
                <p:nvPr/>
              </p:nvSpPr>
              <p:spPr>
                <a:xfrm>
                  <a:off x="2819088" y="1265773"/>
                  <a:ext cx="51207" cy="165937"/>
                </a:xfrm>
                <a:custGeom>
                  <a:avLst/>
                  <a:gdLst>
                    <a:gd name="connsiteX0" fmla="*/ 38417 w 51207"/>
                    <a:gd name="connsiteY0" fmla="*/ 165938 h 165937"/>
                    <a:gd name="connsiteX1" fmla="*/ 38417 w 51207"/>
                    <a:gd name="connsiteY1" fmla="*/ 13737 h 165937"/>
                    <a:gd name="connsiteX2" fmla="*/ 0 w 51207"/>
                    <a:gd name="connsiteY2" fmla="*/ 35528 h 165937"/>
                    <a:gd name="connsiteX3" fmla="*/ 0 w 51207"/>
                    <a:gd name="connsiteY3" fmla="*/ 22027 h 165937"/>
                    <a:gd name="connsiteX4" fmla="*/ 38654 w 51207"/>
                    <a:gd name="connsiteY4" fmla="*/ 0 h 165937"/>
                    <a:gd name="connsiteX5" fmla="*/ 51207 w 51207"/>
                    <a:gd name="connsiteY5" fmla="*/ 0 h 165937"/>
                    <a:gd name="connsiteX6" fmla="*/ 51207 w 51207"/>
                    <a:gd name="connsiteY6" fmla="*/ 165938 h 165937"/>
                    <a:gd name="connsiteX7" fmla="*/ 38417 w 51207"/>
                    <a:gd name="connsiteY7" fmla="*/ 165938 h 1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07" h="165937">
                      <a:moveTo>
                        <a:pt x="38417" y="165938"/>
                      </a:moveTo>
                      <a:lnTo>
                        <a:pt x="38417" y="13737"/>
                      </a:lnTo>
                      <a:lnTo>
                        <a:pt x="0" y="35528"/>
                      </a:lnTo>
                      <a:lnTo>
                        <a:pt x="0" y="22027"/>
                      </a:lnTo>
                      <a:lnTo>
                        <a:pt x="38654" y="0"/>
                      </a:lnTo>
                      <a:lnTo>
                        <a:pt x="51207" y="0"/>
                      </a:lnTo>
                      <a:lnTo>
                        <a:pt x="51207" y="165938"/>
                      </a:lnTo>
                      <a:lnTo>
                        <a:pt x="38417" y="165938"/>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0" name="Freeform: Shape 339">
                  <a:extLst>
                    <a:ext uri="{FF2B5EF4-FFF2-40B4-BE49-F238E27FC236}">
                      <a16:creationId xmlns:a16="http://schemas.microsoft.com/office/drawing/2014/main" id="{5060B6EB-16BC-4618-A7B9-B8F18B17FD2C}"/>
                    </a:ext>
                  </a:extLst>
                </p:cNvPr>
                <p:cNvSpPr/>
                <p:nvPr/>
              </p:nvSpPr>
              <p:spPr>
                <a:xfrm>
                  <a:off x="3277063" y="1265773"/>
                  <a:ext cx="51207" cy="165937"/>
                </a:xfrm>
                <a:custGeom>
                  <a:avLst/>
                  <a:gdLst>
                    <a:gd name="connsiteX0" fmla="*/ 38417 w 51207"/>
                    <a:gd name="connsiteY0" fmla="*/ 165938 h 165937"/>
                    <a:gd name="connsiteX1" fmla="*/ 38417 w 51207"/>
                    <a:gd name="connsiteY1" fmla="*/ 13737 h 165937"/>
                    <a:gd name="connsiteX2" fmla="*/ 0 w 51207"/>
                    <a:gd name="connsiteY2" fmla="*/ 35528 h 165937"/>
                    <a:gd name="connsiteX3" fmla="*/ 0 w 51207"/>
                    <a:gd name="connsiteY3" fmla="*/ 22027 h 165937"/>
                    <a:gd name="connsiteX4" fmla="*/ 38654 w 51207"/>
                    <a:gd name="connsiteY4" fmla="*/ 0 h 165937"/>
                    <a:gd name="connsiteX5" fmla="*/ 51207 w 51207"/>
                    <a:gd name="connsiteY5" fmla="*/ 0 h 165937"/>
                    <a:gd name="connsiteX6" fmla="*/ 51207 w 51207"/>
                    <a:gd name="connsiteY6" fmla="*/ 165938 h 165937"/>
                    <a:gd name="connsiteX7" fmla="*/ 38417 w 51207"/>
                    <a:gd name="connsiteY7" fmla="*/ 165938 h 1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07" h="165937">
                      <a:moveTo>
                        <a:pt x="38417" y="165938"/>
                      </a:moveTo>
                      <a:lnTo>
                        <a:pt x="38417" y="13737"/>
                      </a:lnTo>
                      <a:lnTo>
                        <a:pt x="0" y="35528"/>
                      </a:lnTo>
                      <a:lnTo>
                        <a:pt x="0" y="22027"/>
                      </a:lnTo>
                      <a:lnTo>
                        <a:pt x="38654" y="0"/>
                      </a:lnTo>
                      <a:lnTo>
                        <a:pt x="51207" y="0"/>
                      </a:lnTo>
                      <a:lnTo>
                        <a:pt x="51207" y="165938"/>
                      </a:lnTo>
                      <a:lnTo>
                        <a:pt x="38417" y="165938"/>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1" name="Freeform: Shape 340">
                  <a:extLst>
                    <a:ext uri="{FF2B5EF4-FFF2-40B4-BE49-F238E27FC236}">
                      <a16:creationId xmlns:a16="http://schemas.microsoft.com/office/drawing/2014/main" id="{51ECEB84-8896-4E5D-B599-D965CAF042D4}"/>
                    </a:ext>
                  </a:extLst>
                </p:cNvPr>
                <p:cNvSpPr/>
                <p:nvPr/>
              </p:nvSpPr>
              <p:spPr>
                <a:xfrm>
                  <a:off x="2970625" y="1551226"/>
                  <a:ext cx="51207" cy="165937"/>
                </a:xfrm>
                <a:custGeom>
                  <a:avLst/>
                  <a:gdLst>
                    <a:gd name="connsiteX0" fmla="*/ 38417 w 51207"/>
                    <a:gd name="connsiteY0" fmla="*/ 165938 h 165937"/>
                    <a:gd name="connsiteX1" fmla="*/ 38417 w 51207"/>
                    <a:gd name="connsiteY1" fmla="*/ 13737 h 165937"/>
                    <a:gd name="connsiteX2" fmla="*/ 0 w 51207"/>
                    <a:gd name="connsiteY2" fmla="*/ 35528 h 165937"/>
                    <a:gd name="connsiteX3" fmla="*/ 0 w 51207"/>
                    <a:gd name="connsiteY3" fmla="*/ 22027 h 165937"/>
                    <a:gd name="connsiteX4" fmla="*/ 38654 w 51207"/>
                    <a:gd name="connsiteY4" fmla="*/ 0 h 165937"/>
                    <a:gd name="connsiteX5" fmla="*/ 51207 w 51207"/>
                    <a:gd name="connsiteY5" fmla="*/ 0 h 165937"/>
                    <a:gd name="connsiteX6" fmla="*/ 51207 w 51207"/>
                    <a:gd name="connsiteY6" fmla="*/ 165938 h 165937"/>
                    <a:gd name="connsiteX7" fmla="*/ 38417 w 51207"/>
                    <a:gd name="connsiteY7" fmla="*/ 165938 h 1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07" h="165937">
                      <a:moveTo>
                        <a:pt x="38417" y="165938"/>
                      </a:moveTo>
                      <a:lnTo>
                        <a:pt x="38417" y="13737"/>
                      </a:lnTo>
                      <a:lnTo>
                        <a:pt x="0" y="35528"/>
                      </a:lnTo>
                      <a:lnTo>
                        <a:pt x="0" y="22027"/>
                      </a:lnTo>
                      <a:lnTo>
                        <a:pt x="38654" y="0"/>
                      </a:lnTo>
                      <a:lnTo>
                        <a:pt x="51207" y="0"/>
                      </a:lnTo>
                      <a:lnTo>
                        <a:pt x="51207" y="165938"/>
                      </a:lnTo>
                      <a:lnTo>
                        <a:pt x="38417" y="165938"/>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2" name="Freeform: Shape 341">
                  <a:extLst>
                    <a:ext uri="{FF2B5EF4-FFF2-40B4-BE49-F238E27FC236}">
                      <a16:creationId xmlns:a16="http://schemas.microsoft.com/office/drawing/2014/main" id="{A7E754F1-F1F4-4849-AF9C-B430A17D6D49}"/>
                    </a:ext>
                  </a:extLst>
                </p:cNvPr>
                <p:cNvSpPr/>
                <p:nvPr/>
              </p:nvSpPr>
              <p:spPr>
                <a:xfrm>
                  <a:off x="2029048" y="979089"/>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5 w 113546"/>
                    <a:gd name="connsiteY3" fmla="*/ 125436 h 173090"/>
                    <a:gd name="connsiteX4" fmla="*/ 0 w 113546"/>
                    <a:gd name="connsiteY4" fmla="*/ 86545 h 173090"/>
                    <a:gd name="connsiteX5" fmla="*/ 4405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8 w 113546"/>
                    <a:gd name="connsiteY10" fmla="*/ 20511 h 173090"/>
                    <a:gd name="connsiteX11" fmla="*/ 109283 w 113546"/>
                    <a:gd name="connsiteY11" fmla="*/ 47418 h 173090"/>
                    <a:gd name="connsiteX12" fmla="*/ 113546 w 113546"/>
                    <a:gd name="connsiteY12" fmla="*/ 86545 h 173090"/>
                    <a:gd name="connsiteX13" fmla="*/ 109283 w 113546"/>
                    <a:gd name="connsiteY13" fmla="*/ 125673 h 173090"/>
                    <a:gd name="connsiteX14" fmla="*/ 97298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20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7" y="164564"/>
                        <a:pt x="21411" y="159353"/>
                        <a:pt x="16390" y="152343"/>
                      </a:cubicBezTo>
                      <a:cubicBezTo>
                        <a:pt x="11321" y="145332"/>
                        <a:pt x="7342" y="136331"/>
                        <a:pt x="4405" y="125436"/>
                      </a:cubicBezTo>
                      <a:cubicBezTo>
                        <a:pt x="1468" y="114541"/>
                        <a:pt x="0" y="101562"/>
                        <a:pt x="0" y="86545"/>
                      </a:cubicBezTo>
                      <a:cubicBezTo>
                        <a:pt x="0" y="71387"/>
                        <a:pt x="1468" y="58360"/>
                        <a:pt x="4405" y="47418"/>
                      </a:cubicBezTo>
                      <a:cubicBezTo>
                        <a:pt x="7342" y="36522"/>
                        <a:pt x="11321" y="27569"/>
                        <a:pt x="16390" y="20511"/>
                      </a:cubicBezTo>
                      <a:cubicBezTo>
                        <a:pt x="21459" y="13501"/>
                        <a:pt x="27427" y="8290"/>
                        <a:pt x="34391" y="4974"/>
                      </a:cubicBezTo>
                      <a:cubicBezTo>
                        <a:pt x="41354" y="1658"/>
                        <a:pt x="48839" y="0"/>
                        <a:pt x="56892" y="0"/>
                      </a:cubicBezTo>
                      <a:cubicBezTo>
                        <a:pt x="64945" y="0"/>
                        <a:pt x="72429" y="1658"/>
                        <a:pt x="79298" y="4974"/>
                      </a:cubicBezTo>
                      <a:cubicBezTo>
                        <a:pt x="86166" y="8290"/>
                        <a:pt x="92182" y="13453"/>
                        <a:pt x="97298" y="20511"/>
                      </a:cubicBezTo>
                      <a:cubicBezTo>
                        <a:pt x="102414" y="27522"/>
                        <a:pt x="106441" y="36522"/>
                        <a:pt x="109283" y="47418"/>
                      </a:cubicBezTo>
                      <a:cubicBezTo>
                        <a:pt x="112125" y="58313"/>
                        <a:pt x="113546" y="71340"/>
                        <a:pt x="113546" y="86545"/>
                      </a:cubicBezTo>
                      <a:cubicBezTo>
                        <a:pt x="113546" y="101751"/>
                        <a:pt x="112125" y="114778"/>
                        <a:pt x="109283" y="125673"/>
                      </a:cubicBezTo>
                      <a:cubicBezTo>
                        <a:pt x="106441" y="136568"/>
                        <a:pt x="102462" y="145569"/>
                        <a:pt x="97298" y="152579"/>
                      </a:cubicBezTo>
                      <a:cubicBezTo>
                        <a:pt x="92182" y="159590"/>
                        <a:pt x="86166" y="164801"/>
                        <a:pt x="79298" y="168117"/>
                      </a:cubicBezTo>
                      <a:cubicBezTo>
                        <a:pt x="72429" y="171433"/>
                        <a:pt x="64945" y="173091"/>
                        <a:pt x="56892" y="173091"/>
                      </a:cubicBezTo>
                      <a:close/>
                      <a:moveTo>
                        <a:pt x="56892" y="162196"/>
                      </a:moveTo>
                      <a:cubicBezTo>
                        <a:pt x="70487" y="162196"/>
                        <a:pt x="81145" y="156037"/>
                        <a:pt x="88914" y="143721"/>
                      </a:cubicBezTo>
                      <a:cubicBezTo>
                        <a:pt x="96635" y="131405"/>
                        <a:pt x="100520" y="112362"/>
                        <a:pt x="100520" y="86593"/>
                      </a:cubicBezTo>
                      <a:cubicBezTo>
                        <a:pt x="100520"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638" y="156037"/>
                        <a:pt x="43296" y="162196"/>
                        <a:pt x="56892" y="162196"/>
                      </a:cubicBez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3" name="Freeform: Shape 342">
                  <a:extLst>
                    <a:ext uri="{FF2B5EF4-FFF2-40B4-BE49-F238E27FC236}">
                      <a16:creationId xmlns:a16="http://schemas.microsoft.com/office/drawing/2014/main" id="{4C940806-CEA1-452B-9B74-6B01FFAC7A71}"/>
                    </a:ext>
                  </a:extLst>
                </p:cNvPr>
                <p:cNvSpPr/>
                <p:nvPr/>
              </p:nvSpPr>
              <p:spPr>
                <a:xfrm>
                  <a:off x="2336386" y="979089"/>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5 w 113546"/>
                    <a:gd name="connsiteY3" fmla="*/ 125436 h 173090"/>
                    <a:gd name="connsiteX4" fmla="*/ 0 w 113546"/>
                    <a:gd name="connsiteY4" fmla="*/ 86545 h 173090"/>
                    <a:gd name="connsiteX5" fmla="*/ 4405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8 w 113546"/>
                    <a:gd name="connsiteY10" fmla="*/ 20511 h 173090"/>
                    <a:gd name="connsiteX11" fmla="*/ 109283 w 113546"/>
                    <a:gd name="connsiteY11" fmla="*/ 47418 h 173090"/>
                    <a:gd name="connsiteX12" fmla="*/ 113546 w 113546"/>
                    <a:gd name="connsiteY12" fmla="*/ 86545 h 173090"/>
                    <a:gd name="connsiteX13" fmla="*/ 109283 w 113546"/>
                    <a:gd name="connsiteY13" fmla="*/ 125673 h 173090"/>
                    <a:gd name="connsiteX14" fmla="*/ 97298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20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7" y="164564"/>
                        <a:pt x="21411" y="159353"/>
                        <a:pt x="16390" y="152343"/>
                      </a:cubicBezTo>
                      <a:cubicBezTo>
                        <a:pt x="11322" y="145332"/>
                        <a:pt x="7342" y="136331"/>
                        <a:pt x="4405" y="125436"/>
                      </a:cubicBezTo>
                      <a:cubicBezTo>
                        <a:pt x="1469" y="114541"/>
                        <a:pt x="0" y="101562"/>
                        <a:pt x="0" y="86545"/>
                      </a:cubicBezTo>
                      <a:cubicBezTo>
                        <a:pt x="0" y="71387"/>
                        <a:pt x="1469" y="58360"/>
                        <a:pt x="4405" y="47418"/>
                      </a:cubicBezTo>
                      <a:cubicBezTo>
                        <a:pt x="7342" y="36522"/>
                        <a:pt x="11322" y="27569"/>
                        <a:pt x="16390" y="20511"/>
                      </a:cubicBezTo>
                      <a:cubicBezTo>
                        <a:pt x="21459" y="13501"/>
                        <a:pt x="27427" y="8290"/>
                        <a:pt x="34391" y="4974"/>
                      </a:cubicBezTo>
                      <a:cubicBezTo>
                        <a:pt x="41354" y="1658"/>
                        <a:pt x="48839" y="0"/>
                        <a:pt x="56892" y="0"/>
                      </a:cubicBezTo>
                      <a:cubicBezTo>
                        <a:pt x="64945" y="0"/>
                        <a:pt x="72429" y="1658"/>
                        <a:pt x="79298" y="4974"/>
                      </a:cubicBezTo>
                      <a:cubicBezTo>
                        <a:pt x="86166" y="8290"/>
                        <a:pt x="92182" y="13453"/>
                        <a:pt x="97298" y="20511"/>
                      </a:cubicBezTo>
                      <a:cubicBezTo>
                        <a:pt x="102414" y="27522"/>
                        <a:pt x="106441" y="36522"/>
                        <a:pt x="109283" y="47418"/>
                      </a:cubicBezTo>
                      <a:cubicBezTo>
                        <a:pt x="112125" y="58313"/>
                        <a:pt x="113546" y="71340"/>
                        <a:pt x="113546" y="86545"/>
                      </a:cubicBezTo>
                      <a:cubicBezTo>
                        <a:pt x="113546" y="101751"/>
                        <a:pt x="112125" y="114778"/>
                        <a:pt x="109283" y="125673"/>
                      </a:cubicBezTo>
                      <a:cubicBezTo>
                        <a:pt x="106441" y="136568"/>
                        <a:pt x="102462" y="145569"/>
                        <a:pt x="97298" y="152579"/>
                      </a:cubicBezTo>
                      <a:cubicBezTo>
                        <a:pt x="92182" y="159590"/>
                        <a:pt x="86166" y="164801"/>
                        <a:pt x="79298" y="168117"/>
                      </a:cubicBezTo>
                      <a:cubicBezTo>
                        <a:pt x="72429" y="171433"/>
                        <a:pt x="64945" y="173091"/>
                        <a:pt x="56892" y="173091"/>
                      </a:cubicBezTo>
                      <a:close/>
                      <a:moveTo>
                        <a:pt x="56892" y="162196"/>
                      </a:moveTo>
                      <a:cubicBezTo>
                        <a:pt x="70487" y="162196"/>
                        <a:pt x="81145" y="156037"/>
                        <a:pt x="88914" y="143721"/>
                      </a:cubicBezTo>
                      <a:cubicBezTo>
                        <a:pt x="96635" y="131405"/>
                        <a:pt x="100520" y="112362"/>
                        <a:pt x="100520" y="86593"/>
                      </a:cubicBezTo>
                      <a:cubicBezTo>
                        <a:pt x="100520"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638" y="156037"/>
                        <a:pt x="43296" y="162196"/>
                        <a:pt x="56892" y="162196"/>
                      </a:cubicBez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4" name="Freeform: Shape 343">
                  <a:extLst>
                    <a:ext uri="{FF2B5EF4-FFF2-40B4-BE49-F238E27FC236}">
                      <a16:creationId xmlns:a16="http://schemas.microsoft.com/office/drawing/2014/main" id="{44F53098-A003-4BE5-85F2-05B63B3479CD}"/>
                    </a:ext>
                  </a:extLst>
                </p:cNvPr>
                <p:cNvSpPr/>
                <p:nvPr/>
              </p:nvSpPr>
              <p:spPr>
                <a:xfrm>
                  <a:off x="2796777" y="979089"/>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5 w 113546"/>
                    <a:gd name="connsiteY3" fmla="*/ 125436 h 173090"/>
                    <a:gd name="connsiteX4" fmla="*/ 0 w 113546"/>
                    <a:gd name="connsiteY4" fmla="*/ 86545 h 173090"/>
                    <a:gd name="connsiteX5" fmla="*/ 4405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8 w 113546"/>
                    <a:gd name="connsiteY10" fmla="*/ 20511 h 173090"/>
                    <a:gd name="connsiteX11" fmla="*/ 109283 w 113546"/>
                    <a:gd name="connsiteY11" fmla="*/ 47418 h 173090"/>
                    <a:gd name="connsiteX12" fmla="*/ 113546 w 113546"/>
                    <a:gd name="connsiteY12" fmla="*/ 86545 h 173090"/>
                    <a:gd name="connsiteX13" fmla="*/ 109283 w 113546"/>
                    <a:gd name="connsiteY13" fmla="*/ 125673 h 173090"/>
                    <a:gd name="connsiteX14" fmla="*/ 97298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20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7" y="164564"/>
                        <a:pt x="21411" y="159353"/>
                        <a:pt x="16390" y="152343"/>
                      </a:cubicBezTo>
                      <a:cubicBezTo>
                        <a:pt x="11322" y="145332"/>
                        <a:pt x="7342" y="136331"/>
                        <a:pt x="4405" y="125436"/>
                      </a:cubicBezTo>
                      <a:cubicBezTo>
                        <a:pt x="1468" y="114541"/>
                        <a:pt x="0" y="101562"/>
                        <a:pt x="0" y="86545"/>
                      </a:cubicBezTo>
                      <a:cubicBezTo>
                        <a:pt x="0" y="71387"/>
                        <a:pt x="1468" y="58360"/>
                        <a:pt x="4405" y="47418"/>
                      </a:cubicBezTo>
                      <a:cubicBezTo>
                        <a:pt x="7342" y="36522"/>
                        <a:pt x="11322" y="27569"/>
                        <a:pt x="16390" y="20511"/>
                      </a:cubicBezTo>
                      <a:cubicBezTo>
                        <a:pt x="21459" y="13501"/>
                        <a:pt x="27427" y="8290"/>
                        <a:pt x="34391" y="4974"/>
                      </a:cubicBezTo>
                      <a:cubicBezTo>
                        <a:pt x="41354" y="1658"/>
                        <a:pt x="48839" y="0"/>
                        <a:pt x="56892" y="0"/>
                      </a:cubicBezTo>
                      <a:cubicBezTo>
                        <a:pt x="64945" y="0"/>
                        <a:pt x="72429" y="1658"/>
                        <a:pt x="79298" y="4974"/>
                      </a:cubicBezTo>
                      <a:cubicBezTo>
                        <a:pt x="86166" y="8290"/>
                        <a:pt x="92182" y="13453"/>
                        <a:pt x="97298" y="20511"/>
                      </a:cubicBezTo>
                      <a:cubicBezTo>
                        <a:pt x="102414" y="27522"/>
                        <a:pt x="106441" y="36522"/>
                        <a:pt x="109283" y="47418"/>
                      </a:cubicBezTo>
                      <a:cubicBezTo>
                        <a:pt x="112125" y="58313"/>
                        <a:pt x="113546" y="71340"/>
                        <a:pt x="113546" y="86545"/>
                      </a:cubicBezTo>
                      <a:cubicBezTo>
                        <a:pt x="113546" y="101751"/>
                        <a:pt x="112125" y="114778"/>
                        <a:pt x="109283" y="125673"/>
                      </a:cubicBezTo>
                      <a:cubicBezTo>
                        <a:pt x="106441" y="136568"/>
                        <a:pt x="102462" y="145569"/>
                        <a:pt x="97298" y="152579"/>
                      </a:cubicBezTo>
                      <a:cubicBezTo>
                        <a:pt x="92182" y="159590"/>
                        <a:pt x="86166" y="164801"/>
                        <a:pt x="79298" y="168117"/>
                      </a:cubicBezTo>
                      <a:cubicBezTo>
                        <a:pt x="72429" y="171433"/>
                        <a:pt x="64945" y="173091"/>
                        <a:pt x="56892" y="173091"/>
                      </a:cubicBezTo>
                      <a:close/>
                      <a:moveTo>
                        <a:pt x="56892" y="162196"/>
                      </a:moveTo>
                      <a:cubicBezTo>
                        <a:pt x="70487" y="162196"/>
                        <a:pt x="81145" y="156037"/>
                        <a:pt x="88914" y="143721"/>
                      </a:cubicBezTo>
                      <a:cubicBezTo>
                        <a:pt x="96635" y="131405"/>
                        <a:pt x="100520" y="112362"/>
                        <a:pt x="100520" y="86593"/>
                      </a:cubicBezTo>
                      <a:cubicBezTo>
                        <a:pt x="100520"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638" y="156037"/>
                        <a:pt x="43296" y="162196"/>
                        <a:pt x="56892" y="162196"/>
                      </a:cubicBez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5" name="Freeform: Shape 344">
                  <a:extLst>
                    <a:ext uri="{FF2B5EF4-FFF2-40B4-BE49-F238E27FC236}">
                      <a16:creationId xmlns:a16="http://schemas.microsoft.com/office/drawing/2014/main" id="{4E59A246-867A-466C-A516-3BA109B7D46B}"/>
                    </a:ext>
                  </a:extLst>
                </p:cNvPr>
                <p:cNvSpPr/>
                <p:nvPr/>
              </p:nvSpPr>
              <p:spPr>
                <a:xfrm>
                  <a:off x="2646803" y="1262173"/>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6 w 113546"/>
                    <a:gd name="connsiteY3" fmla="*/ 125436 h 173090"/>
                    <a:gd name="connsiteX4" fmla="*/ 0 w 113546"/>
                    <a:gd name="connsiteY4" fmla="*/ 86545 h 173090"/>
                    <a:gd name="connsiteX5" fmla="*/ 4406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8 w 113546"/>
                    <a:gd name="connsiteY10" fmla="*/ 20511 h 173090"/>
                    <a:gd name="connsiteX11" fmla="*/ 109283 w 113546"/>
                    <a:gd name="connsiteY11" fmla="*/ 47418 h 173090"/>
                    <a:gd name="connsiteX12" fmla="*/ 113546 w 113546"/>
                    <a:gd name="connsiteY12" fmla="*/ 86545 h 173090"/>
                    <a:gd name="connsiteX13" fmla="*/ 109283 w 113546"/>
                    <a:gd name="connsiteY13" fmla="*/ 125673 h 173090"/>
                    <a:gd name="connsiteX14" fmla="*/ 97298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20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7" y="164564"/>
                        <a:pt x="21411" y="159353"/>
                        <a:pt x="16390" y="152343"/>
                      </a:cubicBezTo>
                      <a:cubicBezTo>
                        <a:pt x="11322" y="145332"/>
                        <a:pt x="7342" y="136331"/>
                        <a:pt x="4406" y="125436"/>
                      </a:cubicBezTo>
                      <a:cubicBezTo>
                        <a:pt x="1468" y="114541"/>
                        <a:pt x="0" y="101562"/>
                        <a:pt x="0" y="86545"/>
                      </a:cubicBezTo>
                      <a:cubicBezTo>
                        <a:pt x="0" y="71387"/>
                        <a:pt x="1468" y="58360"/>
                        <a:pt x="4406" y="47418"/>
                      </a:cubicBezTo>
                      <a:cubicBezTo>
                        <a:pt x="7342" y="36522"/>
                        <a:pt x="11322" y="27569"/>
                        <a:pt x="16390" y="20511"/>
                      </a:cubicBezTo>
                      <a:cubicBezTo>
                        <a:pt x="21459" y="13501"/>
                        <a:pt x="27427" y="8290"/>
                        <a:pt x="34391" y="4974"/>
                      </a:cubicBezTo>
                      <a:cubicBezTo>
                        <a:pt x="41354" y="1658"/>
                        <a:pt x="48839" y="0"/>
                        <a:pt x="56892" y="0"/>
                      </a:cubicBezTo>
                      <a:cubicBezTo>
                        <a:pt x="64945" y="0"/>
                        <a:pt x="72429" y="1658"/>
                        <a:pt x="79298" y="4974"/>
                      </a:cubicBezTo>
                      <a:cubicBezTo>
                        <a:pt x="86166" y="8290"/>
                        <a:pt x="92183" y="13453"/>
                        <a:pt x="97298" y="20511"/>
                      </a:cubicBezTo>
                      <a:cubicBezTo>
                        <a:pt x="102414" y="27522"/>
                        <a:pt x="106441" y="36522"/>
                        <a:pt x="109283" y="47418"/>
                      </a:cubicBezTo>
                      <a:cubicBezTo>
                        <a:pt x="112125" y="58313"/>
                        <a:pt x="113546" y="71339"/>
                        <a:pt x="113546" y="86545"/>
                      </a:cubicBezTo>
                      <a:cubicBezTo>
                        <a:pt x="113546" y="101751"/>
                        <a:pt x="112125" y="114778"/>
                        <a:pt x="109283" y="125673"/>
                      </a:cubicBezTo>
                      <a:cubicBezTo>
                        <a:pt x="106441" y="136568"/>
                        <a:pt x="102462" y="145569"/>
                        <a:pt x="97298" y="152579"/>
                      </a:cubicBezTo>
                      <a:cubicBezTo>
                        <a:pt x="92183" y="159590"/>
                        <a:pt x="86166" y="164801"/>
                        <a:pt x="79298" y="168117"/>
                      </a:cubicBezTo>
                      <a:cubicBezTo>
                        <a:pt x="72429" y="171433"/>
                        <a:pt x="64945" y="173091"/>
                        <a:pt x="56892" y="173091"/>
                      </a:cubicBezTo>
                      <a:close/>
                      <a:moveTo>
                        <a:pt x="56892" y="162196"/>
                      </a:moveTo>
                      <a:cubicBezTo>
                        <a:pt x="70487" y="162196"/>
                        <a:pt x="81145" y="156037"/>
                        <a:pt x="88914" y="143721"/>
                      </a:cubicBezTo>
                      <a:cubicBezTo>
                        <a:pt x="96635" y="131405"/>
                        <a:pt x="100520" y="112362"/>
                        <a:pt x="100520" y="86593"/>
                      </a:cubicBezTo>
                      <a:cubicBezTo>
                        <a:pt x="100520"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638" y="156037"/>
                        <a:pt x="43296" y="162196"/>
                        <a:pt x="56892" y="162196"/>
                      </a:cubicBez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6" name="Freeform: Shape 345">
                  <a:extLst>
                    <a:ext uri="{FF2B5EF4-FFF2-40B4-BE49-F238E27FC236}">
                      <a16:creationId xmlns:a16="http://schemas.microsoft.com/office/drawing/2014/main" id="{1D934FF5-3422-4CF2-BB7B-8D864737150A}"/>
                    </a:ext>
                  </a:extLst>
                </p:cNvPr>
                <p:cNvSpPr/>
                <p:nvPr/>
              </p:nvSpPr>
              <p:spPr>
                <a:xfrm>
                  <a:off x="2646803" y="1549047"/>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6 w 113546"/>
                    <a:gd name="connsiteY3" fmla="*/ 125436 h 173090"/>
                    <a:gd name="connsiteX4" fmla="*/ 0 w 113546"/>
                    <a:gd name="connsiteY4" fmla="*/ 86545 h 173090"/>
                    <a:gd name="connsiteX5" fmla="*/ 4406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8 w 113546"/>
                    <a:gd name="connsiteY10" fmla="*/ 20511 h 173090"/>
                    <a:gd name="connsiteX11" fmla="*/ 109283 w 113546"/>
                    <a:gd name="connsiteY11" fmla="*/ 47418 h 173090"/>
                    <a:gd name="connsiteX12" fmla="*/ 113546 w 113546"/>
                    <a:gd name="connsiteY12" fmla="*/ 86545 h 173090"/>
                    <a:gd name="connsiteX13" fmla="*/ 109283 w 113546"/>
                    <a:gd name="connsiteY13" fmla="*/ 125673 h 173090"/>
                    <a:gd name="connsiteX14" fmla="*/ 97298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20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7" y="164564"/>
                        <a:pt x="21411" y="159353"/>
                        <a:pt x="16390" y="152343"/>
                      </a:cubicBezTo>
                      <a:cubicBezTo>
                        <a:pt x="11322" y="145332"/>
                        <a:pt x="7342" y="136332"/>
                        <a:pt x="4406" y="125436"/>
                      </a:cubicBezTo>
                      <a:cubicBezTo>
                        <a:pt x="1468" y="114541"/>
                        <a:pt x="0" y="101562"/>
                        <a:pt x="0" y="86545"/>
                      </a:cubicBezTo>
                      <a:cubicBezTo>
                        <a:pt x="0" y="71387"/>
                        <a:pt x="1468" y="58360"/>
                        <a:pt x="4406" y="47418"/>
                      </a:cubicBezTo>
                      <a:cubicBezTo>
                        <a:pt x="7342" y="36522"/>
                        <a:pt x="11322" y="27569"/>
                        <a:pt x="16390" y="20511"/>
                      </a:cubicBezTo>
                      <a:cubicBezTo>
                        <a:pt x="21459" y="13501"/>
                        <a:pt x="27427" y="8290"/>
                        <a:pt x="34391" y="4974"/>
                      </a:cubicBezTo>
                      <a:cubicBezTo>
                        <a:pt x="41354" y="1658"/>
                        <a:pt x="48839" y="0"/>
                        <a:pt x="56892" y="0"/>
                      </a:cubicBezTo>
                      <a:cubicBezTo>
                        <a:pt x="64945" y="0"/>
                        <a:pt x="72429" y="1658"/>
                        <a:pt x="79298" y="4974"/>
                      </a:cubicBezTo>
                      <a:cubicBezTo>
                        <a:pt x="86166" y="8290"/>
                        <a:pt x="92183" y="13453"/>
                        <a:pt x="97298" y="20511"/>
                      </a:cubicBezTo>
                      <a:cubicBezTo>
                        <a:pt x="102414" y="27522"/>
                        <a:pt x="106441" y="36522"/>
                        <a:pt x="109283" y="47418"/>
                      </a:cubicBezTo>
                      <a:cubicBezTo>
                        <a:pt x="112125" y="58313"/>
                        <a:pt x="113546" y="71340"/>
                        <a:pt x="113546" y="86545"/>
                      </a:cubicBezTo>
                      <a:cubicBezTo>
                        <a:pt x="113546" y="101751"/>
                        <a:pt x="112125" y="114778"/>
                        <a:pt x="109283" y="125673"/>
                      </a:cubicBezTo>
                      <a:cubicBezTo>
                        <a:pt x="106441" y="136568"/>
                        <a:pt x="102462" y="145569"/>
                        <a:pt x="97298" y="152579"/>
                      </a:cubicBezTo>
                      <a:cubicBezTo>
                        <a:pt x="92183" y="159590"/>
                        <a:pt x="86166" y="164801"/>
                        <a:pt x="79298" y="168117"/>
                      </a:cubicBezTo>
                      <a:cubicBezTo>
                        <a:pt x="72429" y="171433"/>
                        <a:pt x="64945" y="173091"/>
                        <a:pt x="56892" y="173091"/>
                      </a:cubicBezTo>
                      <a:close/>
                      <a:moveTo>
                        <a:pt x="56892" y="162196"/>
                      </a:moveTo>
                      <a:cubicBezTo>
                        <a:pt x="70487" y="162196"/>
                        <a:pt x="81145" y="156037"/>
                        <a:pt x="88914" y="143721"/>
                      </a:cubicBezTo>
                      <a:cubicBezTo>
                        <a:pt x="96635" y="131405"/>
                        <a:pt x="100520" y="112362"/>
                        <a:pt x="100520" y="86593"/>
                      </a:cubicBezTo>
                      <a:cubicBezTo>
                        <a:pt x="100520"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638" y="156037"/>
                        <a:pt x="43296" y="162196"/>
                        <a:pt x="56892" y="162196"/>
                      </a:cubicBez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7" name="Freeform: Shape 346">
                  <a:extLst>
                    <a:ext uri="{FF2B5EF4-FFF2-40B4-BE49-F238E27FC236}">
                      <a16:creationId xmlns:a16="http://schemas.microsoft.com/office/drawing/2014/main" id="{EFF925B6-19BF-4986-91CD-70F4872B7172}"/>
                    </a:ext>
                  </a:extLst>
                </p:cNvPr>
                <p:cNvSpPr/>
                <p:nvPr/>
              </p:nvSpPr>
              <p:spPr>
                <a:xfrm>
                  <a:off x="2491097" y="1549047"/>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5 w 113546"/>
                    <a:gd name="connsiteY3" fmla="*/ 125436 h 173090"/>
                    <a:gd name="connsiteX4" fmla="*/ 0 w 113546"/>
                    <a:gd name="connsiteY4" fmla="*/ 86545 h 173090"/>
                    <a:gd name="connsiteX5" fmla="*/ 4405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8 w 113546"/>
                    <a:gd name="connsiteY10" fmla="*/ 20511 h 173090"/>
                    <a:gd name="connsiteX11" fmla="*/ 109283 w 113546"/>
                    <a:gd name="connsiteY11" fmla="*/ 47418 h 173090"/>
                    <a:gd name="connsiteX12" fmla="*/ 113546 w 113546"/>
                    <a:gd name="connsiteY12" fmla="*/ 86545 h 173090"/>
                    <a:gd name="connsiteX13" fmla="*/ 109283 w 113546"/>
                    <a:gd name="connsiteY13" fmla="*/ 125673 h 173090"/>
                    <a:gd name="connsiteX14" fmla="*/ 97298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20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7" y="164564"/>
                        <a:pt x="21411" y="159353"/>
                        <a:pt x="16390" y="152343"/>
                      </a:cubicBezTo>
                      <a:cubicBezTo>
                        <a:pt x="11322" y="145332"/>
                        <a:pt x="7342" y="136332"/>
                        <a:pt x="4405" y="125436"/>
                      </a:cubicBezTo>
                      <a:cubicBezTo>
                        <a:pt x="1468" y="114541"/>
                        <a:pt x="0" y="101562"/>
                        <a:pt x="0" y="86545"/>
                      </a:cubicBezTo>
                      <a:cubicBezTo>
                        <a:pt x="0" y="71387"/>
                        <a:pt x="1468" y="58360"/>
                        <a:pt x="4405" y="47418"/>
                      </a:cubicBezTo>
                      <a:cubicBezTo>
                        <a:pt x="7342" y="36522"/>
                        <a:pt x="11322" y="27569"/>
                        <a:pt x="16390" y="20511"/>
                      </a:cubicBezTo>
                      <a:cubicBezTo>
                        <a:pt x="21459" y="13501"/>
                        <a:pt x="27427" y="8290"/>
                        <a:pt x="34391" y="4974"/>
                      </a:cubicBezTo>
                      <a:cubicBezTo>
                        <a:pt x="41354" y="1658"/>
                        <a:pt x="48839" y="0"/>
                        <a:pt x="56892" y="0"/>
                      </a:cubicBezTo>
                      <a:cubicBezTo>
                        <a:pt x="64945" y="0"/>
                        <a:pt x="72429" y="1658"/>
                        <a:pt x="79298" y="4974"/>
                      </a:cubicBezTo>
                      <a:cubicBezTo>
                        <a:pt x="86166" y="8290"/>
                        <a:pt x="92182" y="13453"/>
                        <a:pt x="97298" y="20511"/>
                      </a:cubicBezTo>
                      <a:cubicBezTo>
                        <a:pt x="102414" y="27522"/>
                        <a:pt x="106441" y="36522"/>
                        <a:pt x="109283" y="47418"/>
                      </a:cubicBezTo>
                      <a:cubicBezTo>
                        <a:pt x="112125" y="58313"/>
                        <a:pt x="113546" y="71340"/>
                        <a:pt x="113546" y="86545"/>
                      </a:cubicBezTo>
                      <a:cubicBezTo>
                        <a:pt x="113546" y="101751"/>
                        <a:pt x="112125" y="114778"/>
                        <a:pt x="109283" y="125673"/>
                      </a:cubicBezTo>
                      <a:cubicBezTo>
                        <a:pt x="106441" y="136568"/>
                        <a:pt x="102462" y="145569"/>
                        <a:pt x="97298" y="152579"/>
                      </a:cubicBezTo>
                      <a:cubicBezTo>
                        <a:pt x="92182" y="159590"/>
                        <a:pt x="86166" y="164801"/>
                        <a:pt x="79298" y="168117"/>
                      </a:cubicBezTo>
                      <a:cubicBezTo>
                        <a:pt x="72429" y="171433"/>
                        <a:pt x="64945" y="173091"/>
                        <a:pt x="56892" y="173091"/>
                      </a:cubicBezTo>
                      <a:close/>
                      <a:moveTo>
                        <a:pt x="56892" y="162196"/>
                      </a:moveTo>
                      <a:cubicBezTo>
                        <a:pt x="70487" y="162196"/>
                        <a:pt x="81145" y="156037"/>
                        <a:pt x="88914" y="143721"/>
                      </a:cubicBezTo>
                      <a:cubicBezTo>
                        <a:pt x="96635" y="131405"/>
                        <a:pt x="100520" y="112362"/>
                        <a:pt x="100520" y="86593"/>
                      </a:cubicBezTo>
                      <a:cubicBezTo>
                        <a:pt x="100520"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638" y="156037"/>
                        <a:pt x="43296" y="162196"/>
                        <a:pt x="56892" y="162196"/>
                      </a:cubicBez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8" name="Freeform: Shape 347">
                  <a:extLst>
                    <a:ext uri="{FF2B5EF4-FFF2-40B4-BE49-F238E27FC236}">
                      <a16:creationId xmlns:a16="http://schemas.microsoft.com/office/drawing/2014/main" id="{BFF93B74-007B-468E-A0D4-8E98CA46A016}"/>
                    </a:ext>
                  </a:extLst>
                </p:cNvPr>
                <p:cNvSpPr/>
                <p:nvPr/>
              </p:nvSpPr>
              <p:spPr>
                <a:xfrm>
                  <a:off x="2489391" y="1262173"/>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5 w 113546"/>
                    <a:gd name="connsiteY3" fmla="*/ 125436 h 173090"/>
                    <a:gd name="connsiteX4" fmla="*/ 0 w 113546"/>
                    <a:gd name="connsiteY4" fmla="*/ 86545 h 173090"/>
                    <a:gd name="connsiteX5" fmla="*/ 4405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8 w 113546"/>
                    <a:gd name="connsiteY10" fmla="*/ 20511 h 173090"/>
                    <a:gd name="connsiteX11" fmla="*/ 109283 w 113546"/>
                    <a:gd name="connsiteY11" fmla="*/ 47418 h 173090"/>
                    <a:gd name="connsiteX12" fmla="*/ 113546 w 113546"/>
                    <a:gd name="connsiteY12" fmla="*/ 86545 h 173090"/>
                    <a:gd name="connsiteX13" fmla="*/ 109283 w 113546"/>
                    <a:gd name="connsiteY13" fmla="*/ 125673 h 173090"/>
                    <a:gd name="connsiteX14" fmla="*/ 97298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20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7" y="164564"/>
                        <a:pt x="21411" y="159353"/>
                        <a:pt x="16390" y="152343"/>
                      </a:cubicBezTo>
                      <a:cubicBezTo>
                        <a:pt x="11321" y="145332"/>
                        <a:pt x="7342" y="136331"/>
                        <a:pt x="4405" y="125436"/>
                      </a:cubicBezTo>
                      <a:cubicBezTo>
                        <a:pt x="1468" y="114541"/>
                        <a:pt x="0" y="101562"/>
                        <a:pt x="0" y="86545"/>
                      </a:cubicBezTo>
                      <a:cubicBezTo>
                        <a:pt x="0" y="71387"/>
                        <a:pt x="1468" y="58360"/>
                        <a:pt x="4405" y="47418"/>
                      </a:cubicBezTo>
                      <a:cubicBezTo>
                        <a:pt x="7342" y="36522"/>
                        <a:pt x="11321" y="27569"/>
                        <a:pt x="16390" y="20511"/>
                      </a:cubicBezTo>
                      <a:cubicBezTo>
                        <a:pt x="21459" y="13501"/>
                        <a:pt x="27427" y="8290"/>
                        <a:pt x="34391" y="4974"/>
                      </a:cubicBezTo>
                      <a:cubicBezTo>
                        <a:pt x="41354" y="1658"/>
                        <a:pt x="48839" y="0"/>
                        <a:pt x="56892" y="0"/>
                      </a:cubicBezTo>
                      <a:cubicBezTo>
                        <a:pt x="64945" y="0"/>
                        <a:pt x="72429" y="1658"/>
                        <a:pt x="79298" y="4974"/>
                      </a:cubicBezTo>
                      <a:cubicBezTo>
                        <a:pt x="86166" y="8290"/>
                        <a:pt x="92182" y="13453"/>
                        <a:pt x="97298" y="20511"/>
                      </a:cubicBezTo>
                      <a:cubicBezTo>
                        <a:pt x="102414" y="27522"/>
                        <a:pt x="106441" y="36522"/>
                        <a:pt x="109283" y="47418"/>
                      </a:cubicBezTo>
                      <a:cubicBezTo>
                        <a:pt x="112125" y="58313"/>
                        <a:pt x="113546" y="71339"/>
                        <a:pt x="113546" y="86545"/>
                      </a:cubicBezTo>
                      <a:cubicBezTo>
                        <a:pt x="113546" y="101751"/>
                        <a:pt x="112125" y="114778"/>
                        <a:pt x="109283" y="125673"/>
                      </a:cubicBezTo>
                      <a:cubicBezTo>
                        <a:pt x="106441" y="136568"/>
                        <a:pt x="102462" y="145569"/>
                        <a:pt x="97298" y="152579"/>
                      </a:cubicBezTo>
                      <a:cubicBezTo>
                        <a:pt x="92182" y="159590"/>
                        <a:pt x="86166" y="164801"/>
                        <a:pt x="79298" y="168117"/>
                      </a:cubicBezTo>
                      <a:cubicBezTo>
                        <a:pt x="72429" y="171433"/>
                        <a:pt x="64945" y="173091"/>
                        <a:pt x="56892" y="173091"/>
                      </a:cubicBezTo>
                      <a:close/>
                      <a:moveTo>
                        <a:pt x="56892" y="162196"/>
                      </a:moveTo>
                      <a:cubicBezTo>
                        <a:pt x="70487" y="162196"/>
                        <a:pt x="81145" y="156037"/>
                        <a:pt x="88914" y="143721"/>
                      </a:cubicBezTo>
                      <a:cubicBezTo>
                        <a:pt x="96635" y="131405"/>
                        <a:pt x="100520" y="112362"/>
                        <a:pt x="100520" y="86593"/>
                      </a:cubicBezTo>
                      <a:cubicBezTo>
                        <a:pt x="100520"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591" y="156037"/>
                        <a:pt x="43296" y="162196"/>
                        <a:pt x="56892" y="162196"/>
                      </a:cubicBez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49" name="Freeform: Shape 348">
                  <a:extLst>
                    <a:ext uri="{FF2B5EF4-FFF2-40B4-BE49-F238E27FC236}">
                      <a16:creationId xmlns:a16="http://schemas.microsoft.com/office/drawing/2014/main" id="{ED0F574E-0BA8-4A4C-888A-2B415CD5BD29}"/>
                    </a:ext>
                  </a:extLst>
                </p:cNvPr>
                <p:cNvSpPr/>
                <p:nvPr/>
              </p:nvSpPr>
              <p:spPr>
                <a:xfrm>
                  <a:off x="2181533" y="1262173"/>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5 w 113546"/>
                    <a:gd name="connsiteY3" fmla="*/ 125436 h 173090"/>
                    <a:gd name="connsiteX4" fmla="*/ 0 w 113546"/>
                    <a:gd name="connsiteY4" fmla="*/ 86545 h 173090"/>
                    <a:gd name="connsiteX5" fmla="*/ 4405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8 w 113546"/>
                    <a:gd name="connsiteY10" fmla="*/ 20511 h 173090"/>
                    <a:gd name="connsiteX11" fmla="*/ 109283 w 113546"/>
                    <a:gd name="connsiteY11" fmla="*/ 47418 h 173090"/>
                    <a:gd name="connsiteX12" fmla="*/ 113546 w 113546"/>
                    <a:gd name="connsiteY12" fmla="*/ 86545 h 173090"/>
                    <a:gd name="connsiteX13" fmla="*/ 109283 w 113546"/>
                    <a:gd name="connsiteY13" fmla="*/ 125673 h 173090"/>
                    <a:gd name="connsiteX14" fmla="*/ 97298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20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7" y="164564"/>
                        <a:pt x="21411" y="159353"/>
                        <a:pt x="16390" y="152343"/>
                      </a:cubicBezTo>
                      <a:cubicBezTo>
                        <a:pt x="11321" y="145332"/>
                        <a:pt x="7342" y="136331"/>
                        <a:pt x="4405" y="125436"/>
                      </a:cubicBezTo>
                      <a:cubicBezTo>
                        <a:pt x="1468" y="114541"/>
                        <a:pt x="0" y="101562"/>
                        <a:pt x="0" y="86545"/>
                      </a:cubicBezTo>
                      <a:cubicBezTo>
                        <a:pt x="0" y="71387"/>
                        <a:pt x="1468" y="58360"/>
                        <a:pt x="4405" y="47418"/>
                      </a:cubicBezTo>
                      <a:cubicBezTo>
                        <a:pt x="7342" y="36522"/>
                        <a:pt x="11321" y="27569"/>
                        <a:pt x="16390" y="20511"/>
                      </a:cubicBezTo>
                      <a:cubicBezTo>
                        <a:pt x="21459" y="13501"/>
                        <a:pt x="27427" y="8290"/>
                        <a:pt x="34391" y="4974"/>
                      </a:cubicBezTo>
                      <a:cubicBezTo>
                        <a:pt x="41354" y="1658"/>
                        <a:pt x="48839" y="0"/>
                        <a:pt x="56892" y="0"/>
                      </a:cubicBezTo>
                      <a:cubicBezTo>
                        <a:pt x="64945" y="0"/>
                        <a:pt x="72429" y="1658"/>
                        <a:pt x="79298" y="4974"/>
                      </a:cubicBezTo>
                      <a:cubicBezTo>
                        <a:pt x="86166" y="8290"/>
                        <a:pt x="92182" y="13453"/>
                        <a:pt x="97298" y="20511"/>
                      </a:cubicBezTo>
                      <a:cubicBezTo>
                        <a:pt x="102414" y="27522"/>
                        <a:pt x="106441" y="36522"/>
                        <a:pt x="109283" y="47418"/>
                      </a:cubicBezTo>
                      <a:cubicBezTo>
                        <a:pt x="112125" y="58313"/>
                        <a:pt x="113546" y="71339"/>
                        <a:pt x="113546" y="86545"/>
                      </a:cubicBezTo>
                      <a:cubicBezTo>
                        <a:pt x="113546" y="101751"/>
                        <a:pt x="112125" y="114778"/>
                        <a:pt x="109283" y="125673"/>
                      </a:cubicBezTo>
                      <a:cubicBezTo>
                        <a:pt x="106441" y="136568"/>
                        <a:pt x="102462" y="145569"/>
                        <a:pt x="97298" y="152579"/>
                      </a:cubicBezTo>
                      <a:cubicBezTo>
                        <a:pt x="92182" y="159590"/>
                        <a:pt x="86166" y="164801"/>
                        <a:pt x="79298" y="168117"/>
                      </a:cubicBezTo>
                      <a:cubicBezTo>
                        <a:pt x="72429" y="171433"/>
                        <a:pt x="64945" y="173091"/>
                        <a:pt x="56892" y="173091"/>
                      </a:cubicBezTo>
                      <a:close/>
                      <a:moveTo>
                        <a:pt x="56892" y="162196"/>
                      </a:moveTo>
                      <a:cubicBezTo>
                        <a:pt x="70487" y="162196"/>
                        <a:pt x="81145" y="156037"/>
                        <a:pt x="88914" y="143721"/>
                      </a:cubicBezTo>
                      <a:cubicBezTo>
                        <a:pt x="96635" y="131405"/>
                        <a:pt x="100520" y="112362"/>
                        <a:pt x="100520" y="86593"/>
                      </a:cubicBezTo>
                      <a:cubicBezTo>
                        <a:pt x="100520"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638" y="156037"/>
                        <a:pt x="43296" y="162196"/>
                        <a:pt x="56892" y="162196"/>
                      </a:cubicBez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186" name="Freeform: Shape 185">
                <a:extLst>
                  <a:ext uri="{FF2B5EF4-FFF2-40B4-BE49-F238E27FC236}">
                    <a16:creationId xmlns:a16="http://schemas.microsoft.com/office/drawing/2014/main" id="{61CC7A23-5213-4763-A4A0-5A0A61107B43}"/>
                  </a:ext>
                </a:extLst>
              </p:cNvPr>
              <p:cNvSpPr/>
              <p:nvPr/>
            </p:nvSpPr>
            <p:spPr>
              <a:xfrm>
                <a:off x="6053620" y="2656515"/>
                <a:ext cx="51207" cy="165937"/>
              </a:xfrm>
              <a:custGeom>
                <a:avLst/>
                <a:gdLst>
                  <a:gd name="connsiteX0" fmla="*/ 38417 w 51207"/>
                  <a:gd name="connsiteY0" fmla="*/ 165938 h 165937"/>
                  <a:gd name="connsiteX1" fmla="*/ 38417 w 51207"/>
                  <a:gd name="connsiteY1" fmla="*/ 13737 h 165937"/>
                  <a:gd name="connsiteX2" fmla="*/ 0 w 51207"/>
                  <a:gd name="connsiteY2" fmla="*/ 35528 h 165937"/>
                  <a:gd name="connsiteX3" fmla="*/ 0 w 51207"/>
                  <a:gd name="connsiteY3" fmla="*/ 22027 h 165937"/>
                  <a:gd name="connsiteX4" fmla="*/ 38654 w 51207"/>
                  <a:gd name="connsiteY4" fmla="*/ 0 h 165937"/>
                  <a:gd name="connsiteX5" fmla="*/ 51207 w 51207"/>
                  <a:gd name="connsiteY5" fmla="*/ 0 h 165937"/>
                  <a:gd name="connsiteX6" fmla="*/ 51207 w 51207"/>
                  <a:gd name="connsiteY6" fmla="*/ 165938 h 165937"/>
                  <a:gd name="connsiteX7" fmla="*/ 38417 w 51207"/>
                  <a:gd name="connsiteY7" fmla="*/ 165938 h 1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07" h="165937">
                    <a:moveTo>
                      <a:pt x="38417" y="165938"/>
                    </a:moveTo>
                    <a:lnTo>
                      <a:pt x="38417" y="13737"/>
                    </a:lnTo>
                    <a:lnTo>
                      <a:pt x="0" y="35528"/>
                    </a:lnTo>
                    <a:lnTo>
                      <a:pt x="0" y="22027"/>
                    </a:lnTo>
                    <a:lnTo>
                      <a:pt x="38654" y="0"/>
                    </a:lnTo>
                    <a:lnTo>
                      <a:pt x="51207" y="0"/>
                    </a:lnTo>
                    <a:lnTo>
                      <a:pt x="51207" y="165938"/>
                    </a:lnTo>
                    <a:lnTo>
                      <a:pt x="38417" y="165938"/>
                    </a:lnTo>
                    <a:close/>
                  </a:path>
                </a:pathLst>
              </a:custGeom>
              <a:solidFill>
                <a:srgbClr val="74BF4B"/>
              </a:solidFill>
              <a:ln w="6350"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7" name="Freeform: Shape 186">
                <a:extLst>
                  <a:ext uri="{FF2B5EF4-FFF2-40B4-BE49-F238E27FC236}">
                    <a16:creationId xmlns:a16="http://schemas.microsoft.com/office/drawing/2014/main" id="{626E62FE-5A01-4DF2-8531-087B050D783F}"/>
                  </a:ext>
                </a:extLst>
              </p:cNvPr>
              <p:cNvSpPr/>
              <p:nvPr/>
            </p:nvSpPr>
            <p:spPr>
              <a:xfrm>
                <a:off x="6361290" y="2941968"/>
                <a:ext cx="51207" cy="165937"/>
              </a:xfrm>
              <a:custGeom>
                <a:avLst/>
                <a:gdLst>
                  <a:gd name="connsiteX0" fmla="*/ 38417 w 51207"/>
                  <a:gd name="connsiteY0" fmla="*/ 165938 h 165937"/>
                  <a:gd name="connsiteX1" fmla="*/ 38417 w 51207"/>
                  <a:gd name="connsiteY1" fmla="*/ 13737 h 165937"/>
                  <a:gd name="connsiteX2" fmla="*/ 0 w 51207"/>
                  <a:gd name="connsiteY2" fmla="*/ 35528 h 165937"/>
                  <a:gd name="connsiteX3" fmla="*/ 0 w 51207"/>
                  <a:gd name="connsiteY3" fmla="*/ 22027 h 165937"/>
                  <a:gd name="connsiteX4" fmla="*/ 38654 w 51207"/>
                  <a:gd name="connsiteY4" fmla="*/ 0 h 165937"/>
                  <a:gd name="connsiteX5" fmla="*/ 51207 w 51207"/>
                  <a:gd name="connsiteY5" fmla="*/ 0 h 165937"/>
                  <a:gd name="connsiteX6" fmla="*/ 51207 w 51207"/>
                  <a:gd name="connsiteY6" fmla="*/ 165938 h 165937"/>
                  <a:gd name="connsiteX7" fmla="*/ 38417 w 51207"/>
                  <a:gd name="connsiteY7" fmla="*/ 165938 h 1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07" h="165937">
                    <a:moveTo>
                      <a:pt x="38417" y="165938"/>
                    </a:moveTo>
                    <a:lnTo>
                      <a:pt x="38417" y="13737"/>
                    </a:lnTo>
                    <a:lnTo>
                      <a:pt x="0" y="35528"/>
                    </a:lnTo>
                    <a:lnTo>
                      <a:pt x="0" y="22027"/>
                    </a:lnTo>
                    <a:lnTo>
                      <a:pt x="38654" y="0"/>
                    </a:lnTo>
                    <a:lnTo>
                      <a:pt x="51207" y="0"/>
                    </a:lnTo>
                    <a:lnTo>
                      <a:pt x="51207" y="165938"/>
                    </a:lnTo>
                    <a:lnTo>
                      <a:pt x="38417" y="165938"/>
                    </a:lnTo>
                    <a:close/>
                  </a:path>
                </a:pathLst>
              </a:custGeom>
              <a:solidFill>
                <a:srgbClr val="74BF4B"/>
              </a:solidFill>
              <a:ln w="6350"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8" name="Freeform: Shape 187">
                <a:extLst>
                  <a:ext uri="{FF2B5EF4-FFF2-40B4-BE49-F238E27FC236}">
                    <a16:creationId xmlns:a16="http://schemas.microsoft.com/office/drawing/2014/main" id="{E8F48DA4-A4AB-487F-899F-5FE79C7C2A32}"/>
                  </a:ext>
                </a:extLst>
              </p:cNvPr>
              <p:cNvSpPr/>
              <p:nvPr/>
            </p:nvSpPr>
            <p:spPr>
              <a:xfrm>
                <a:off x="5898104" y="2941968"/>
                <a:ext cx="51207" cy="165937"/>
              </a:xfrm>
              <a:custGeom>
                <a:avLst/>
                <a:gdLst>
                  <a:gd name="connsiteX0" fmla="*/ 38417 w 51207"/>
                  <a:gd name="connsiteY0" fmla="*/ 165938 h 165937"/>
                  <a:gd name="connsiteX1" fmla="*/ 38417 w 51207"/>
                  <a:gd name="connsiteY1" fmla="*/ 13737 h 165937"/>
                  <a:gd name="connsiteX2" fmla="*/ 0 w 51207"/>
                  <a:gd name="connsiteY2" fmla="*/ 35528 h 165937"/>
                  <a:gd name="connsiteX3" fmla="*/ 0 w 51207"/>
                  <a:gd name="connsiteY3" fmla="*/ 22027 h 165937"/>
                  <a:gd name="connsiteX4" fmla="*/ 38654 w 51207"/>
                  <a:gd name="connsiteY4" fmla="*/ 0 h 165937"/>
                  <a:gd name="connsiteX5" fmla="*/ 51207 w 51207"/>
                  <a:gd name="connsiteY5" fmla="*/ 0 h 165937"/>
                  <a:gd name="connsiteX6" fmla="*/ 51207 w 51207"/>
                  <a:gd name="connsiteY6" fmla="*/ 165938 h 165937"/>
                  <a:gd name="connsiteX7" fmla="*/ 38417 w 51207"/>
                  <a:gd name="connsiteY7" fmla="*/ 165938 h 1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07" h="165937">
                    <a:moveTo>
                      <a:pt x="38417" y="165938"/>
                    </a:moveTo>
                    <a:lnTo>
                      <a:pt x="38417" y="13737"/>
                    </a:lnTo>
                    <a:lnTo>
                      <a:pt x="0" y="35528"/>
                    </a:lnTo>
                    <a:lnTo>
                      <a:pt x="0" y="22027"/>
                    </a:lnTo>
                    <a:lnTo>
                      <a:pt x="38654" y="0"/>
                    </a:lnTo>
                    <a:lnTo>
                      <a:pt x="51207" y="0"/>
                    </a:lnTo>
                    <a:lnTo>
                      <a:pt x="51207" y="165938"/>
                    </a:lnTo>
                    <a:lnTo>
                      <a:pt x="38417" y="165938"/>
                    </a:lnTo>
                    <a:close/>
                  </a:path>
                </a:pathLst>
              </a:custGeom>
              <a:solidFill>
                <a:srgbClr val="74BF4B"/>
              </a:solidFill>
              <a:ln w="6350"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89" name="Freeform: Shape 188">
                <a:extLst>
                  <a:ext uri="{FF2B5EF4-FFF2-40B4-BE49-F238E27FC236}">
                    <a16:creationId xmlns:a16="http://schemas.microsoft.com/office/drawing/2014/main" id="{B5C49A01-E819-46FC-861B-0818680790FC}"/>
                  </a:ext>
                </a:extLst>
              </p:cNvPr>
              <p:cNvSpPr/>
              <p:nvPr/>
            </p:nvSpPr>
            <p:spPr>
              <a:xfrm>
                <a:off x="5747467" y="2941968"/>
                <a:ext cx="51207" cy="165937"/>
              </a:xfrm>
              <a:custGeom>
                <a:avLst/>
                <a:gdLst>
                  <a:gd name="connsiteX0" fmla="*/ 38417 w 51207"/>
                  <a:gd name="connsiteY0" fmla="*/ 165938 h 165937"/>
                  <a:gd name="connsiteX1" fmla="*/ 38417 w 51207"/>
                  <a:gd name="connsiteY1" fmla="*/ 13737 h 165937"/>
                  <a:gd name="connsiteX2" fmla="*/ 0 w 51207"/>
                  <a:gd name="connsiteY2" fmla="*/ 35528 h 165937"/>
                  <a:gd name="connsiteX3" fmla="*/ 0 w 51207"/>
                  <a:gd name="connsiteY3" fmla="*/ 22027 h 165937"/>
                  <a:gd name="connsiteX4" fmla="*/ 38654 w 51207"/>
                  <a:gd name="connsiteY4" fmla="*/ 0 h 165937"/>
                  <a:gd name="connsiteX5" fmla="*/ 51207 w 51207"/>
                  <a:gd name="connsiteY5" fmla="*/ 0 h 165937"/>
                  <a:gd name="connsiteX6" fmla="*/ 51207 w 51207"/>
                  <a:gd name="connsiteY6" fmla="*/ 165938 h 165937"/>
                  <a:gd name="connsiteX7" fmla="*/ 38417 w 51207"/>
                  <a:gd name="connsiteY7" fmla="*/ 165938 h 1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07" h="165937">
                    <a:moveTo>
                      <a:pt x="38417" y="165938"/>
                    </a:moveTo>
                    <a:lnTo>
                      <a:pt x="38417" y="13737"/>
                    </a:lnTo>
                    <a:lnTo>
                      <a:pt x="0" y="35528"/>
                    </a:lnTo>
                    <a:lnTo>
                      <a:pt x="0" y="22027"/>
                    </a:lnTo>
                    <a:lnTo>
                      <a:pt x="38654" y="0"/>
                    </a:lnTo>
                    <a:lnTo>
                      <a:pt x="51207" y="0"/>
                    </a:lnTo>
                    <a:lnTo>
                      <a:pt x="51207" y="165938"/>
                    </a:lnTo>
                    <a:lnTo>
                      <a:pt x="38417" y="165938"/>
                    </a:lnTo>
                    <a:close/>
                  </a:path>
                </a:pathLst>
              </a:custGeom>
              <a:solidFill>
                <a:srgbClr val="74BF4B"/>
              </a:solidFill>
              <a:ln w="6350"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0" name="Freeform: Shape 189">
                <a:extLst>
                  <a:ext uri="{FF2B5EF4-FFF2-40B4-BE49-F238E27FC236}">
                    <a16:creationId xmlns:a16="http://schemas.microsoft.com/office/drawing/2014/main" id="{9B63D92D-C614-455C-8A0B-0CE97184FB1D}"/>
                  </a:ext>
                </a:extLst>
              </p:cNvPr>
              <p:cNvSpPr/>
              <p:nvPr/>
            </p:nvSpPr>
            <p:spPr>
              <a:xfrm>
                <a:off x="5286791" y="2941968"/>
                <a:ext cx="51207" cy="165937"/>
              </a:xfrm>
              <a:custGeom>
                <a:avLst/>
                <a:gdLst>
                  <a:gd name="connsiteX0" fmla="*/ 38417 w 51207"/>
                  <a:gd name="connsiteY0" fmla="*/ 165938 h 165937"/>
                  <a:gd name="connsiteX1" fmla="*/ 38417 w 51207"/>
                  <a:gd name="connsiteY1" fmla="*/ 13737 h 165937"/>
                  <a:gd name="connsiteX2" fmla="*/ 0 w 51207"/>
                  <a:gd name="connsiteY2" fmla="*/ 35528 h 165937"/>
                  <a:gd name="connsiteX3" fmla="*/ 0 w 51207"/>
                  <a:gd name="connsiteY3" fmla="*/ 22027 h 165937"/>
                  <a:gd name="connsiteX4" fmla="*/ 38654 w 51207"/>
                  <a:gd name="connsiteY4" fmla="*/ 0 h 165937"/>
                  <a:gd name="connsiteX5" fmla="*/ 51207 w 51207"/>
                  <a:gd name="connsiteY5" fmla="*/ 0 h 165937"/>
                  <a:gd name="connsiteX6" fmla="*/ 51207 w 51207"/>
                  <a:gd name="connsiteY6" fmla="*/ 165938 h 165937"/>
                  <a:gd name="connsiteX7" fmla="*/ 38417 w 51207"/>
                  <a:gd name="connsiteY7" fmla="*/ 165938 h 1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07" h="165937">
                    <a:moveTo>
                      <a:pt x="38417" y="165938"/>
                    </a:moveTo>
                    <a:lnTo>
                      <a:pt x="38417" y="13737"/>
                    </a:lnTo>
                    <a:lnTo>
                      <a:pt x="0" y="35528"/>
                    </a:lnTo>
                    <a:lnTo>
                      <a:pt x="0" y="22027"/>
                    </a:lnTo>
                    <a:lnTo>
                      <a:pt x="38654" y="0"/>
                    </a:lnTo>
                    <a:lnTo>
                      <a:pt x="51207" y="0"/>
                    </a:lnTo>
                    <a:lnTo>
                      <a:pt x="51207" y="165938"/>
                    </a:lnTo>
                    <a:lnTo>
                      <a:pt x="38417" y="165938"/>
                    </a:lnTo>
                    <a:close/>
                  </a:path>
                </a:pathLst>
              </a:custGeom>
              <a:solidFill>
                <a:srgbClr val="74BF4B"/>
              </a:solidFill>
              <a:ln w="6350"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1" name="Freeform: Shape 190">
                <a:extLst>
                  <a:ext uri="{FF2B5EF4-FFF2-40B4-BE49-F238E27FC236}">
                    <a16:creationId xmlns:a16="http://schemas.microsoft.com/office/drawing/2014/main" id="{1382DC4A-223D-4EFA-B358-81276B30F920}"/>
                  </a:ext>
                </a:extLst>
              </p:cNvPr>
              <p:cNvSpPr/>
              <p:nvPr/>
            </p:nvSpPr>
            <p:spPr>
              <a:xfrm>
                <a:off x="4955342" y="2372578"/>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5 w 113546"/>
                  <a:gd name="connsiteY3" fmla="*/ 125436 h 173090"/>
                  <a:gd name="connsiteX4" fmla="*/ 0 w 113546"/>
                  <a:gd name="connsiteY4" fmla="*/ 86545 h 173090"/>
                  <a:gd name="connsiteX5" fmla="*/ 4405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9 w 113546"/>
                  <a:gd name="connsiteY10" fmla="*/ 20511 h 173090"/>
                  <a:gd name="connsiteX11" fmla="*/ 109283 w 113546"/>
                  <a:gd name="connsiteY11" fmla="*/ 47418 h 173090"/>
                  <a:gd name="connsiteX12" fmla="*/ 113547 w 113546"/>
                  <a:gd name="connsiteY12" fmla="*/ 86545 h 173090"/>
                  <a:gd name="connsiteX13" fmla="*/ 109283 w 113546"/>
                  <a:gd name="connsiteY13" fmla="*/ 125673 h 173090"/>
                  <a:gd name="connsiteX14" fmla="*/ 97299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20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8" y="164564"/>
                      <a:pt x="21411" y="159353"/>
                      <a:pt x="16390" y="152343"/>
                    </a:cubicBezTo>
                    <a:cubicBezTo>
                      <a:pt x="11322" y="145332"/>
                      <a:pt x="7342" y="136331"/>
                      <a:pt x="4405" y="125436"/>
                    </a:cubicBezTo>
                    <a:cubicBezTo>
                      <a:pt x="1468" y="114541"/>
                      <a:pt x="0" y="101562"/>
                      <a:pt x="0" y="86545"/>
                    </a:cubicBezTo>
                    <a:cubicBezTo>
                      <a:pt x="0" y="71387"/>
                      <a:pt x="1468" y="58360"/>
                      <a:pt x="4405" y="47418"/>
                    </a:cubicBezTo>
                    <a:cubicBezTo>
                      <a:pt x="7342" y="36522"/>
                      <a:pt x="11322" y="27569"/>
                      <a:pt x="16390" y="20511"/>
                    </a:cubicBezTo>
                    <a:cubicBezTo>
                      <a:pt x="21459" y="13501"/>
                      <a:pt x="27428" y="8290"/>
                      <a:pt x="34391" y="4974"/>
                    </a:cubicBezTo>
                    <a:cubicBezTo>
                      <a:pt x="41354" y="1658"/>
                      <a:pt x="48839" y="0"/>
                      <a:pt x="56892" y="0"/>
                    </a:cubicBezTo>
                    <a:cubicBezTo>
                      <a:pt x="64945" y="0"/>
                      <a:pt x="72429" y="1658"/>
                      <a:pt x="79298" y="4974"/>
                    </a:cubicBezTo>
                    <a:cubicBezTo>
                      <a:pt x="86166" y="8290"/>
                      <a:pt x="92183" y="13453"/>
                      <a:pt x="97299" y="20511"/>
                    </a:cubicBezTo>
                    <a:cubicBezTo>
                      <a:pt x="102414" y="27522"/>
                      <a:pt x="106441" y="36522"/>
                      <a:pt x="109283" y="47418"/>
                    </a:cubicBezTo>
                    <a:cubicBezTo>
                      <a:pt x="112125" y="58313"/>
                      <a:pt x="113547" y="71340"/>
                      <a:pt x="113547" y="86545"/>
                    </a:cubicBezTo>
                    <a:cubicBezTo>
                      <a:pt x="113547" y="101751"/>
                      <a:pt x="112125" y="114778"/>
                      <a:pt x="109283" y="125673"/>
                    </a:cubicBezTo>
                    <a:cubicBezTo>
                      <a:pt x="106441" y="136568"/>
                      <a:pt x="102462" y="145569"/>
                      <a:pt x="97299" y="152579"/>
                    </a:cubicBezTo>
                    <a:cubicBezTo>
                      <a:pt x="92183" y="159590"/>
                      <a:pt x="86166" y="164801"/>
                      <a:pt x="79298" y="168117"/>
                    </a:cubicBezTo>
                    <a:cubicBezTo>
                      <a:pt x="72429" y="171433"/>
                      <a:pt x="64945" y="173091"/>
                      <a:pt x="56892" y="173091"/>
                    </a:cubicBezTo>
                    <a:close/>
                    <a:moveTo>
                      <a:pt x="56892" y="162196"/>
                    </a:moveTo>
                    <a:cubicBezTo>
                      <a:pt x="70487" y="162196"/>
                      <a:pt x="81145" y="156037"/>
                      <a:pt x="88914" y="143721"/>
                    </a:cubicBezTo>
                    <a:cubicBezTo>
                      <a:pt x="96635" y="131405"/>
                      <a:pt x="100520" y="112362"/>
                      <a:pt x="100520" y="86593"/>
                    </a:cubicBezTo>
                    <a:cubicBezTo>
                      <a:pt x="100520"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638" y="156037"/>
                      <a:pt x="43296" y="162196"/>
                      <a:pt x="56892" y="162196"/>
                    </a:cubicBezTo>
                    <a:close/>
                  </a:path>
                </a:pathLst>
              </a:custGeom>
              <a:solidFill>
                <a:srgbClr val="74BF4B"/>
              </a:solidFill>
              <a:ln w="6350"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2" name="Freeform: Shape 191">
                <a:extLst>
                  <a:ext uri="{FF2B5EF4-FFF2-40B4-BE49-F238E27FC236}">
                    <a16:creationId xmlns:a16="http://schemas.microsoft.com/office/drawing/2014/main" id="{081FCD37-A3BB-4304-B989-A78FD2E4721B}"/>
                  </a:ext>
                </a:extLst>
              </p:cNvPr>
              <p:cNvSpPr/>
              <p:nvPr/>
            </p:nvSpPr>
            <p:spPr>
              <a:xfrm>
                <a:off x="5418954" y="2372578"/>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5 w 113546"/>
                  <a:gd name="connsiteY3" fmla="*/ 125436 h 173090"/>
                  <a:gd name="connsiteX4" fmla="*/ 0 w 113546"/>
                  <a:gd name="connsiteY4" fmla="*/ 86545 h 173090"/>
                  <a:gd name="connsiteX5" fmla="*/ 4405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9 w 113546"/>
                  <a:gd name="connsiteY10" fmla="*/ 20511 h 173090"/>
                  <a:gd name="connsiteX11" fmla="*/ 109283 w 113546"/>
                  <a:gd name="connsiteY11" fmla="*/ 47418 h 173090"/>
                  <a:gd name="connsiteX12" fmla="*/ 113547 w 113546"/>
                  <a:gd name="connsiteY12" fmla="*/ 86545 h 173090"/>
                  <a:gd name="connsiteX13" fmla="*/ 109283 w 113546"/>
                  <a:gd name="connsiteY13" fmla="*/ 125673 h 173090"/>
                  <a:gd name="connsiteX14" fmla="*/ 97299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20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8" y="164564"/>
                      <a:pt x="21411" y="159353"/>
                      <a:pt x="16390" y="152343"/>
                    </a:cubicBezTo>
                    <a:cubicBezTo>
                      <a:pt x="11322" y="145332"/>
                      <a:pt x="7342" y="136331"/>
                      <a:pt x="4405" y="125436"/>
                    </a:cubicBezTo>
                    <a:cubicBezTo>
                      <a:pt x="1468" y="114541"/>
                      <a:pt x="0" y="101562"/>
                      <a:pt x="0" y="86545"/>
                    </a:cubicBezTo>
                    <a:cubicBezTo>
                      <a:pt x="0" y="71387"/>
                      <a:pt x="1468" y="58360"/>
                      <a:pt x="4405" y="47418"/>
                    </a:cubicBezTo>
                    <a:cubicBezTo>
                      <a:pt x="7342" y="36522"/>
                      <a:pt x="11322" y="27569"/>
                      <a:pt x="16390" y="20511"/>
                    </a:cubicBezTo>
                    <a:cubicBezTo>
                      <a:pt x="21459" y="13501"/>
                      <a:pt x="27428" y="8290"/>
                      <a:pt x="34391" y="4974"/>
                    </a:cubicBezTo>
                    <a:cubicBezTo>
                      <a:pt x="41354" y="1658"/>
                      <a:pt x="48839" y="0"/>
                      <a:pt x="56892" y="0"/>
                    </a:cubicBezTo>
                    <a:cubicBezTo>
                      <a:pt x="64945" y="0"/>
                      <a:pt x="72429" y="1658"/>
                      <a:pt x="79298" y="4974"/>
                    </a:cubicBezTo>
                    <a:cubicBezTo>
                      <a:pt x="86166" y="8290"/>
                      <a:pt x="92183" y="13453"/>
                      <a:pt x="97299" y="20511"/>
                    </a:cubicBezTo>
                    <a:cubicBezTo>
                      <a:pt x="102414" y="27522"/>
                      <a:pt x="106441" y="36522"/>
                      <a:pt x="109283" y="47418"/>
                    </a:cubicBezTo>
                    <a:cubicBezTo>
                      <a:pt x="112125" y="58313"/>
                      <a:pt x="113547" y="71340"/>
                      <a:pt x="113547" y="86545"/>
                    </a:cubicBezTo>
                    <a:cubicBezTo>
                      <a:pt x="113547" y="101751"/>
                      <a:pt x="112125" y="114778"/>
                      <a:pt x="109283" y="125673"/>
                    </a:cubicBezTo>
                    <a:cubicBezTo>
                      <a:pt x="106441" y="136568"/>
                      <a:pt x="102462" y="145569"/>
                      <a:pt x="97299" y="152579"/>
                    </a:cubicBezTo>
                    <a:cubicBezTo>
                      <a:pt x="92183" y="159590"/>
                      <a:pt x="86166" y="164801"/>
                      <a:pt x="79298" y="168117"/>
                    </a:cubicBezTo>
                    <a:cubicBezTo>
                      <a:pt x="72429" y="171433"/>
                      <a:pt x="64945" y="173091"/>
                      <a:pt x="56892" y="173091"/>
                    </a:cubicBezTo>
                    <a:close/>
                    <a:moveTo>
                      <a:pt x="56892" y="162196"/>
                    </a:moveTo>
                    <a:cubicBezTo>
                      <a:pt x="70487" y="162196"/>
                      <a:pt x="81145" y="156037"/>
                      <a:pt x="88914" y="143721"/>
                    </a:cubicBezTo>
                    <a:cubicBezTo>
                      <a:pt x="96635" y="131405"/>
                      <a:pt x="100520" y="112362"/>
                      <a:pt x="100520" y="86593"/>
                    </a:cubicBezTo>
                    <a:cubicBezTo>
                      <a:pt x="100520"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638" y="156037"/>
                      <a:pt x="43296" y="162196"/>
                      <a:pt x="56892" y="162196"/>
                    </a:cubicBezTo>
                    <a:close/>
                  </a:path>
                </a:pathLst>
              </a:custGeom>
              <a:solidFill>
                <a:srgbClr val="74BF4B"/>
              </a:solidFill>
              <a:ln w="6350"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3" name="Freeform: Shape 192">
                <a:extLst>
                  <a:ext uri="{FF2B5EF4-FFF2-40B4-BE49-F238E27FC236}">
                    <a16:creationId xmlns:a16="http://schemas.microsoft.com/office/drawing/2014/main" id="{5CBF33F8-BC1F-46D5-A409-6AB447CF5A18}"/>
                  </a:ext>
                </a:extLst>
              </p:cNvPr>
              <p:cNvSpPr/>
              <p:nvPr/>
            </p:nvSpPr>
            <p:spPr>
              <a:xfrm>
                <a:off x="5418954" y="2659452"/>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5 w 113546"/>
                  <a:gd name="connsiteY3" fmla="*/ 125436 h 173090"/>
                  <a:gd name="connsiteX4" fmla="*/ 0 w 113546"/>
                  <a:gd name="connsiteY4" fmla="*/ 86545 h 173090"/>
                  <a:gd name="connsiteX5" fmla="*/ 4405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9 w 113546"/>
                  <a:gd name="connsiteY10" fmla="*/ 20511 h 173090"/>
                  <a:gd name="connsiteX11" fmla="*/ 109283 w 113546"/>
                  <a:gd name="connsiteY11" fmla="*/ 47418 h 173090"/>
                  <a:gd name="connsiteX12" fmla="*/ 113547 w 113546"/>
                  <a:gd name="connsiteY12" fmla="*/ 86545 h 173090"/>
                  <a:gd name="connsiteX13" fmla="*/ 109283 w 113546"/>
                  <a:gd name="connsiteY13" fmla="*/ 125673 h 173090"/>
                  <a:gd name="connsiteX14" fmla="*/ 97299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20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8" y="164564"/>
                      <a:pt x="21411" y="159353"/>
                      <a:pt x="16390" y="152343"/>
                    </a:cubicBezTo>
                    <a:cubicBezTo>
                      <a:pt x="11322" y="145332"/>
                      <a:pt x="7342" y="136331"/>
                      <a:pt x="4405" y="125436"/>
                    </a:cubicBezTo>
                    <a:cubicBezTo>
                      <a:pt x="1468" y="114541"/>
                      <a:pt x="0" y="101562"/>
                      <a:pt x="0" y="86545"/>
                    </a:cubicBezTo>
                    <a:cubicBezTo>
                      <a:pt x="0" y="71387"/>
                      <a:pt x="1468" y="58360"/>
                      <a:pt x="4405" y="47418"/>
                    </a:cubicBezTo>
                    <a:cubicBezTo>
                      <a:pt x="7342" y="36522"/>
                      <a:pt x="11322" y="27569"/>
                      <a:pt x="16390" y="20511"/>
                    </a:cubicBezTo>
                    <a:cubicBezTo>
                      <a:pt x="21459" y="13501"/>
                      <a:pt x="27428" y="8290"/>
                      <a:pt x="34391" y="4974"/>
                    </a:cubicBezTo>
                    <a:cubicBezTo>
                      <a:pt x="41354" y="1658"/>
                      <a:pt x="48839" y="0"/>
                      <a:pt x="56892" y="0"/>
                    </a:cubicBezTo>
                    <a:cubicBezTo>
                      <a:pt x="64945" y="0"/>
                      <a:pt x="72429" y="1658"/>
                      <a:pt x="79298" y="4974"/>
                    </a:cubicBezTo>
                    <a:cubicBezTo>
                      <a:pt x="86166" y="8290"/>
                      <a:pt x="92183" y="13453"/>
                      <a:pt x="97299" y="20511"/>
                    </a:cubicBezTo>
                    <a:cubicBezTo>
                      <a:pt x="102414" y="27522"/>
                      <a:pt x="106441" y="36522"/>
                      <a:pt x="109283" y="47418"/>
                    </a:cubicBezTo>
                    <a:cubicBezTo>
                      <a:pt x="112125" y="58313"/>
                      <a:pt x="113547" y="71340"/>
                      <a:pt x="113547" y="86545"/>
                    </a:cubicBezTo>
                    <a:cubicBezTo>
                      <a:pt x="113547" y="101751"/>
                      <a:pt x="112125" y="114778"/>
                      <a:pt x="109283" y="125673"/>
                    </a:cubicBezTo>
                    <a:cubicBezTo>
                      <a:pt x="106441" y="136568"/>
                      <a:pt x="102462" y="145569"/>
                      <a:pt x="97299" y="152579"/>
                    </a:cubicBezTo>
                    <a:cubicBezTo>
                      <a:pt x="92183" y="159590"/>
                      <a:pt x="86166" y="164801"/>
                      <a:pt x="79298" y="168117"/>
                    </a:cubicBezTo>
                    <a:cubicBezTo>
                      <a:pt x="72429" y="171433"/>
                      <a:pt x="64945" y="173091"/>
                      <a:pt x="56892" y="173091"/>
                    </a:cubicBezTo>
                    <a:close/>
                    <a:moveTo>
                      <a:pt x="56892" y="162196"/>
                    </a:moveTo>
                    <a:cubicBezTo>
                      <a:pt x="70487" y="162196"/>
                      <a:pt x="81145" y="156037"/>
                      <a:pt x="88914" y="143721"/>
                    </a:cubicBezTo>
                    <a:cubicBezTo>
                      <a:pt x="96635" y="131405"/>
                      <a:pt x="100520" y="112362"/>
                      <a:pt x="100520" y="86593"/>
                    </a:cubicBezTo>
                    <a:cubicBezTo>
                      <a:pt x="100520"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638" y="156037"/>
                      <a:pt x="43296" y="162196"/>
                      <a:pt x="56892" y="162196"/>
                    </a:cubicBezTo>
                    <a:close/>
                  </a:path>
                </a:pathLst>
              </a:custGeom>
              <a:solidFill>
                <a:srgbClr val="74BF4B"/>
              </a:solidFill>
              <a:ln w="6350"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4" name="Freeform: Shape 193">
                <a:extLst>
                  <a:ext uri="{FF2B5EF4-FFF2-40B4-BE49-F238E27FC236}">
                    <a16:creationId xmlns:a16="http://schemas.microsoft.com/office/drawing/2014/main" id="{B6221BD1-F62B-4B94-9C46-B246F0859CB9}"/>
                  </a:ext>
                </a:extLst>
              </p:cNvPr>
              <p:cNvSpPr/>
              <p:nvPr/>
            </p:nvSpPr>
            <p:spPr>
              <a:xfrm>
                <a:off x="5572765" y="2659452"/>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5 w 113546"/>
                  <a:gd name="connsiteY3" fmla="*/ 125436 h 173090"/>
                  <a:gd name="connsiteX4" fmla="*/ 0 w 113546"/>
                  <a:gd name="connsiteY4" fmla="*/ 86545 h 173090"/>
                  <a:gd name="connsiteX5" fmla="*/ 4405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8 w 113546"/>
                  <a:gd name="connsiteY10" fmla="*/ 20511 h 173090"/>
                  <a:gd name="connsiteX11" fmla="*/ 109283 w 113546"/>
                  <a:gd name="connsiteY11" fmla="*/ 47418 h 173090"/>
                  <a:gd name="connsiteX12" fmla="*/ 113546 w 113546"/>
                  <a:gd name="connsiteY12" fmla="*/ 86545 h 173090"/>
                  <a:gd name="connsiteX13" fmla="*/ 109283 w 113546"/>
                  <a:gd name="connsiteY13" fmla="*/ 125673 h 173090"/>
                  <a:gd name="connsiteX14" fmla="*/ 97298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19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7" y="164564"/>
                      <a:pt x="21411" y="159353"/>
                      <a:pt x="16390" y="152343"/>
                    </a:cubicBezTo>
                    <a:cubicBezTo>
                      <a:pt x="11322" y="145332"/>
                      <a:pt x="7342" y="136331"/>
                      <a:pt x="4405" y="125436"/>
                    </a:cubicBezTo>
                    <a:cubicBezTo>
                      <a:pt x="1468" y="114541"/>
                      <a:pt x="0" y="101562"/>
                      <a:pt x="0" y="86545"/>
                    </a:cubicBezTo>
                    <a:cubicBezTo>
                      <a:pt x="0" y="71387"/>
                      <a:pt x="1468" y="58360"/>
                      <a:pt x="4405" y="47418"/>
                    </a:cubicBezTo>
                    <a:cubicBezTo>
                      <a:pt x="7342" y="36522"/>
                      <a:pt x="11322" y="27569"/>
                      <a:pt x="16390" y="20511"/>
                    </a:cubicBezTo>
                    <a:cubicBezTo>
                      <a:pt x="21459" y="13501"/>
                      <a:pt x="27427" y="8290"/>
                      <a:pt x="34391" y="4974"/>
                    </a:cubicBezTo>
                    <a:cubicBezTo>
                      <a:pt x="41354" y="1658"/>
                      <a:pt x="48839" y="0"/>
                      <a:pt x="56892" y="0"/>
                    </a:cubicBezTo>
                    <a:cubicBezTo>
                      <a:pt x="64944" y="0"/>
                      <a:pt x="72429" y="1658"/>
                      <a:pt x="79298" y="4974"/>
                    </a:cubicBezTo>
                    <a:cubicBezTo>
                      <a:pt x="86166" y="8290"/>
                      <a:pt x="92182" y="13453"/>
                      <a:pt x="97298" y="20511"/>
                    </a:cubicBezTo>
                    <a:cubicBezTo>
                      <a:pt x="102414" y="27522"/>
                      <a:pt x="106441" y="36522"/>
                      <a:pt x="109283" y="47418"/>
                    </a:cubicBezTo>
                    <a:cubicBezTo>
                      <a:pt x="112125" y="58313"/>
                      <a:pt x="113546" y="71340"/>
                      <a:pt x="113546" y="86545"/>
                    </a:cubicBezTo>
                    <a:cubicBezTo>
                      <a:pt x="113546" y="101751"/>
                      <a:pt x="112125" y="114778"/>
                      <a:pt x="109283" y="125673"/>
                    </a:cubicBezTo>
                    <a:cubicBezTo>
                      <a:pt x="106441" y="136568"/>
                      <a:pt x="102462" y="145569"/>
                      <a:pt x="97298" y="152579"/>
                    </a:cubicBezTo>
                    <a:cubicBezTo>
                      <a:pt x="92182" y="159590"/>
                      <a:pt x="86166" y="164801"/>
                      <a:pt x="79298" y="168117"/>
                    </a:cubicBezTo>
                    <a:cubicBezTo>
                      <a:pt x="72429" y="171433"/>
                      <a:pt x="64944" y="173091"/>
                      <a:pt x="56892" y="173091"/>
                    </a:cubicBezTo>
                    <a:close/>
                    <a:moveTo>
                      <a:pt x="56892" y="162196"/>
                    </a:moveTo>
                    <a:cubicBezTo>
                      <a:pt x="70487" y="162196"/>
                      <a:pt x="81145" y="156037"/>
                      <a:pt x="88914" y="143721"/>
                    </a:cubicBezTo>
                    <a:cubicBezTo>
                      <a:pt x="96635" y="131405"/>
                      <a:pt x="100519" y="112362"/>
                      <a:pt x="100519" y="86593"/>
                    </a:cubicBezTo>
                    <a:cubicBezTo>
                      <a:pt x="100519"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591" y="156037"/>
                      <a:pt x="43296" y="162196"/>
                      <a:pt x="56892" y="162196"/>
                    </a:cubicBezTo>
                    <a:close/>
                  </a:path>
                </a:pathLst>
              </a:custGeom>
              <a:solidFill>
                <a:srgbClr val="74BF4B"/>
              </a:solidFill>
              <a:ln w="6350"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5" name="Freeform: Shape 194">
                <a:extLst>
                  <a:ext uri="{FF2B5EF4-FFF2-40B4-BE49-F238E27FC236}">
                    <a16:creationId xmlns:a16="http://schemas.microsoft.com/office/drawing/2014/main" id="{7DC32E4C-367E-460D-B8C2-B7CBDCFBD7BD}"/>
                  </a:ext>
                </a:extLst>
              </p:cNvPr>
              <p:cNvSpPr/>
              <p:nvPr/>
            </p:nvSpPr>
            <p:spPr>
              <a:xfrm>
                <a:off x="6182467" y="2372578"/>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6 w 113546"/>
                  <a:gd name="connsiteY3" fmla="*/ 125436 h 173090"/>
                  <a:gd name="connsiteX4" fmla="*/ 0 w 113546"/>
                  <a:gd name="connsiteY4" fmla="*/ 86545 h 173090"/>
                  <a:gd name="connsiteX5" fmla="*/ 4406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9 w 113546"/>
                  <a:gd name="connsiteY10" fmla="*/ 20511 h 173090"/>
                  <a:gd name="connsiteX11" fmla="*/ 109283 w 113546"/>
                  <a:gd name="connsiteY11" fmla="*/ 47418 h 173090"/>
                  <a:gd name="connsiteX12" fmla="*/ 113546 w 113546"/>
                  <a:gd name="connsiteY12" fmla="*/ 86545 h 173090"/>
                  <a:gd name="connsiteX13" fmla="*/ 109283 w 113546"/>
                  <a:gd name="connsiteY13" fmla="*/ 125673 h 173090"/>
                  <a:gd name="connsiteX14" fmla="*/ 97299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19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8" y="164564"/>
                      <a:pt x="21411" y="159353"/>
                      <a:pt x="16390" y="152343"/>
                    </a:cubicBezTo>
                    <a:cubicBezTo>
                      <a:pt x="11322" y="145332"/>
                      <a:pt x="7343" y="136331"/>
                      <a:pt x="4406" y="125436"/>
                    </a:cubicBezTo>
                    <a:cubicBezTo>
                      <a:pt x="1469" y="114541"/>
                      <a:pt x="0" y="101562"/>
                      <a:pt x="0" y="86545"/>
                    </a:cubicBezTo>
                    <a:cubicBezTo>
                      <a:pt x="0" y="71387"/>
                      <a:pt x="1469" y="58360"/>
                      <a:pt x="4406" y="47418"/>
                    </a:cubicBezTo>
                    <a:cubicBezTo>
                      <a:pt x="7343" y="36522"/>
                      <a:pt x="11322" y="27569"/>
                      <a:pt x="16390" y="20511"/>
                    </a:cubicBezTo>
                    <a:cubicBezTo>
                      <a:pt x="21459" y="13501"/>
                      <a:pt x="27428" y="8290"/>
                      <a:pt x="34391" y="4974"/>
                    </a:cubicBezTo>
                    <a:cubicBezTo>
                      <a:pt x="41354" y="1658"/>
                      <a:pt x="48839" y="0"/>
                      <a:pt x="56892" y="0"/>
                    </a:cubicBezTo>
                    <a:cubicBezTo>
                      <a:pt x="64945" y="0"/>
                      <a:pt x="72429" y="1658"/>
                      <a:pt x="79298" y="4974"/>
                    </a:cubicBezTo>
                    <a:cubicBezTo>
                      <a:pt x="86167" y="8290"/>
                      <a:pt x="92183" y="13453"/>
                      <a:pt x="97299" y="20511"/>
                    </a:cubicBezTo>
                    <a:cubicBezTo>
                      <a:pt x="102414" y="27522"/>
                      <a:pt x="106441" y="36522"/>
                      <a:pt x="109283" y="47418"/>
                    </a:cubicBezTo>
                    <a:cubicBezTo>
                      <a:pt x="112125" y="58313"/>
                      <a:pt x="113546" y="71340"/>
                      <a:pt x="113546" y="86545"/>
                    </a:cubicBezTo>
                    <a:cubicBezTo>
                      <a:pt x="113546" y="101751"/>
                      <a:pt x="112125" y="114778"/>
                      <a:pt x="109283" y="125673"/>
                    </a:cubicBezTo>
                    <a:cubicBezTo>
                      <a:pt x="106441" y="136568"/>
                      <a:pt x="102462" y="145569"/>
                      <a:pt x="97299" y="152579"/>
                    </a:cubicBezTo>
                    <a:cubicBezTo>
                      <a:pt x="92183" y="159590"/>
                      <a:pt x="86167" y="164801"/>
                      <a:pt x="79298" y="168117"/>
                    </a:cubicBezTo>
                    <a:cubicBezTo>
                      <a:pt x="72429" y="171433"/>
                      <a:pt x="64945" y="173091"/>
                      <a:pt x="56892" y="173091"/>
                    </a:cubicBezTo>
                    <a:close/>
                    <a:moveTo>
                      <a:pt x="56892" y="162196"/>
                    </a:moveTo>
                    <a:cubicBezTo>
                      <a:pt x="70487" y="162196"/>
                      <a:pt x="81145" y="156037"/>
                      <a:pt x="88914" y="143721"/>
                    </a:cubicBezTo>
                    <a:cubicBezTo>
                      <a:pt x="96635" y="131405"/>
                      <a:pt x="100519" y="112362"/>
                      <a:pt x="100519" y="86593"/>
                    </a:cubicBezTo>
                    <a:cubicBezTo>
                      <a:pt x="100519"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638" y="156037"/>
                      <a:pt x="43296" y="162196"/>
                      <a:pt x="56892" y="162196"/>
                    </a:cubicBezTo>
                    <a:close/>
                  </a:path>
                </a:pathLst>
              </a:custGeom>
              <a:solidFill>
                <a:srgbClr val="74BF4B"/>
              </a:solidFill>
              <a:ln w="6350"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6" name="Freeform: Shape 195">
                <a:extLst>
                  <a:ext uri="{FF2B5EF4-FFF2-40B4-BE49-F238E27FC236}">
                    <a16:creationId xmlns:a16="http://schemas.microsoft.com/office/drawing/2014/main" id="{2521B49F-7884-432F-940A-132128B7A6F2}"/>
                  </a:ext>
                </a:extLst>
              </p:cNvPr>
              <p:cNvSpPr/>
              <p:nvPr/>
            </p:nvSpPr>
            <p:spPr>
              <a:xfrm>
                <a:off x="5112327" y="2941921"/>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5 w 113546"/>
                  <a:gd name="connsiteY3" fmla="*/ 125436 h 173090"/>
                  <a:gd name="connsiteX4" fmla="*/ 0 w 113546"/>
                  <a:gd name="connsiteY4" fmla="*/ 86545 h 173090"/>
                  <a:gd name="connsiteX5" fmla="*/ 4405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8 w 113546"/>
                  <a:gd name="connsiteY10" fmla="*/ 20511 h 173090"/>
                  <a:gd name="connsiteX11" fmla="*/ 109283 w 113546"/>
                  <a:gd name="connsiteY11" fmla="*/ 47418 h 173090"/>
                  <a:gd name="connsiteX12" fmla="*/ 113546 w 113546"/>
                  <a:gd name="connsiteY12" fmla="*/ 86545 h 173090"/>
                  <a:gd name="connsiteX13" fmla="*/ 109283 w 113546"/>
                  <a:gd name="connsiteY13" fmla="*/ 125673 h 173090"/>
                  <a:gd name="connsiteX14" fmla="*/ 97298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19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7" y="164564"/>
                      <a:pt x="21411" y="159353"/>
                      <a:pt x="16390" y="152343"/>
                    </a:cubicBezTo>
                    <a:cubicBezTo>
                      <a:pt x="11322" y="145332"/>
                      <a:pt x="7342" y="136331"/>
                      <a:pt x="4405" y="125436"/>
                    </a:cubicBezTo>
                    <a:cubicBezTo>
                      <a:pt x="1468" y="114541"/>
                      <a:pt x="0" y="101562"/>
                      <a:pt x="0" y="86545"/>
                    </a:cubicBezTo>
                    <a:cubicBezTo>
                      <a:pt x="0" y="71387"/>
                      <a:pt x="1468" y="58360"/>
                      <a:pt x="4405" y="47418"/>
                    </a:cubicBezTo>
                    <a:cubicBezTo>
                      <a:pt x="7342" y="36522"/>
                      <a:pt x="11322" y="27569"/>
                      <a:pt x="16390" y="20511"/>
                    </a:cubicBezTo>
                    <a:cubicBezTo>
                      <a:pt x="21459" y="13501"/>
                      <a:pt x="27427" y="8290"/>
                      <a:pt x="34391" y="4974"/>
                    </a:cubicBezTo>
                    <a:cubicBezTo>
                      <a:pt x="41354" y="1658"/>
                      <a:pt x="48839" y="0"/>
                      <a:pt x="56892" y="0"/>
                    </a:cubicBezTo>
                    <a:cubicBezTo>
                      <a:pt x="64945" y="0"/>
                      <a:pt x="72429" y="1658"/>
                      <a:pt x="79298" y="4974"/>
                    </a:cubicBezTo>
                    <a:cubicBezTo>
                      <a:pt x="86166" y="8290"/>
                      <a:pt x="92183" y="13453"/>
                      <a:pt x="97298" y="20511"/>
                    </a:cubicBezTo>
                    <a:cubicBezTo>
                      <a:pt x="102414" y="27522"/>
                      <a:pt x="106441" y="36522"/>
                      <a:pt x="109283" y="47418"/>
                    </a:cubicBezTo>
                    <a:cubicBezTo>
                      <a:pt x="112125" y="58313"/>
                      <a:pt x="113546" y="71340"/>
                      <a:pt x="113546" y="86545"/>
                    </a:cubicBezTo>
                    <a:cubicBezTo>
                      <a:pt x="113546" y="101751"/>
                      <a:pt x="112125" y="114778"/>
                      <a:pt x="109283" y="125673"/>
                    </a:cubicBezTo>
                    <a:cubicBezTo>
                      <a:pt x="106441" y="136568"/>
                      <a:pt x="102462" y="145569"/>
                      <a:pt x="97298" y="152579"/>
                    </a:cubicBezTo>
                    <a:cubicBezTo>
                      <a:pt x="92183" y="159590"/>
                      <a:pt x="86166" y="164801"/>
                      <a:pt x="79298" y="168117"/>
                    </a:cubicBezTo>
                    <a:cubicBezTo>
                      <a:pt x="72429" y="171433"/>
                      <a:pt x="64945" y="173091"/>
                      <a:pt x="56892" y="173091"/>
                    </a:cubicBezTo>
                    <a:close/>
                    <a:moveTo>
                      <a:pt x="56892" y="162196"/>
                    </a:moveTo>
                    <a:cubicBezTo>
                      <a:pt x="70487" y="162196"/>
                      <a:pt x="81145" y="156037"/>
                      <a:pt x="88914" y="143721"/>
                    </a:cubicBezTo>
                    <a:cubicBezTo>
                      <a:pt x="96635" y="131405"/>
                      <a:pt x="100519" y="112362"/>
                      <a:pt x="100519" y="86593"/>
                    </a:cubicBezTo>
                    <a:cubicBezTo>
                      <a:pt x="100519"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638" y="156037"/>
                      <a:pt x="43296" y="162196"/>
                      <a:pt x="56892" y="162196"/>
                    </a:cubicBezTo>
                    <a:close/>
                  </a:path>
                </a:pathLst>
              </a:custGeom>
              <a:solidFill>
                <a:srgbClr val="74BF4B"/>
              </a:solidFill>
              <a:ln w="6350"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7" name="Freeform: Shape 196">
                <a:extLst>
                  <a:ext uri="{FF2B5EF4-FFF2-40B4-BE49-F238E27FC236}">
                    <a16:creationId xmlns:a16="http://schemas.microsoft.com/office/drawing/2014/main" id="{E2793DC1-A7B5-4161-9173-B4A285ED8B89}"/>
                  </a:ext>
                </a:extLst>
              </p:cNvPr>
              <p:cNvSpPr/>
              <p:nvPr/>
            </p:nvSpPr>
            <p:spPr>
              <a:xfrm>
                <a:off x="4958705" y="2941921"/>
                <a:ext cx="113546" cy="173090"/>
              </a:xfrm>
              <a:custGeom>
                <a:avLst/>
                <a:gdLst>
                  <a:gd name="connsiteX0" fmla="*/ 56892 w 113546"/>
                  <a:gd name="connsiteY0" fmla="*/ 173091 h 173090"/>
                  <a:gd name="connsiteX1" fmla="*/ 34391 w 113546"/>
                  <a:gd name="connsiteY1" fmla="*/ 167975 h 173090"/>
                  <a:gd name="connsiteX2" fmla="*/ 16390 w 113546"/>
                  <a:gd name="connsiteY2" fmla="*/ 152343 h 173090"/>
                  <a:gd name="connsiteX3" fmla="*/ 4405 w 113546"/>
                  <a:gd name="connsiteY3" fmla="*/ 125436 h 173090"/>
                  <a:gd name="connsiteX4" fmla="*/ 0 w 113546"/>
                  <a:gd name="connsiteY4" fmla="*/ 86545 h 173090"/>
                  <a:gd name="connsiteX5" fmla="*/ 4405 w 113546"/>
                  <a:gd name="connsiteY5" fmla="*/ 47418 h 173090"/>
                  <a:gd name="connsiteX6" fmla="*/ 16390 w 113546"/>
                  <a:gd name="connsiteY6" fmla="*/ 20511 h 173090"/>
                  <a:gd name="connsiteX7" fmla="*/ 34391 w 113546"/>
                  <a:gd name="connsiteY7" fmla="*/ 4974 h 173090"/>
                  <a:gd name="connsiteX8" fmla="*/ 56892 w 113546"/>
                  <a:gd name="connsiteY8" fmla="*/ 0 h 173090"/>
                  <a:gd name="connsiteX9" fmla="*/ 79298 w 113546"/>
                  <a:gd name="connsiteY9" fmla="*/ 4974 h 173090"/>
                  <a:gd name="connsiteX10" fmla="*/ 97298 w 113546"/>
                  <a:gd name="connsiteY10" fmla="*/ 20511 h 173090"/>
                  <a:gd name="connsiteX11" fmla="*/ 109283 w 113546"/>
                  <a:gd name="connsiteY11" fmla="*/ 47418 h 173090"/>
                  <a:gd name="connsiteX12" fmla="*/ 113546 w 113546"/>
                  <a:gd name="connsiteY12" fmla="*/ 86545 h 173090"/>
                  <a:gd name="connsiteX13" fmla="*/ 109283 w 113546"/>
                  <a:gd name="connsiteY13" fmla="*/ 125673 h 173090"/>
                  <a:gd name="connsiteX14" fmla="*/ 97298 w 113546"/>
                  <a:gd name="connsiteY14" fmla="*/ 152579 h 173090"/>
                  <a:gd name="connsiteX15" fmla="*/ 79298 w 113546"/>
                  <a:gd name="connsiteY15" fmla="*/ 168117 h 173090"/>
                  <a:gd name="connsiteX16" fmla="*/ 56892 w 113546"/>
                  <a:gd name="connsiteY16" fmla="*/ 173091 h 173090"/>
                  <a:gd name="connsiteX17" fmla="*/ 56892 w 113546"/>
                  <a:gd name="connsiteY17" fmla="*/ 162196 h 173090"/>
                  <a:gd name="connsiteX18" fmla="*/ 88914 w 113546"/>
                  <a:gd name="connsiteY18" fmla="*/ 143721 h 173090"/>
                  <a:gd name="connsiteX19" fmla="*/ 100519 w 113546"/>
                  <a:gd name="connsiteY19" fmla="*/ 86593 h 173090"/>
                  <a:gd name="connsiteX20" fmla="*/ 88914 w 113546"/>
                  <a:gd name="connsiteY20" fmla="*/ 29464 h 173090"/>
                  <a:gd name="connsiteX21" fmla="*/ 56892 w 113546"/>
                  <a:gd name="connsiteY21" fmla="*/ 10990 h 173090"/>
                  <a:gd name="connsiteX22" fmla="*/ 24869 w 113546"/>
                  <a:gd name="connsiteY22" fmla="*/ 29464 h 173090"/>
                  <a:gd name="connsiteX23" fmla="*/ 13264 w 113546"/>
                  <a:gd name="connsiteY23" fmla="*/ 86593 h 173090"/>
                  <a:gd name="connsiteX24" fmla="*/ 24869 w 113546"/>
                  <a:gd name="connsiteY24" fmla="*/ 143721 h 173090"/>
                  <a:gd name="connsiteX25" fmla="*/ 56892 w 113546"/>
                  <a:gd name="connsiteY25" fmla="*/ 162196 h 17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3546" h="173090">
                    <a:moveTo>
                      <a:pt x="56892" y="173091"/>
                    </a:moveTo>
                    <a:cubicBezTo>
                      <a:pt x="48839" y="173091"/>
                      <a:pt x="41307" y="171385"/>
                      <a:pt x="34391" y="167975"/>
                    </a:cubicBezTo>
                    <a:cubicBezTo>
                      <a:pt x="27427" y="164564"/>
                      <a:pt x="21411" y="159353"/>
                      <a:pt x="16390" y="152343"/>
                    </a:cubicBezTo>
                    <a:cubicBezTo>
                      <a:pt x="11322" y="145332"/>
                      <a:pt x="7342" y="136331"/>
                      <a:pt x="4405" y="125436"/>
                    </a:cubicBezTo>
                    <a:cubicBezTo>
                      <a:pt x="1468" y="114541"/>
                      <a:pt x="0" y="101562"/>
                      <a:pt x="0" y="86545"/>
                    </a:cubicBezTo>
                    <a:cubicBezTo>
                      <a:pt x="0" y="71387"/>
                      <a:pt x="1468" y="58360"/>
                      <a:pt x="4405" y="47418"/>
                    </a:cubicBezTo>
                    <a:cubicBezTo>
                      <a:pt x="7342" y="36522"/>
                      <a:pt x="11322" y="27569"/>
                      <a:pt x="16390" y="20511"/>
                    </a:cubicBezTo>
                    <a:cubicBezTo>
                      <a:pt x="21459" y="13501"/>
                      <a:pt x="27427" y="8290"/>
                      <a:pt x="34391" y="4974"/>
                    </a:cubicBezTo>
                    <a:cubicBezTo>
                      <a:pt x="41354" y="1658"/>
                      <a:pt x="48839" y="0"/>
                      <a:pt x="56892" y="0"/>
                    </a:cubicBezTo>
                    <a:cubicBezTo>
                      <a:pt x="64944" y="0"/>
                      <a:pt x="72429" y="1658"/>
                      <a:pt x="79298" y="4974"/>
                    </a:cubicBezTo>
                    <a:cubicBezTo>
                      <a:pt x="86166" y="8290"/>
                      <a:pt x="92182" y="13453"/>
                      <a:pt x="97298" y="20511"/>
                    </a:cubicBezTo>
                    <a:cubicBezTo>
                      <a:pt x="102414" y="27522"/>
                      <a:pt x="106441" y="36522"/>
                      <a:pt x="109283" y="47418"/>
                    </a:cubicBezTo>
                    <a:cubicBezTo>
                      <a:pt x="112125" y="58313"/>
                      <a:pt x="113546" y="71340"/>
                      <a:pt x="113546" y="86545"/>
                    </a:cubicBezTo>
                    <a:cubicBezTo>
                      <a:pt x="113546" y="101751"/>
                      <a:pt x="112125" y="114778"/>
                      <a:pt x="109283" y="125673"/>
                    </a:cubicBezTo>
                    <a:cubicBezTo>
                      <a:pt x="106441" y="136568"/>
                      <a:pt x="102462" y="145569"/>
                      <a:pt x="97298" y="152579"/>
                    </a:cubicBezTo>
                    <a:cubicBezTo>
                      <a:pt x="92182" y="159590"/>
                      <a:pt x="86166" y="164801"/>
                      <a:pt x="79298" y="168117"/>
                    </a:cubicBezTo>
                    <a:cubicBezTo>
                      <a:pt x="72429" y="171433"/>
                      <a:pt x="64944" y="173091"/>
                      <a:pt x="56892" y="173091"/>
                    </a:cubicBezTo>
                    <a:close/>
                    <a:moveTo>
                      <a:pt x="56892" y="162196"/>
                    </a:moveTo>
                    <a:cubicBezTo>
                      <a:pt x="70487" y="162196"/>
                      <a:pt x="81145" y="156037"/>
                      <a:pt x="88914" y="143721"/>
                    </a:cubicBezTo>
                    <a:cubicBezTo>
                      <a:pt x="96635" y="131405"/>
                      <a:pt x="100519" y="112362"/>
                      <a:pt x="100519" y="86593"/>
                    </a:cubicBezTo>
                    <a:cubicBezTo>
                      <a:pt x="100519" y="60823"/>
                      <a:pt x="96635" y="41781"/>
                      <a:pt x="88914" y="29464"/>
                    </a:cubicBezTo>
                    <a:cubicBezTo>
                      <a:pt x="81145" y="17148"/>
                      <a:pt x="70487" y="10990"/>
                      <a:pt x="56892" y="10990"/>
                    </a:cubicBezTo>
                    <a:cubicBezTo>
                      <a:pt x="43296" y="10990"/>
                      <a:pt x="32638" y="17148"/>
                      <a:pt x="24869" y="29464"/>
                    </a:cubicBezTo>
                    <a:cubicBezTo>
                      <a:pt x="17101" y="41781"/>
                      <a:pt x="13264" y="60823"/>
                      <a:pt x="13264" y="86593"/>
                    </a:cubicBezTo>
                    <a:cubicBezTo>
                      <a:pt x="13264" y="112362"/>
                      <a:pt x="17148" y="131405"/>
                      <a:pt x="24869" y="143721"/>
                    </a:cubicBezTo>
                    <a:cubicBezTo>
                      <a:pt x="32638" y="156037"/>
                      <a:pt x="43296" y="162196"/>
                      <a:pt x="56892" y="162196"/>
                    </a:cubicBezTo>
                    <a:close/>
                  </a:path>
                </a:pathLst>
              </a:custGeom>
              <a:solidFill>
                <a:srgbClr val="74BF4B"/>
              </a:solidFill>
              <a:ln w="6350" cap="flat">
                <a:solidFill>
                  <a:srgbClr val="74BF4B"/>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8" name="Freeform: Shape 197">
                <a:extLst>
                  <a:ext uri="{FF2B5EF4-FFF2-40B4-BE49-F238E27FC236}">
                    <a16:creationId xmlns:a16="http://schemas.microsoft.com/office/drawing/2014/main" id="{A0F24CCD-F84D-4CA5-8F18-BA0C27D54946}"/>
                  </a:ext>
                </a:extLst>
              </p:cNvPr>
              <p:cNvSpPr/>
              <p:nvPr/>
            </p:nvSpPr>
            <p:spPr>
              <a:xfrm>
                <a:off x="2700710" y="1362977"/>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99" name="Freeform: Shape 198">
                <a:extLst>
                  <a:ext uri="{FF2B5EF4-FFF2-40B4-BE49-F238E27FC236}">
                    <a16:creationId xmlns:a16="http://schemas.microsoft.com/office/drawing/2014/main" id="{BA8D2EB6-E651-4485-A37B-A4C8AC0370E1}"/>
                  </a:ext>
                </a:extLst>
              </p:cNvPr>
              <p:cNvSpPr/>
              <p:nvPr/>
            </p:nvSpPr>
            <p:spPr>
              <a:xfrm>
                <a:off x="2700710" y="1700348"/>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0" name="Freeform: Shape 199">
                <a:extLst>
                  <a:ext uri="{FF2B5EF4-FFF2-40B4-BE49-F238E27FC236}">
                    <a16:creationId xmlns:a16="http://schemas.microsoft.com/office/drawing/2014/main" id="{BDA56F6F-1A8F-4D77-AC5B-1C6B02C2C057}"/>
                  </a:ext>
                </a:extLst>
              </p:cNvPr>
              <p:cNvSpPr/>
              <p:nvPr/>
            </p:nvSpPr>
            <p:spPr>
              <a:xfrm>
                <a:off x="2346333" y="1362977"/>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1" name="Freeform: Shape 200">
                <a:extLst>
                  <a:ext uri="{FF2B5EF4-FFF2-40B4-BE49-F238E27FC236}">
                    <a16:creationId xmlns:a16="http://schemas.microsoft.com/office/drawing/2014/main" id="{972BD6BD-C87A-49A8-810F-D7C7888D0DAA}"/>
                  </a:ext>
                </a:extLst>
              </p:cNvPr>
              <p:cNvSpPr/>
              <p:nvPr/>
            </p:nvSpPr>
            <p:spPr>
              <a:xfrm>
                <a:off x="1985467" y="1362977"/>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2" name="Freeform: Shape 201">
                <a:extLst>
                  <a:ext uri="{FF2B5EF4-FFF2-40B4-BE49-F238E27FC236}">
                    <a16:creationId xmlns:a16="http://schemas.microsoft.com/office/drawing/2014/main" id="{9D8EE46E-D573-45F7-8C04-7F1D5B967EF7}"/>
                  </a:ext>
                </a:extLst>
              </p:cNvPr>
              <p:cNvSpPr/>
              <p:nvPr/>
            </p:nvSpPr>
            <p:spPr>
              <a:xfrm>
                <a:off x="1985467" y="1700348"/>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3" name="Freeform: Shape 202">
                <a:extLst>
                  <a:ext uri="{FF2B5EF4-FFF2-40B4-BE49-F238E27FC236}">
                    <a16:creationId xmlns:a16="http://schemas.microsoft.com/office/drawing/2014/main" id="{DFF7CE22-FA8E-4871-A4AF-EB97E00169B7}"/>
                  </a:ext>
                </a:extLst>
              </p:cNvPr>
              <p:cNvSpPr/>
              <p:nvPr/>
            </p:nvSpPr>
            <p:spPr>
              <a:xfrm>
                <a:off x="1985467" y="2384705"/>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4" name="Freeform: Shape 203">
                <a:extLst>
                  <a:ext uri="{FF2B5EF4-FFF2-40B4-BE49-F238E27FC236}">
                    <a16:creationId xmlns:a16="http://schemas.microsoft.com/office/drawing/2014/main" id="{41648831-67D1-470F-A3C5-DF7C10B1F7D4}"/>
                  </a:ext>
                </a:extLst>
              </p:cNvPr>
              <p:cNvSpPr/>
              <p:nvPr/>
            </p:nvSpPr>
            <p:spPr>
              <a:xfrm>
                <a:off x="1985467" y="2722076"/>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5" name="Freeform: Shape 204">
                <a:extLst>
                  <a:ext uri="{FF2B5EF4-FFF2-40B4-BE49-F238E27FC236}">
                    <a16:creationId xmlns:a16="http://schemas.microsoft.com/office/drawing/2014/main" id="{3E5BF47D-7571-45FF-BBE4-4F545351572F}"/>
                  </a:ext>
                </a:extLst>
              </p:cNvPr>
              <p:cNvSpPr/>
              <p:nvPr/>
            </p:nvSpPr>
            <p:spPr>
              <a:xfrm>
                <a:off x="1632322" y="2384705"/>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6" name="Freeform: Shape 205">
                <a:extLst>
                  <a:ext uri="{FF2B5EF4-FFF2-40B4-BE49-F238E27FC236}">
                    <a16:creationId xmlns:a16="http://schemas.microsoft.com/office/drawing/2014/main" id="{8F49679A-30AE-4A63-B1D3-5E78B99DBDF9}"/>
                  </a:ext>
                </a:extLst>
              </p:cNvPr>
              <p:cNvSpPr/>
              <p:nvPr/>
            </p:nvSpPr>
            <p:spPr>
              <a:xfrm>
                <a:off x="1632322" y="2722076"/>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7" name="Freeform: Shape 206">
                <a:extLst>
                  <a:ext uri="{FF2B5EF4-FFF2-40B4-BE49-F238E27FC236}">
                    <a16:creationId xmlns:a16="http://schemas.microsoft.com/office/drawing/2014/main" id="{FDCDE712-F916-478C-AC5D-96762AC3800A}"/>
                  </a:ext>
                </a:extLst>
              </p:cNvPr>
              <p:cNvSpPr/>
              <p:nvPr/>
            </p:nvSpPr>
            <p:spPr>
              <a:xfrm>
                <a:off x="1632322" y="3069157"/>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8" name="Freeform: Shape 207">
                <a:extLst>
                  <a:ext uri="{FF2B5EF4-FFF2-40B4-BE49-F238E27FC236}">
                    <a16:creationId xmlns:a16="http://schemas.microsoft.com/office/drawing/2014/main" id="{ABC9F44F-9D85-4DDA-B492-1E52C9B228B8}"/>
                  </a:ext>
                </a:extLst>
              </p:cNvPr>
              <p:cNvSpPr/>
              <p:nvPr/>
            </p:nvSpPr>
            <p:spPr>
              <a:xfrm>
                <a:off x="1632322" y="3409607"/>
                <a:ext cx="43580" cy="43580"/>
              </a:xfrm>
              <a:custGeom>
                <a:avLst/>
                <a:gdLst>
                  <a:gd name="connsiteX0" fmla="*/ 43581 w 43580"/>
                  <a:gd name="connsiteY0" fmla="*/ 21790 h 43580"/>
                  <a:gd name="connsiteX1" fmla="*/ 21790 w 43580"/>
                  <a:gd name="connsiteY1" fmla="*/ 43580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0"/>
                      <a:pt x="21790" y="43580"/>
                    </a:cubicBezTo>
                    <a:cubicBezTo>
                      <a:pt x="9756" y="43580"/>
                      <a:pt x="0" y="33824"/>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09" name="Freeform: Shape 208">
                <a:extLst>
                  <a:ext uri="{FF2B5EF4-FFF2-40B4-BE49-F238E27FC236}">
                    <a16:creationId xmlns:a16="http://schemas.microsoft.com/office/drawing/2014/main" id="{D48874F9-9E9C-4864-9904-BED6F3FDA407}"/>
                  </a:ext>
                </a:extLst>
              </p:cNvPr>
              <p:cNvSpPr/>
              <p:nvPr/>
            </p:nvSpPr>
            <p:spPr>
              <a:xfrm>
                <a:off x="2342686" y="3409607"/>
                <a:ext cx="43580" cy="43580"/>
              </a:xfrm>
              <a:custGeom>
                <a:avLst/>
                <a:gdLst>
                  <a:gd name="connsiteX0" fmla="*/ 43581 w 43580"/>
                  <a:gd name="connsiteY0" fmla="*/ 21790 h 43580"/>
                  <a:gd name="connsiteX1" fmla="*/ 21790 w 43580"/>
                  <a:gd name="connsiteY1" fmla="*/ 43580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0"/>
                      <a:pt x="21790" y="43580"/>
                    </a:cubicBezTo>
                    <a:cubicBezTo>
                      <a:pt x="9756" y="43580"/>
                      <a:pt x="0" y="33824"/>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0" name="Freeform: Shape 209">
                <a:extLst>
                  <a:ext uri="{FF2B5EF4-FFF2-40B4-BE49-F238E27FC236}">
                    <a16:creationId xmlns:a16="http://schemas.microsoft.com/office/drawing/2014/main" id="{4490C535-E95F-486E-A64C-041C0EDEC25B}"/>
                  </a:ext>
                </a:extLst>
              </p:cNvPr>
              <p:cNvSpPr/>
              <p:nvPr/>
            </p:nvSpPr>
            <p:spPr>
              <a:xfrm>
                <a:off x="2699857" y="3409607"/>
                <a:ext cx="43580" cy="43580"/>
              </a:xfrm>
              <a:custGeom>
                <a:avLst/>
                <a:gdLst>
                  <a:gd name="connsiteX0" fmla="*/ 43581 w 43580"/>
                  <a:gd name="connsiteY0" fmla="*/ 21790 h 43580"/>
                  <a:gd name="connsiteX1" fmla="*/ 21790 w 43580"/>
                  <a:gd name="connsiteY1" fmla="*/ 43580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0"/>
                      <a:pt x="21790" y="43580"/>
                    </a:cubicBezTo>
                    <a:cubicBezTo>
                      <a:pt x="9756" y="43580"/>
                      <a:pt x="0" y="33824"/>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1" name="Freeform: Shape 210">
                <a:extLst>
                  <a:ext uri="{FF2B5EF4-FFF2-40B4-BE49-F238E27FC236}">
                    <a16:creationId xmlns:a16="http://schemas.microsoft.com/office/drawing/2014/main" id="{9D0CDF77-AC39-476A-B0AD-81DF9C608DF2}"/>
                  </a:ext>
                </a:extLst>
              </p:cNvPr>
              <p:cNvSpPr/>
              <p:nvPr/>
            </p:nvSpPr>
            <p:spPr>
              <a:xfrm>
                <a:off x="6606904" y="1020680"/>
                <a:ext cx="43580" cy="43580"/>
              </a:xfrm>
              <a:custGeom>
                <a:avLst/>
                <a:gdLst>
                  <a:gd name="connsiteX0" fmla="*/ 43581 w 43580"/>
                  <a:gd name="connsiteY0" fmla="*/ 21790 h 43580"/>
                  <a:gd name="connsiteX1" fmla="*/ 21791 w 43580"/>
                  <a:gd name="connsiteY1" fmla="*/ 43581 h 43580"/>
                  <a:gd name="connsiteX2" fmla="*/ 0 w 43580"/>
                  <a:gd name="connsiteY2" fmla="*/ 21790 h 43580"/>
                  <a:gd name="connsiteX3" fmla="*/ 21791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1" y="43581"/>
                    </a:cubicBezTo>
                    <a:cubicBezTo>
                      <a:pt x="9756" y="43581"/>
                      <a:pt x="0" y="33825"/>
                      <a:pt x="0" y="21790"/>
                    </a:cubicBezTo>
                    <a:cubicBezTo>
                      <a:pt x="0" y="9756"/>
                      <a:pt x="9756" y="0"/>
                      <a:pt x="21791"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2" name="Freeform: Shape 211">
                <a:extLst>
                  <a:ext uri="{FF2B5EF4-FFF2-40B4-BE49-F238E27FC236}">
                    <a16:creationId xmlns:a16="http://schemas.microsoft.com/office/drawing/2014/main" id="{71717B14-172E-418D-A4FC-44F4045BB5FA}"/>
                  </a:ext>
                </a:extLst>
              </p:cNvPr>
              <p:cNvSpPr/>
              <p:nvPr/>
            </p:nvSpPr>
            <p:spPr>
              <a:xfrm>
                <a:off x="7318263" y="1362788"/>
                <a:ext cx="43580" cy="43580"/>
              </a:xfrm>
              <a:custGeom>
                <a:avLst/>
                <a:gdLst>
                  <a:gd name="connsiteX0" fmla="*/ 43580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0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0" y="21790"/>
                    </a:moveTo>
                    <a:cubicBezTo>
                      <a:pt x="43580" y="33825"/>
                      <a:pt x="33825" y="43581"/>
                      <a:pt x="21790" y="43581"/>
                    </a:cubicBezTo>
                    <a:cubicBezTo>
                      <a:pt x="9756" y="43581"/>
                      <a:pt x="0" y="33825"/>
                      <a:pt x="0" y="21790"/>
                    </a:cubicBezTo>
                    <a:cubicBezTo>
                      <a:pt x="0" y="9756"/>
                      <a:pt x="9756" y="0"/>
                      <a:pt x="21790" y="0"/>
                    </a:cubicBezTo>
                    <a:cubicBezTo>
                      <a:pt x="33825" y="0"/>
                      <a:pt x="43580" y="9756"/>
                      <a:pt x="43580"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3" name="Freeform: Shape 212">
                <a:extLst>
                  <a:ext uri="{FF2B5EF4-FFF2-40B4-BE49-F238E27FC236}">
                    <a16:creationId xmlns:a16="http://schemas.microsoft.com/office/drawing/2014/main" id="{E0B88914-2DE1-4169-BBD9-601947416773}"/>
                  </a:ext>
                </a:extLst>
              </p:cNvPr>
              <p:cNvSpPr/>
              <p:nvPr/>
            </p:nvSpPr>
            <p:spPr>
              <a:xfrm>
                <a:off x="6606904" y="1362788"/>
                <a:ext cx="43580" cy="43580"/>
              </a:xfrm>
              <a:custGeom>
                <a:avLst/>
                <a:gdLst>
                  <a:gd name="connsiteX0" fmla="*/ 43581 w 43580"/>
                  <a:gd name="connsiteY0" fmla="*/ 21790 h 43580"/>
                  <a:gd name="connsiteX1" fmla="*/ 21791 w 43580"/>
                  <a:gd name="connsiteY1" fmla="*/ 43581 h 43580"/>
                  <a:gd name="connsiteX2" fmla="*/ 0 w 43580"/>
                  <a:gd name="connsiteY2" fmla="*/ 21790 h 43580"/>
                  <a:gd name="connsiteX3" fmla="*/ 21791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1" y="43581"/>
                    </a:cubicBezTo>
                    <a:cubicBezTo>
                      <a:pt x="9756" y="43581"/>
                      <a:pt x="0" y="33825"/>
                      <a:pt x="0" y="21790"/>
                    </a:cubicBezTo>
                    <a:cubicBezTo>
                      <a:pt x="0" y="9756"/>
                      <a:pt x="9756" y="0"/>
                      <a:pt x="21791"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4" name="Freeform: Shape 213">
                <a:extLst>
                  <a:ext uri="{FF2B5EF4-FFF2-40B4-BE49-F238E27FC236}">
                    <a16:creationId xmlns:a16="http://schemas.microsoft.com/office/drawing/2014/main" id="{FBFBFDE3-0E2D-4751-833B-745081D80B1C}"/>
                  </a:ext>
                </a:extLst>
              </p:cNvPr>
              <p:cNvSpPr/>
              <p:nvPr/>
            </p:nvSpPr>
            <p:spPr>
              <a:xfrm>
                <a:off x="6606904" y="1704895"/>
                <a:ext cx="43580" cy="43580"/>
              </a:xfrm>
              <a:custGeom>
                <a:avLst/>
                <a:gdLst>
                  <a:gd name="connsiteX0" fmla="*/ 43581 w 43580"/>
                  <a:gd name="connsiteY0" fmla="*/ 21790 h 43580"/>
                  <a:gd name="connsiteX1" fmla="*/ 21791 w 43580"/>
                  <a:gd name="connsiteY1" fmla="*/ 43581 h 43580"/>
                  <a:gd name="connsiteX2" fmla="*/ 0 w 43580"/>
                  <a:gd name="connsiteY2" fmla="*/ 21790 h 43580"/>
                  <a:gd name="connsiteX3" fmla="*/ 21791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1" y="43581"/>
                    </a:cubicBezTo>
                    <a:cubicBezTo>
                      <a:pt x="9756" y="43581"/>
                      <a:pt x="0" y="33825"/>
                      <a:pt x="0" y="21790"/>
                    </a:cubicBezTo>
                    <a:cubicBezTo>
                      <a:pt x="0" y="9756"/>
                      <a:pt x="9756" y="0"/>
                      <a:pt x="21791"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5" name="Freeform: Shape 214">
                <a:extLst>
                  <a:ext uri="{FF2B5EF4-FFF2-40B4-BE49-F238E27FC236}">
                    <a16:creationId xmlns:a16="http://schemas.microsoft.com/office/drawing/2014/main" id="{5EA0F800-D13E-4BCC-8288-B1D4DC29E85C}"/>
                  </a:ext>
                </a:extLst>
              </p:cNvPr>
              <p:cNvSpPr/>
              <p:nvPr/>
            </p:nvSpPr>
            <p:spPr>
              <a:xfrm>
                <a:off x="5898483" y="2044492"/>
                <a:ext cx="43580" cy="43580"/>
              </a:xfrm>
              <a:custGeom>
                <a:avLst/>
                <a:gdLst>
                  <a:gd name="connsiteX0" fmla="*/ 43580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0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0" y="21790"/>
                    </a:moveTo>
                    <a:cubicBezTo>
                      <a:pt x="43580" y="33825"/>
                      <a:pt x="33825" y="43581"/>
                      <a:pt x="21790" y="43581"/>
                    </a:cubicBezTo>
                    <a:cubicBezTo>
                      <a:pt x="9756" y="43581"/>
                      <a:pt x="0" y="33825"/>
                      <a:pt x="0" y="21790"/>
                    </a:cubicBezTo>
                    <a:cubicBezTo>
                      <a:pt x="0" y="9756"/>
                      <a:pt x="9756" y="0"/>
                      <a:pt x="21790" y="0"/>
                    </a:cubicBezTo>
                    <a:cubicBezTo>
                      <a:pt x="33825" y="0"/>
                      <a:pt x="43580" y="9756"/>
                      <a:pt x="43580"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6" name="Freeform: Shape 215">
                <a:extLst>
                  <a:ext uri="{FF2B5EF4-FFF2-40B4-BE49-F238E27FC236}">
                    <a16:creationId xmlns:a16="http://schemas.microsoft.com/office/drawing/2014/main" id="{6D9C738A-E1F4-4636-A534-E73B5BE1F068}"/>
                  </a:ext>
                </a:extLst>
              </p:cNvPr>
              <p:cNvSpPr/>
              <p:nvPr/>
            </p:nvSpPr>
            <p:spPr>
              <a:xfrm>
                <a:off x="6252433" y="2044492"/>
                <a:ext cx="43580" cy="43580"/>
              </a:xfrm>
              <a:custGeom>
                <a:avLst/>
                <a:gdLst>
                  <a:gd name="connsiteX0" fmla="*/ 43580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0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0" y="21790"/>
                    </a:moveTo>
                    <a:cubicBezTo>
                      <a:pt x="43580" y="33825"/>
                      <a:pt x="33825" y="43581"/>
                      <a:pt x="21790" y="43581"/>
                    </a:cubicBezTo>
                    <a:cubicBezTo>
                      <a:pt x="9756" y="43581"/>
                      <a:pt x="0" y="33825"/>
                      <a:pt x="0" y="21790"/>
                    </a:cubicBezTo>
                    <a:cubicBezTo>
                      <a:pt x="0" y="9756"/>
                      <a:pt x="9756" y="0"/>
                      <a:pt x="21790" y="0"/>
                    </a:cubicBezTo>
                    <a:cubicBezTo>
                      <a:pt x="33825" y="0"/>
                      <a:pt x="43580" y="9756"/>
                      <a:pt x="43580"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7" name="Freeform: Shape 216">
                <a:extLst>
                  <a:ext uri="{FF2B5EF4-FFF2-40B4-BE49-F238E27FC236}">
                    <a16:creationId xmlns:a16="http://schemas.microsoft.com/office/drawing/2014/main" id="{1C4FE93A-8C5F-4B5F-B473-89FCDEAE5042}"/>
                  </a:ext>
                </a:extLst>
              </p:cNvPr>
              <p:cNvSpPr/>
              <p:nvPr/>
            </p:nvSpPr>
            <p:spPr>
              <a:xfrm>
                <a:off x="6606904" y="2386363"/>
                <a:ext cx="43580" cy="43580"/>
              </a:xfrm>
              <a:custGeom>
                <a:avLst/>
                <a:gdLst>
                  <a:gd name="connsiteX0" fmla="*/ 43581 w 43580"/>
                  <a:gd name="connsiteY0" fmla="*/ 21790 h 43580"/>
                  <a:gd name="connsiteX1" fmla="*/ 21791 w 43580"/>
                  <a:gd name="connsiteY1" fmla="*/ 43581 h 43580"/>
                  <a:gd name="connsiteX2" fmla="*/ 0 w 43580"/>
                  <a:gd name="connsiteY2" fmla="*/ 21790 h 43580"/>
                  <a:gd name="connsiteX3" fmla="*/ 21791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1" y="43581"/>
                    </a:cubicBezTo>
                    <a:cubicBezTo>
                      <a:pt x="9756" y="43581"/>
                      <a:pt x="0" y="33825"/>
                      <a:pt x="0" y="21790"/>
                    </a:cubicBezTo>
                    <a:cubicBezTo>
                      <a:pt x="0" y="9756"/>
                      <a:pt x="9756" y="0"/>
                      <a:pt x="21791"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8" name="Freeform: Shape 217">
                <a:extLst>
                  <a:ext uri="{FF2B5EF4-FFF2-40B4-BE49-F238E27FC236}">
                    <a16:creationId xmlns:a16="http://schemas.microsoft.com/office/drawing/2014/main" id="{A2AC0358-24E4-4512-8F0D-CC33D4D1A6E3}"/>
                  </a:ext>
                </a:extLst>
              </p:cNvPr>
              <p:cNvSpPr/>
              <p:nvPr/>
            </p:nvSpPr>
            <p:spPr>
              <a:xfrm>
                <a:off x="6963318" y="2386363"/>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19" name="Freeform: Shape 218">
                <a:extLst>
                  <a:ext uri="{FF2B5EF4-FFF2-40B4-BE49-F238E27FC236}">
                    <a16:creationId xmlns:a16="http://schemas.microsoft.com/office/drawing/2014/main" id="{BA49732E-E9BC-4F9F-AEA5-2E54B6AFD52E}"/>
                  </a:ext>
                </a:extLst>
              </p:cNvPr>
              <p:cNvSpPr/>
              <p:nvPr/>
            </p:nvSpPr>
            <p:spPr>
              <a:xfrm>
                <a:off x="6606904" y="2724207"/>
                <a:ext cx="43580" cy="43580"/>
              </a:xfrm>
              <a:custGeom>
                <a:avLst/>
                <a:gdLst>
                  <a:gd name="connsiteX0" fmla="*/ 43581 w 43580"/>
                  <a:gd name="connsiteY0" fmla="*/ 21790 h 43580"/>
                  <a:gd name="connsiteX1" fmla="*/ 21791 w 43580"/>
                  <a:gd name="connsiteY1" fmla="*/ 43581 h 43580"/>
                  <a:gd name="connsiteX2" fmla="*/ 0 w 43580"/>
                  <a:gd name="connsiteY2" fmla="*/ 21790 h 43580"/>
                  <a:gd name="connsiteX3" fmla="*/ 21791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1" y="43581"/>
                    </a:cubicBezTo>
                    <a:cubicBezTo>
                      <a:pt x="9756" y="43581"/>
                      <a:pt x="0" y="33825"/>
                      <a:pt x="0" y="21790"/>
                    </a:cubicBezTo>
                    <a:cubicBezTo>
                      <a:pt x="0" y="9756"/>
                      <a:pt x="9756" y="0"/>
                      <a:pt x="21791"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0" name="Freeform: Shape 219">
                <a:extLst>
                  <a:ext uri="{FF2B5EF4-FFF2-40B4-BE49-F238E27FC236}">
                    <a16:creationId xmlns:a16="http://schemas.microsoft.com/office/drawing/2014/main" id="{8B37D739-FC39-48AF-9BBF-D0366E2A4C68}"/>
                  </a:ext>
                </a:extLst>
              </p:cNvPr>
              <p:cNvSpPr/>
              <p:nvPr/>
            </p:nvSpPr>
            <p:spPr>
              <a:xfrm>
                <a:off x="6963318" y="2724207"/>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1" name="Freeform: Shape 220">
                <a:extLst>
                  <a:ext uri="{FF2B5EF4-FFF2-40B4-BE49-F238E27FC236}">
                    <a16:creationId xmlns:a16="http://schemas.microsoft.com/office/drawing/2014/main" id="{AE0724FC-4A83-4B07-B45B-FEFDA6FE57E3}"/>
                  </a:ext>
                </a:extLst>
              </p:cNvPr>
              <p:cNvSpPr/>
              <p:nvPr/>
            </p:nvSpPr>
            <p:spPr>
              <a:xfrm>
                <a:off x="6963318" y="3405675"/>
                <a:ext cx="43580" cy="43580"/>
              </a:xfrm>
              <a:custGeom>
                <a:avLst/>
                <a:gdLst>
                  <a:gd name="connsiteX0" fmla="*/ 43581 w 43580"/>
                  <a:gd name="connsiteY0" fmla="*/ 21790 h 43580"/>
                  <a:gd name="connsiteX1" fmla="*/ 21790 w 43580"/>
                  <a:gd name="connsiteY1" fmla="*/ 43580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0"/>
                      <a:pt x="21790" y="43580"/>
                    </a:cubicBezTo>
                    <a:cubicBezTo>
                      <a:pt x="9756" y="43580"/>
                      <a:pt x="0" y="33824"/>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2" name="Freeform: Shape 221">
                <a:extLst>
                  <a:ext uri="{FF2B5EF4-FFF2-40B4-BE49-F238E27FC236}">
                    <a16:creationId xmlns:a16="http://schemas.microsoft.com/office/drawing/2014/main" id="{A4B4D208-3C11-438C-8600-F640D67B4144}"/>
                  </a:ext>
                </a:extLst>
              </p:cNvPr>
              <p:cNvSpPr/>
              <p:nvPr/>
            </p:nvSpPr>
            <p:spPr>
              <a:xfrm>
                <a:off x="7319684" y="3405675"/>
                <a:ext cx="43580" cy="43580"/>
              </a:xfrm>
              <a:custGeom>
                <a:avLst/>
                <a:gdLst>
                  <a:gd name="connsiteX0" fmla="*/ 43581 w 43580"/>
                  <a:gd name="connsiteY0" fmla="*/ 21790 h 43580"/>
                  <a:gd name="connsiteX1" fmla="*/ 21790 w 43580"/>
                  <a:gd name="connsiteY1" fmla="*/ 43580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0"/>
                      <a:pt x="21790" y="43580"/>
                    </a:cubicBezTo>
                    <a:cubicBezTo>
                      <a:pt x="9756" y="43580"/>
                      <a:pt x="0" y="33824"/>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3" name="Freeform: Shape 222">
                <a:extLst>
                  <a:ext uri="{FF2B5EF4-FFF2-40B4-BE49-F238E27FC236}">
                    <a16:creationId xmlns:a16="http://schemas.microsoft.com/office/drawing/2014/main" id="{7207F4CD-8B74-4FA1-AF37-67137C211246}"/>
                  </a:ext>
                </a:extLst>
              </p:cNvPr>
              <p:cNvSpPr/>
              <p:nvPr/>
            </p:nvSpPr>
            <p:spPr>
              <a:xfrm>
                <a:off x="7319684" y="4091027"/>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4" name="Freeform: Shape 223">
                <a:extLst>
                  <a:ext uri="{FF2B5EF4-FFF2-40B4-BE49-F238E27FC236}">
                    <a16:creationId xmlns:a16="http://schemas.microsoft.com/office/drawing/2014/main" id="{5D12230D-4C1C-481A-8D08-BF2ED55DB0FE}"/>
                  </a:ext>
                </a:extLst>
              </p:cNvPr>
              <p:cNvSpPr/>
              <p:nvPr/>
            </p:nvSpPr>
            <p:spPr>
              <a:xfrm>
                <a:off x="7319684" y="4432898"/>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5" name="Freeform: Shape 224">
                <a:extLst>
                  <a:ext uri="{FF2B5EF4-FFF2-40B4-BE49-F238E27FC236}">
                    <a16:creationId xmlns:a16="http://schemas.microsoft.com/office/drawing/2014/main" id="{AFA06D0B-2215-4542-A245-A08EA2A6013D}"/>
                  </a:ext>
                </a:extLst>
              </p:cNvPr>
              <p:cNvSpPr/>
              <p:nvPr/>
            </p:nvSpPr>
            <p:spPr>
              <a:xfrm>
                <a:off x="2344486" y="4432993"/>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6" name="Freeform: Shape 225">
                <a:extLst>
                  <a:ext uri="{FF2B5EF4-FFF2-40B4-BE49-F238E27FC236}">
                    <a16:creationId xmlns:a16="http://schemas.microsoft.com/office/drawing/2014/main" id="{5B9592DF-6F60-4414-82AB-B016F36C41E6}"/>
                  </a:ext>
                </a:extLst>
              </p:cNvPr>
              <p:cNvSpPr/>
              <p:nvPr/>
            </p:nvSpPr>
            <p:spPr>
              <a:xfrm>
                <a:off x="1279178" y="2722076"/>
                <a:ext cx="43580" cy="43580"/>
              </a:xfrm>
              <a:custGeom>
                <a:avLst/>
                <a:gdLst>
                  <a:gd name="connsiteX0" fmla="*/ 43581 w 43580"/>
                  <a:gd name="connsiteY0" fmla="*/ 21790 h 43580"/>
                  <a:gd name="connsiteX1" fmla="*/ 21790 w 43580"/>
                  <a:gd name="connsiteY1" fmla="*/ 43581 h 43580"/>
                  <a:gd name="connsiteX2" fmla="*/ 0 w 43580"/>
                  <a:gd name="connsiteY2" fmla="*/ 21790 h 43580"/>
                  <a:gd name="connsiteX3" fmla="*/ 21790 w 43580"/>
                  <a:gd name="connsiteY3" fmla="*/ 0 h 43580"/>
                  <a:gd name="connsiteX4" fmla="*/ 43581 w 43580"/>
                  <a:gd name="connsiteY4" fmla="*/ 21790 h 4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80" h="43580">
                    <a:moveTo>
                      <a:pt x="43581" y="21790"/>
                    </a:moveTo>
                    <a:cubicBezTo>
                      <a:pt x="43581" y="33825"/>
                      <a:pt x="33825" y="43581"/>
                      <a:pt x="21790" y="43581"/>
                    </a:cubicBezTo>
                    <a:cubicBezTo>
                      <a:pt x="9756" y="43581"/>
                      <a:pt x="0" y="33825"/>
                      <a:pt x="0" y="21790"/>
                    </a:cubicBezTo>
                    <a:cubicBezTo>
                      <a:pt x="0" y="9756"/>
                      <a:pt x="9756" y="0"/>
                      <a:pt x="21790" y="0"/>
                    </a:cubicBezTo>
                    <a:cubicBezTo>
                      <a:pt x="33825" y="0"/>
                      <a:pt x="43581" y="9756"/>
                      <a:pt x="43581" y="21790"/>
                    </a:cubicBezTo>
                    <a:close/>
                  </a:path>
                </a:pathLst>
              </a:custGeom>
              <a:solidFill>
                <a:srgbClr val="00BCEA"/>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7" name="Freeform: Shape 226">
                <a:extLst>
                  <a:ext uri="{FF2B5EF4-FFF2-40B4-BE49-F238E27FC236}">
                    <a16:creationId xmlns:a16="http://schemas.microsoft.com/office/drawing/2014/main" id="{FFB6F599-16D2-4DE3-A071-AFE6B4CA7A59}"/>
                  </a:ext>
                </a:extLst>
              </p:cNvPr>
              <p:cNvSpPr/>
              <p:nvPr/>
            </p:nvSpPr>
            <p:spPr>
              <a:xfrm>
                <a:off x="2337286" y="2151786"/>
                <a:ext cx="80434" cy="854653"/>
              </a:xfrm>
              <a:custGeom>
                <a:avLst/>
                <a:gdLst>
                  <a:gd name="connsiteX0" fmla="*/ 40217 w 80434"/>
                  <a:gd name="connsiteY0" fmla="*/ 854653 h 854653"/>
                  <a:gd name="connsiteX1" fmla="*/ 40217 w 80434"/>
                  <a:gd name="connsiteY1" fmla="*/ 854653 h 854653"/>
                  <a:gd name="connsiteX2" fmla="*/ 0 w 80434"/>
                  <a:gd name="connsiteY2" fmla="*/ 814436 h 854653"/>
                  <a:gd name="connsiteX3" fmla="*/ 0 w 80434"/>
                  <a:gd name="connsiteY3" fmla="*/ 40217 h 854653"/>
                  <a:gd name="connsiteX4" fmla="*/ 40217 w 80434"/>
                  <a:gd name="connsiteY4" fmla="*/ 0 h 854653"/>
                  <a:gd name="connsiteX5" fmla="*/ 40217 w 80434"/>
                  <a:gd name="connsiteY5" fmla="*/ 0 h 854653"/>
                  <a:gd name="connsiteX6" fmla="*/ 80435 w 80434"/>
                  <a:gd name="connsiteY6" fmla="*/ 40217 h 854653"/>
                  <a:gd name="connsiteX7" fmla="*/ 80435 w 80434"/>
                  <a:gd name="connsiteY7" fmla="*/ 814436 h 854653"/>
                  <a:gd name="connsiteX8" fmla="*/ 40217 w 80434"/>
                  <a:gd name="connsiteY8" fmla="*/ 854653 h 854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434" h="854653">
                    <a:moveTo>
                      <a:pt x="40217" y="854653"/>
                    </a:moveTo>
                    <a:lnTo>
                      <a:pt x="40217" y="854653"/>
                    </a:lnTo>
                    <a:cubicBezTo>
                      <a:pt x="18001" y="854653"/>
                      <a:pt x="0" y="836653"/>
                      <a:pt x="0" y="814436"/>
                    </a:cubicBezTo>
                    <a:lnTo>
                      <a:pt x="0" y="40217"/>
                    </a:lnTo>
                    <a:cubicBezTo>
                      <a:pt x="0" y="18001"/>
                      <a:pt x="18001" y="0"/>
                      <a:pt x="40217" y="0"/>
                    </a:cubicBezTo>
                    <a:lnTo>
                      <a:pt x="40217" y="0"/>
                    </a:lnTo>
                    <a:cubicBezTo>
                      <a:pt x="62434" y="0"/>
                      <a:pt x="80435" y="18001"/>
                      <a:pt x="80435" y="40217"/>
                    </a:cubicBezTo>
                    <a:lnTo>
                      <a:pt x="80435" y="814436"/>
                    </a:lnTo>
                    <a:cubicBezTo>
                      <a:pt x="80435" y="836653"/>
                      <a:pt x="62434" y="854653"/>
                      <a:pt x="40217" y="854653"/>
                    </a:cubicBezTo>
                    <a:close/>
                  </a:path>
                </a:pathLst>
              </a:custGeom>
              <a:solidFill>
                <a:srgbClr val="74BF4B"/>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8" name="Freeform: Shape 227">
                <a:extLst>
                  <a:ext uri="{FF2B5EF4-FFF2-40B4-BE49-F238E27FC236}">
                    <a16:creationId xmlns:a16="http://schemas.microsoft.com/office/drawing/2014/main" id="{A5C21A36-9302-4B2E-9213-EB44A98443BD}"/>
                  </a:ext>
                </a:extLst>
              </p:cNvPr>
              <p:cNvSpPr/>
              <p:nvPr/>
            </p:nvSpPr>
            <p:spPr>
              <a:xfrm>
                <a:off x="1949655" y="4108791"/>
                <a:ext cx="598664" cy="80434"/>
              </a:xfrm>
              <a:custGeom>
                <a:avLst/>
                <a:gdLst>
                  <a:gd name="connsiteX0" fmla="*/ 0 w 598664"/>
                  <a:gd name="connsiteY0" fmla="*/ 40217 h 80434"/>
                  <a:gd name="connsiteX1" fmla="*/ 0 w 598664"/>
                  <a:gd name="connsiteY1" fmla="*/ 40217 h 80434"/>
                  <a:gd name="connsiteX2" fmla="*/ 40217 w 598664"/>
                  <a:gd name="connsiteY2" fmla="*/ 0 h 80434"/>
                  <a:gd name="connsiteX3" fmla="*/ 558447 w 598664"/>
                  <a:gd name="connsiteY3" fmla="*/ 0 h 80434"/>
                  <a:gd name="connsiteX4" fmla="*/ 598665 w 598664"/>
                  <a:gd name="connsiteY4" fmla="*/ 40217 h 80434"/>
                  <a:gd name="connsiteX5" fmla="*/ 598665 w 598664"/>
                  <a:gd name="connsiteY5" fmla="*/ 40217 h 80434"/>
                  <a:gd name="connsiteX6" fmla="*/ 558447 w 598664"/>
                  <a:gd name="connsiteY6" fmla="*/ 80435 h 80434"/>
                  <a:gd name="connsiteX7" fmla="*/ 40217 w 598664"/>
                  <a:gd name="connsiteY7" fmla="*/ 80435 h 80434"/>
                  <a:gd name="connsiteX8" fmla="*/ 0 w 598664"/>
                  <a:gd name="connsiteY8" fmla="*/ 40217 h 80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8664" h="80434">
                    <a:moveTo>
                      <a:pt x="0" y="40217"/>
                    </a:moveTo>
                    <a:lnTo>
                      <a:pt x="0" y="40217"/>
                    </a:lnTo>
                    <a:cubicBezTo>
                      <a:pt x="0" y="18001"/>
                      <a:pt x="18001" y="0"/>
                      <a:pt x="40217" y="0"/>
                    </a:cubicBezTo>
                    <a:lnTo>
                      <a:pt x="558447" y="0"/>
                    </a:lnTo>
                    <a:cubicBezTo>
                      <a:pt x="580664" y="0"/>
                      <a:pt x="598665" y="18001"/>
                      <a:pt x="598665" y="40217"/>
                    </a:cubicBezTo>
                    <a:lnTo>
                      <a:pt x="598665" y="40217"/>
                    </a:lnTo>
                    <a:cubicBezTo>
                      <a:pt x="598665" y="62434"/>
                      <a:pt x="580664" y="80435"/>
                      <a:pt x="558447" y="80435"/>
                    </a:cubicBezTo>
                    <a:lnTo>
                      <a:pt x="40217" y="80435"/>
                    </a:lnTo>
                    <a:cubicBezTo>
                      <a:pt x="18001" y="80435"/>
                      <a:pt x="0" y="62434"/>
                      <a:pt x="0" y="40217"/>
                    </a:cubicBezTo>
                    <a:close/>
                  </a:path>
                </a:pathLst>
              </a:custGeom>
              <a:solidFill>
                <a:srgbClr val="0D274D"/>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29" name="Freeform: Shape 228">
                <a:extLst>
                  <a:ext uri="{FF2B5EF4-FFF2-40B4-BE49-F238E27FC236}">
                    <a16:creationId xmlns:a16="http://schemas.microsoft.com/office/drawing/2014/main" id="{334F3FA4-8DFB-417B-ACFF-B897E77CA862}"/>
                  </a:ext>
                </a:extLst>
              </p:cNvPr>
              <p:cNvSpPr/>
              <p:nvPr/>
            </p:nvSpPr>
            <p:spPr>
              <a:xfrm>
                <a:off x="5877972" y="1448670"/>
                <a:ext cx="444974" cy="195781"/>
              </a:xfrm>
              <a:custGeom>
                <a:avLst/>
                <a:gdLst>
                  <a:gd name="connsiteX0" fmla="*/ 48270 w 444974"/>
                  <a:gd name="connsiteY0" fmla="*/ 0 h 195781"/>
                  <a:gd name="connsiteX1" fmla="*/ 396725 w 444974"/>
                  <a:gd name="connsiteY1" fmla="*/ 0 h 195781"/>
                  <a:gd name="connsiteX2" fmla="*/ 438459 w 444974"/>
                  <a:gd name="connsiteY2" fmla="*/ 72287 h 195781"/>
                  <a:gd name="connsiteX3" fmla="*/ 367162 w 444974"/>
                  <a:gd name="connsiteY3" fmla="*/ 195781 h 195781"/>
                  <a:gd name="connsiteX4" fmla="*/ 77852 w 444974"/>
                  <a:gd name="connsiteY4" fmla="*/ 195781 h 195781"/>
                  <a:gd name="connsiteX5" fmla="*/ 6537 w 444974"/>
                  <a:gd name="connsiteY5" fmla="*/ 72287 h 195781"/>
                  <a:gd name="connsiteX6" fmla="*/ 48270 w 444974"/>
                  <a:gd name="connsiteY6" fmla="*/ 0 h 19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974" h="195781">
                    <a:moveTo>
                      <a:pt x="48270" y="0"/>
                    </a:moveTo>
                    <a:lnTo>
                      <a:pt x="396725" y="0"/>
                    </a:lnTo>
                    <a:cubicBezTo>
                      <a:pt x="433816" y="0"/>
                      <a:pt x="456980" y="40170"/>
                      <a:pt x="438459" y="72287"/>
                    </a:cubicBezTo>
                    <a:lnTo>
                      <a:pt x="367162" y="195781"/>
                    </a:lnTo>
                    <a:lnTo>
                      <a:pt x="77852" y="195781"/>
                    </a:lnTo>
                    <a:lnTo>
                      <a:pt x="6537" y="72287"/>
                    </a:lnTo>
                    <a:cubicBezTo>
                      <a:pt x="-12032" y="40170"/>
                      <a:pt x="11179" y="0"/>
                      <a:pt x="48270" y="0"/>
                    </a:cubicBezTo>
                    <a:close/>
                  </a:path>
                </a:pathLst>
              </a:custGeom>
              <a:solidFill>
                <a:srgbClr val="1E4471">
                  <a:lumMod val="5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230" name="Graphic 1">
                <a:extLst>
                  <a:ext uri="{FF2B5EF4-FFF2-40B4-BE49-F238E27FC236}">
                    <a16:creationId xmlns:a16="http://schemas.microsoft.com/office/drawing/2014/main" id="{212E231E-ED11-4D34-A635-7B3A9962EC59}"/>
                  </a:ext>
                </a:extLst>
              </p:cNvPr>
              <p:cNvGrpSpPr/>
              <p:nvPr/>
            </p:nvGrpSpPr>
            <p:grpSpPr>
              <a:xfrm>
                <a:off x="2683443" y="3214773"/>
                <a:ext cx="76360" cy="78113"/>
                <a:chOff x="2683443" y="3214773"/>
                <a:chExt cx="76360" cy="78113"/>
              </a:xfrm>
              <a:solidFill>
                <a:srgbClr val="0D274D"/>
              </a:solidFill>
            </p:grpSpPr>
            <p:sp>
              <p:nvSpPr>
                <p:cNvPr id="335" name="Freeform: Shape 334">
                  <a:extLst>
                    <a:ext uri="{FF2B5EF4-FFF2-40B4-BE49-F238E27FC236}">
                      <a16:creationId xmlns:a16="http://schemas.microsoft.com/office/drawing/2014/main" id="{28D676E3-5683-4D34-BABE-BB0333F52FF2}"/>
                    </a:ext>
                  </a:extLst>
                </p:cNvPr>
                <p:cNvSpPr/>
                <p:nvPr/>
              </p:nvSpPr>
              <p:spPr>
                <a:xfrm>
                  <a:off x="2683443" y="3214773"/>
                  <a:ext cx="76360" cy="78113"/>
                </a:xfrm>
                <a:custGeom>
                  <a:avLst/>
                  <a:gdLst>
                    <a:gd name="connsiteX0" fmla="*/ 7556 w 76360"/>
                    <a:gd name="connsiteY0" fmla="*/ 78113 h 78113"/>
                    <a:gd name="connsiteX1" fmla="*/ 2345 w 76360"/>
                    <a:gd name="connsiteY1" fmla="*/ 75982 h 78113"/>
                    <a:gd name="connsiteX2" fmla="*/ 2345 w 76360"/>
                    <a:gd name="connsiteY2" fmla="*/ 64234 h 78113"/>
                    <a:gd name="connsiteX3" fmla="*/ 61558 w 76360"/>
                    <a:gd name="connsiteY3" fmla="*/ 2416 h 78113"/>
                    <a:gd name="connsiteX4" fmla="*/ 74016 w 76360"/>
                    <a:gd name="connsiteY4" fmla="*/ 2416 h 78113"/>
                    <a:gd name="connsiteX5" fmla="*/ 74016 w 76360"/>
                    <a:gd name="connsiteY5" fmla="*/ 14164 h 78113"/>
                    <a:gd name="connsiteX6" fmla="*/ 13761 w 76360"/>
                    <a:gd name="connsiteY6" fmla="*/ 75982 h 78113"/>
                    <a:gd name="connsiteX7" fmla="*/ 7556 w 76360"/>
                    <a:gd name="connsiteY7" fmla="*/ 78113 h 78113"/>
                    <a:gd name="connsiteX8" fmla="*/ 7556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7556" y="78113"/>
                      </a:moveTo>
                      <a:cubicBezTo>
                        <a:pt x="5471" y="78113"/>
                        <a:pt x="3387" y="78113"/>
                        <a:pt x="2345" y="75982"/>
                      </a:cubicBezTo>
                      <a:cubicBezTo>
                        <a:pt x="-782" y="72761"/>
                        <a:pt x="-782" y="67455"/>
                        <a:pt x="2345" y="64234"/>
                      </a:cubicBezTo>
                      <a:cubicBezTo>
                        <a:pt x="61558" y="2416"/>
                        <a:pt x="61558" y="2416"/>
                        <a:pt x="61558" y="2416"/>
                      </a:cubicBezTo>
                      <a:cubicBezTo>
                        <a:pt x="64684" y="-805"/>
                        <a:pt x="70890" y="-805"/>
                        <a:pt x="74016" y="2416"/>
                      </a:cubicBezTo>
                      <a:cubicBezTo>
                        <a:pt x="77142" y="5637"/>
                        <a:pt x="77142" y="10942"/>
                        <a:pt x="74016" y="14164"/>
                      </a:cubicBezTo>
                      <a:cubicBezTo>
                        <a:pt x="13761" y="75982"/>
                        <a:pt x="13761" y="75982"/>
                        <a:pt x="13761" y="75982"/>
                      </a:cubicBezTo>
                      <a:cubicBezTo>
                        <a:pt x="12766" y="78113"/>
                        <a:pt x="10682" y="78113"/>
                        <a:pt x="7556" y="78113"/>
                      </a:cubicBezTo>
                      <a:lnTo>
                        <a:pt x="7556"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6" name="Freeform: Shape 335">
                  <a:extLst>
                    <a:ext uri="{FF2B5EF4-FFF2-40B4-BE49-F238E27FC236}">
                      <a16:creationId xmlns:a16="http://schemas.microsoft.com/office/drawing/2014/main" id="{0A233177-69A8-4682-A9E0-6299EE26104D}"/>
                    </a:ext>
                  </a:extLst>
                </p:cNvPr>
                <p:cNvSpPr/>
                <p:nvPr/>
              </p:nvSpPr>
              <p:spPr>
                <a:xfrm>
                  <a:off x="2683443" y="3214773"/>
                  <a:ext cx="76360" cy="78113"/>
                </a:xfrm>
                <a:custGeom>
                  <a:avLst/>
                  <a:gdLst>
                    <a:gd name="connsiteX0" fmla="*/ 67810 w 76360"/>
                    <a:gd name="connsiteY0" fmla="*/ 78113 h 78113"/>
                    <a:gd name="connsiteX1" fmla="*/ 61558 w 76360"/>
                    <a:gd name="connsiteY1" fmla="*/ 75982 h 78113"/>
                    <a:gd name="connsiteX2" fmla="*/ 2345 w 76360"/>
                    <a:gd name="connsiteY2" fmla="*/ 14164 h 78113"/>
                    <a:gd name="connsiteX3" fmla="*/ 2345 w 76360"/>
                    <a:gd name="connsiteY3" fmla="*/ 2416 h 78113"/>
                    <a:gd name="connsiteX4" fmla="*/ 13761 w 76360"/>
                    <a:gd name="connsiteY4" fmla="*/ 2416 h 78113"/>
                    <a:gd name="connsiteX5" fmla="*/ 74016 w 76360"/>
                    <a:gd name="connsiteY5" fmla="*/ 64234 h 78113"/>
                    <a:gd name="connsiteX6" fmla="*/ 74016 w 76360"/>
                    <a:gd name="connsiteY6" fmla="*/ 75982 h 78113"/>
                    <a:gd name="connsiteX7" fmla="*/ 67810 w 76360"/>
                    <a:gd name="connsiteY7" fmla="*/ 78113 h 78113"/>
                    <a:gd name="connsiteX8" fmla="*/ 67810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67810" y="78113"/>
                      </a:moveTo>
                      <a:cubicBezTo>
                        <a:pt x="65726" y="78113"/>
                        <a:pt x="63642" y="78113"/>
                        <a:pt x="61558" y="75982"/>
                      </a:cubicBezTo>
                      <a:cubicBezTo>
                        <a:pt x="2345" y="14164"/>
                        <a:pt x="2345" y="14164"/>
                        <a:pt x="2345" y="14164"/>
                      </a:cubicBezTo>
                      <a:cubicBezTo>
                        <a:pt x="-782" y="10942"/>
                        <a:pt x="-782" y="5637"/>
                        <a:pt x="2345" y="2416"/>
                      </a:cubicBezTo>
                      <a:cubicBezTo>
                        <a:pt x="5471" y="-805"/>
                        <a:pt x="10635" y="-805"/>
                        <a:pt x="13761" y="2416"/>
                      </a:cubicBezTo>
                      <a:cubicBezTo>
                        <a:pt x="74016" y="64234"/>
                        <a:pt x="74016" y="64234"/>
                        <a:pt x="74016" y="64234"/>
                      </a:cubicBezTo>
                      <a:cubicBezTo>
                        <a:pt x="77142" y="67455"/>
                        <a:pt x="77142" y="72761"/>
                        <a:pt x="74016" y="75982"/>
                      </a:cubicBezTo>
                      <a:cubicBezTo>
                        <a:pt x="71979" y="78113"/>
                        <a:pt x="69895" y="78113"/>
                        <a:pt x="67810" y="78113"/>
                      </a:cubicBezTo>
                      <a:lnTo>
                        <a:pt x="67810"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31" name="Graphic 1">
                <a:extLst>
                  <a:ext uri="{FF2B5EF4-FFF2-40B4-BE49-F238E27FC236}">
                    <a16:creationId xmlns:a16="http://schemas.microsoft.com/office/drawing/2014/main" id="{471CCA6C-7D1D-47D1-B784-C6C532392A58}"/>
                  </a:ext>
                </a:extLst>
              </p:cNvPr>
              <p:cNvGrpSpPr/>
              <p:nvPr/>
            </p:nvGrpSpPr>
            <p:grpSpPr>
              <a:xfrm>
                <a:off x="2683443" y="4126034"/>
                <a:ext cx="76408" cy="78113"/>
                <a:chOff x="2683443" y="4126034"/>
                <a:chExt cx="76408" cy="78113"/>
              </a:xfrm>
              <a:solidFill>
                <a:srgbClr val="0D274D"/>
              </a:solidFill>
            </p:grpSpPr>
            <p:sp>
              <p:nvSpPr>
                <p:cNvPr id="333" name="Freeform: Shape 332">
                  <a:extLst>
                    <a:ext uri="{FF2B5EF4-FFF2-40B4-BE49-F238E27FC236}">
                      <a16:creationId xmlns:a16="http://schemas.microsoft.com/office/drawing/2014/main" id="{233D5D0B-F282-4698-81FB-64B3EA134F2C}"/>
                    </a:ext>
                  </a:extLst>
                </p:cNvPr>
                <p:cNvSpPr/>
                <p:nvPr/>
              </p:nvSpPr>
              <p:spPr>
                <a:xfrm>
                  <a:off x="2683443" y="4126034"/>
                  <a:ext cx="76360" cy="78113"/>
                </a:xfrm>
                <a:custGeom>
                  <a:avLst/>
                  <a:gdLst>
                    <a:gd name="connsiteX0" fmla="*/ 7556 w 76360"/>
                    <a:gd name="connsiteY0" fmla="*/ 78113 h 78113"/>
                    <a:gd name="connsiteX1" fmla="*/ 2345 w 76360"/>
                    <a:gd name="connsiteY1" fmla="*/ 75982 h 78113"/>
                    <a:gd name="connsiteX2" fmla="*/ 2345 w 76360"/>
                    <a:gd name="connsiteY2" fmla="*/ 64234 h 78113"/>
                    <a:gd name="connsiteX3" fmla="*/ 61558 w 76360"/>
                    <a:gd name="connsiteY3" fmla="*/ 2416 h 78113"/>
                    <a:gd name="connsiteX4" fmla="*/ 74016 w 76360"/>
                    <a:gd name="connsiteY4" fmla="*/ 2416 h 78113"/>
                    <a:gd name="connsiteX5" fmla="*/ 74016 w 76360"/>
                    <a:gd name="connsiteY5" fmla="*/ 14164 h 78113"/>
                    <a:gd name="connsiteX6" fmla="*/ 13761 w 76360"/>
                    <a:gd name="connsiteY6" fmla="*/ 75982 h 78113"/>
                    <a:gd name="connsiteX7" fmla="*/ 7556 w 76360"/>
                    <a:gd name="connsiteY7" fmla="*/ 78113 h 78113"/>
                    <a:gd name="connsiteX8" fmla="*/ 7556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7556" y="78113"/>
                      </a:moveTo>
                      <a:cubicBezTo>
                        <a:pt x="5471" y="78113"/>
                        <a:pt x="3387" y="78113"/>
                        <a:pt x="2345" y="75982"/>
                      </a:cubicBezTo>
                      <a:cubicBezTo>
                        <a:pt x="-782" y="72761"/>
                        <a:pt x="-782" y="67455"/>
                        <a:pt x="2345" y="64234"/>
                      </a:cubicBezTo>
                      <a:cubicBezTo>
                        <a:pt x="61558" y="2416"/>
                        <a:pt x="61558" y="2416"/>
                        <a:pt x="61558" y="2416"/>
                      </a:cubicBezTo>
                      <a:cubicBezTo>
                        <a:pt x="64684" y="-805"/>
                        <a:pt x="70890" y="-805"/>
                        <a:pt x="74016" y="2416"/>
                      </a:cubicBezTo>
                      <a:cubicBezTo>
                        <a:pt x="77142" y="5637"/>
                        <a:pt x="77142" y="10942"/>
                        <a:pt x="74016" y="14164"/>
                      </a:cubicBezTo>
                      <a:cubicBezTo>
                        <a:pt x="13761" y="75982"/>
                        <a:pt x="13761" y="75982"/>
                        <a:pt x="13761" y="75982"/>
                      </a:cubicBezTo>
                      <a:cubicBezTo>
                        <a:pt x="12766" y="78113"/>
                        <a:pt x="10682" y="78113"/>
                        <a:pt x="7556" y="78113"/>
                      </a:cubicBezTo>
                      <a:lnTo>
                        <a:pt x="7556"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4" name="Freeform: Shape 333">
                  <a:extLst>
                    <a:ext uri="{FF2B5EF4-FFF2-40B4-BE49-F238E27FC236}">
                      <a16:creationId xmlns:a16="http://schemas.microsoft.com/office/drawing/2014/main" id="{36EC1109-AE55-41D4-B923-4D7FEBDC32CA}"/>
                    </a:ext>
                  </a:extLst>
                </p:cNvPr>
                <p:cNvSpPr/>
                <p:nvPr/>
              </p:nvSpPr>
              <p:spPr>
                <a:xfrm>
                  <a:off x="2683443" y="4126034"/>
                  <a:ext cx="76408" cy="78113"/>
                </a:xfrm>
                <a:custGeom>
                  <a:avLst/>
                  <a:gdLst>
                    <a:gd name="connsiteX0" fmla="*/ 67810 w 76408"/>
                    <a:gd name="connsiteY0" fmla="*/ 78113 h 78113"/>
                    <a:gd name="connsiteX1" fmla="*/ 61558 w 76408"/>
                    <a:gd name="connsiteY1" fmla="*/ 75982 h 78113"/>
                    <a:gd name="connsiteX2" fmla="*/ 2345 w 76408"/>
                    <a:gd name="connsiteY2" fmla="*/ 14164 h 78113"/>
                    <a:gd name="connsiteX3" fmla="*/ 2345 w 76408"/>
                    <a:gd name="connsiteY3" fmla="*/ 2416 h 78113"/>
                    <a:gd name="connsiteX4" fmla="*/ 13761 w 76408"/>
                    <a:gd name="connsiteY4" fmla="*/ 2416 h 78113"/>
                    <a:gd name="connsiteX5" fmla="*/ 74063 w 76408"/>
                    <a:gd name="connsiteY5" fmla="*/ 64234 h 78113"/>
                    <a:gd name="connsiteX6" fmla="*/ 74063 w 76408"/>
                    <a:gd name="connsiteY6" fmla="*/ 75982 h 78113"/>
                    <a:gd name="connsiteX7" fmla="*/ 67810 w 76408"/>
                    <a:gd name="connsiteY7" fmla="*/ 78113 h 78113"/>
                    <a:gd name="connsiteX8" fmla="*/ 67810 w 76408"/>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408" h="78113">
                      <a:moveTo>
                        <a:pt x="67810" y="78113"/>
                      </a:moveTo>
                      <a:cubicBezTo>
                        <a:pt x="65726" y="78113"/>
                        <a:pt x="63642" y="78113"/>
                        <a:pt x="61558" y="75982"/>
                      </a:cubicBezTo>
                      <a:cubicBezTo>
                        <a:pt x="2345" y="14164"/>
                        <a:pt x="2345" y="14164"/>
                        <a:pt x="2345" y="14164"/>
                      </a:cubicBezTo>
                      <a:cubicBezTo>
                        <a:pt x="-782" y="10942"/>
                        <a:pt x="-782" y="5637"/>
                        <a:pt x="2345" y="2416"/>
                      </a:cubicBezTo>
                      <a:cubicBezTo>
                        <a:pt x="5471" y="-805"/>
                        <a:pt x="10635" y="-805"/>
                        <a:pt x="13761" y="2416"/>
                      </a:cubicBezTo>
                      <a:cubicBezTo>
                        <a:pt x="74063" y="64234"/>
                        <a:pt x="74063" y="64234"/>
                        <a:pt x="74063" y="64234"/>
                      </a:cubicBezTo>
                      <a:cubicBezTo>
                        <a:pt x="77190" y="67455"/>
                        <a:pt x="77190" y="72761"/>
                        <a:pt x="74063" y="75982"/>
                      </a:cubicBezTo>
                      <a:cubicBezTo>
                        <a:pt x="71979" y="78113"/>
                        <a:pt x="69895" y="78113"/>
                        <a:pt x="67810" y="78113"/>
                      </a:cubicBezTo>
                      <a:lnTo>
                        <a:pt x="67810"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32" name="Graphic 1">
                <a:extLst>
                  <a:ext uri="{FF2B5EF4-FFF2-40B4-BE49-F238E27FC236}">
                    <a16:creationId xmlns:a16="http://schemas.microsoft.com/office/drawing/2014/main" id="{0EC4903F-891E-4A22-948D-44BB36FD110C}"/>
                  </a:ext>
                </a:extLst>
              </p:cNvPr>
              <p:cNvGrpSpPr/>
              <p:nvPr/>
            </p:nvGrpSpPr>
            <p:grpSpPr>
              <a:xfrm>
                <a:off x="3022093" y="3977671"/>
                <a:ext cx="76360" cy="78113"/>
                <a:chOff x="3022093" y="3977671"/>
                <a:chExt cx="76360" cy="78113"/>
              </a:xfrm>
              <a:solidFill>
                <a:srgbClr val="0D274D"/>
              </a:solidFill>
            </p:grpSpPr>
            <p:sp>
              <p:nvSpPr>
                <p:cNvPr id="331" name="Freeform: Shape 330">
                  <a:extLst>
                    <a:ext uri="{FF2B5EF4-FFF2-40B4-BE49-F238E27FC236}">
                      <a16:creationId xmlns:a16="http://schemas.microsoft.com/office/drawing/2014/main" id="{9ECA4EDF-4766-44CD-8284-4606D2D2D2B1}"/>
                    </a:ext>
                  </a:extLst>
                </p:cNvPr>
                <p:cNvSpPr/>
                <p:nvPr/>
              </p:nvSpPr>
              <p:spPr>
                <a:xfrm>
                  <a:off x="3022093" y="3977671"/>
                  <a:ext cx="76360" cy="78113"/>
                </a:xfrm>
                <a:custGeom>
                  <a:avLst/>
                  <a:gdLst>
                    <a:gd name="connsiteX0" fmla="*/ 7556 w 76360"/>
                    <a:gd name="connsiteY0" fmla="*/ 78113 h 78113"/>
                    <a:gd name="connsiteX1" fmla="*/ 2345 w 76360"/>
                    <a:gd name="connsiteY1" fmla="*/ 75982 h 78113"/>
                    <a:gd name="connsiteX2" fmla="*/ 2345 w 76360"/>
                    <a:gd name="connsiteY2" fmla="*/ 64234 h 78113"/>
                    <a:gd name="connsiteX3" fmla="*/ 61558 w 76360"/>
                    <a:gd name="connsiteY3" fmla="*/ 2416 h 78113"/>
                    <a:gd name="connsiteX4" fmla="*/ 74016 w 76360"/>
                    <a:gd name="connsiteY4" fmla="*/ 2416 h 78113"/>
                    <a:gd name="connsiteX5" fmla="*/ 74016 w 76360"/>
                    <a:gd name="connsiteY5" fmla="*/ 14164 h 78113"/>
                    <a:gd name="connsiteX6" fmla="*/ 13761 w 76360"/>
                    <a:gd name="connsiteY6" fmla="*/ 75982 h 78113"/>
                    <a:gd name="connsiteX7" fmla="*/ 7556 w 76360"/>
                    <a:gd name="connsiteY7" fmla="*/ 78113 h 78113"/>
                    <a:gd name="connsiteX8" fmla="*/ 7556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7556" y="78113"/>
                      </a:moveTo>
                      <a:cubicBezTo>
                        <a:pt x="5471" y="78113"/>
                        <a:pt x="3387" y="78113"/>
                        <a:pt x="2345" y="75982"/>
                      </a:cubicBezTo>
                      <a:cubicBezTo>
                        <a:pt x="-782" y="72761"/>
                        <a:pt x="-782" y="67455"/>
                        <a:pt x="2345" y="64234"/>
                      </a:cubicBezTo>
                      <a:cubicBezTo>
                        <a:pt x="61558" y="2416"/>
                        <a:pt x="61558" y="2416"/>
                        <a:pt x="61558" y="2416"/>
                      </a:cubicBezTo>
                      <a:cubicBezTo>
                        <a:pt x="64684" y="-805"/>
                        <a:pt x="70890" y="-805"/>
                        <a:pt x="74016" y="2416"/>
                      </a:cubicBezTo>
                      <a:cubicBezTo>
                        <a:pt x="77142" y="5637"/>
                        <a:pt x="77142" y="10942"/>
                        <a:pt x="74016" y="14164"/>
                      </a:cubicBezTo>
                      <a:cubicBezTo>
                        <a:pt x="13761" y="75982"/>
                        <a:pt x="13761" y="75982"/>
                        <a:pt x="13761" y="75982"/>
                      </a:cubicBezTo>
                      <a:cubicBezTo>
                        <a:pt x="12766" y="78113"/>
                        <a:pt x="10682" y="78113"/>
                        <a:pt x="7556" y="78113"/>
                      </a:cubicBezTo>
                      <a:lnTo>
                        <a:pt x="7556"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2" name="Freeform: Shape 331">
                  <a:extLst>
                    <a:ext uri="{FF2B5EF4-FFF2-40B4-BE49-F238E27FC236}">
                      <a16:creationId xmlns:a16="http://schemas.microsoft.com/office/drawing/2014/main" id="{65C8E197-DB4F-440D-BD3B-5CD00BEACB4A}"/>
                    </a:ext>
                  </a:extLst>
                </p:cNvPr>
                <p:cNvSpPr/>
                <p:nvPr/>
              </p:nvSpPr>
              <p:spPr>
                <a:xfrm>
                  <a:off x="3022093" y="3977671"/>
                  <a:ext cx="76360" cy="78113"/>
                </a:xfrm>
                <a:custGeom>
                  <a:avLst/>
                  <a:gdLst>
                    <a:gd name="connsiteX0" fmla="*/ 67810 w 76360"/>
                    <a:gd name="connsiteY0" fmla="*/ 78113 h 78113"/>
                    <a:gd name="connsiteX1" fmla="*/ 61558 w 76360"/>
                    <a:gd name="connsiteY1" fmla="*/ 75982 h 78113"/>
                    <a:gd name="connsiteX2" fmla="*/ 2345 w 76360"/>
                    <a:gd name="connsiteY2" fmla="*/ 14164 h 78113"/>
                    <a:gd name="connsiteX3" fmla="*/ 2345 w 76360"/>
                    <a:gd name="connsiteY3" fmla="*/ 2416 h 78113"/>
                    <a:gd name="connsiteX4" fmla="*/ 13761 w 76360"/>
                    <a:gd name="connsiteY4" fmla="*/ 2416 h 78113"/>
                    <a:gd name="connsiteX5" fmla="*/ 74016 w 76360"/>
                    <a:gd name="connsiteY5" fmla="*/ 64234 h 78113"/>
                    <a:gd name="connsiteX6" fmla="*/ 74016 w 76360"/>
                    <a:gd name="connsiteY6" fmla="*/ 75982 h 78113"/>
                    <a:gd name="connsiteX7" fmla="*/ 67810 w 76360"/>
                    <a:gd name="connsiteY7" fmla="*/ 78113 h 78113"/>
                    <a:gd name="connsiteX8" fmla="*/ 67810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67810" y="78113"/>
                      </a:moveTo>
                      <a:cubicBezTo>
                        <a:pt x="65726" y="78113"/>
                        <a:pt x="63642" y="78113"/>
                        <a:pt x="61558" y="75982"/>
                      </a:cubicBezTo>
                      <a:cubicBezTo>
                        <a:pt x="2345" y="14164"/>
                        <a:pt x="2345" y="14164"/>
                        <a:pt x="2345" y="14164"/>
                      </a:cubicBezTo>
                      <a:cubicBezTo>
                        <a:pt x="-782" y="10942"/>
                        <a:pt x="-782" y="5637"/>
                        <a:pt x="2345" y="2416"/>
                      </a:cubicBezTo>
                      <a:cubicBezTo>
                        <a:pt x="5471" y="-805"/>
                        <a:pt x="10635" y="-805"/>
                        <a:pt x="13761" y="2416"/>
                      </a:cubicBezTo>
                      <a:cubicBezTo>
                        <a:pt x="74016" y="64234"/>
                        <a:pt x="74016" y="64234"/>
                        <a:pt x="74016" y="64234"/>
                      </a:cubicBezTo>
                      <a:cubicBezTo>
                        <a:pt x="77142" y="67455"/>
                        <a:pt x="77142" y="72761"/>
                        <a:pt x="74016" y="75982"/>
                      </a:cubicBezTo>
                      <a:cubicBezTo>
                        <a:pt x="71979" y="78113"/>
                        <a:pt x="69895" y="78113"/>
                        <a:pt x="67810" y="78113"/>
                      </a:cubicBezTo>
                      <a:lnTo>
                        <a:pt x="67810"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33" name="Graphic 1">
                <a:extLst>
                  <a:ext uri="{FF2B5EF4-FFF2-40B4-BE49-F238E27FC236}">
                    <a16:creationId xmlns:a16="http://schemas.microsoft.com/office/drawing/2014/main" id="{EAA454F7-48EB-4571-ADB6-8BAB4DDAEDD9}"/>
                  </a:ext>
                </a:extLst>
              </p:cNvPr>
              <p:cNvGrpSpPr/>
              <p:nvPr/>
            </p:nvGrpSpPr>
            <p:grpSpPr>
              <a:xfrm>
                <a:off x="3022093" y="4276813"/>
                <a:ext cx="76360" cy="78113"/>
                <a:chOff x="3022093" y="4276813"/>
                <a:chExt cx="76360" cy="78113"/>
              </a:xfrm>
              <a:solidFill>
                <a:srgbClr val="0D274D"/>
              </a:solidFill>
            </p:grpSpPr>
            <p:sp>
              <p:nvSpPr>
                <p:cNvPr id="329" name="Freeform: Shape 328">
                  <a:extLst>
                    <a:ext uri="{FF2B5EF4-FFF2-40B4-BE49-F238E27FC236}">
                      <a16:creationId xmlns:a16="http://schemas.microsoft.com/office/drawing/2014/main" id="{5D5BF234-F732-471E-9B9B-DE20139C61AC}"/>
                    </a:ext>
                  </a:extLst>
                </p:cNvPr>
                <p:cNvSpPr/>
                <p:nvPr/>
              </p:nvSpPr>
              <p:spPr>
                <a:xfrm>
                  <a:off x="3022093" y="4276813"/>
                  <a:ext cx="76360" cy="78113"/>
                </a:xfrm>
                <a:custGeom>
                  <a:avLst/>
                  <a:gdLst>
                    <a:gd name="connsiteX0" fmla="*/ 7556 w 76360"/>
                    <a:gd name="connsiteY0" fmla="*/ 78114 h 78113"/>
                    <a:gd name="connsiteX1" fmla="*/ 2345 w 76360"/>
                    <a:gd name="connsiteY1" fmla="*/ 75982 h 78113"/>
                    <a:gd name="connsiteX2" fmla="*/ 2345 w 76360"/>
                    <a:gd name="connsiteY2" fmla="*/ 64234 h 78113"/>
                    <a:gd name="connsiteX3" fmla="*/ 61558 w 76360"/>
                    <a:gd name="connsiteY3" fmla="*/ 2416 h 78113"/>
                    <a:gd name="connsiteX4" fmla="*/ 74016 w 76360"/>
                    <a:gd name="connsiteY4" fmla="*/ 2416 h 78113"/>
                    <a:gd name="connsiteX5" fmla="*/ 74016 w 76360"/>
                    <a:gd name="connsiteY5" fmla="*/ 14164 h 78113"/>
                    <a:gd name="connsiteX6" fmla="*/ 13761 w 76360"/>
                    <a:gd name="connsiteY6" fmla="*/ 75982 h 78113"/>
                    <a:gd name="connsiteX7" fmla="*/ 7556 w 76360"/>
                    <a:gd name="connsiteY7" fmla="*/ 78114 h 78113"/>
                    <a:gd name="connsiteX8" fmla="*/ 7556 w 76360"/>
                    <a:gd name="connsiteY8" fmla="*/ 78114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7556" y="78114"/>
                      </a:moveTo>
                      <a:cubicBezTo>
                        <a:pt x="5471" y="78114"/>
                        <a:pt x="3387" y="78114"/>
                        <a:pt x="2345" y="75982"/>
                      </a:cubicBezTo>
                      <a:cubicBezTo>
                        <a:pt x="-782" y="72761"/>
                        <a:pt x="-782" y="67455"/>
                        <a:pt x="2345" y="64234"/>
                      </a:cubicBezTo>
                      <a:cubicBezTo>
                        <a:pt x="61558" y="2416"/>
                        <a:pt x="61558" y="2416"/>
                        <a:pt x="61558" y="2416"/>
                      </a:cubicBezTo>
                      <a:cubicBezTo>
                        <a:pt x="64684" y="-805"/>
                        <a:pt x="70890" y="-805"/>
                        <a:pt x="74016" y="2416"/>
                      </a:cubicBezTo>
                      <a:cubicBezTo>
                        <a:pt x="77142" y="5637"/>
                        <a:pt x="77142" y="10943"/>
                        <a:pt x="74016" y="14164"/>
                      </a:cubicBezTo>
                      <a:cubicBezTo>
                        <a:pt x="13761" y="75982"/>
                        <a:pt x="13761" y="75982"/>
                        <a:pt x="13761" y="75982"/>
                      </a:cubicBezTo>
                      <a:cubicBezTo>
                        <a:pt x="12766" y="78114"/>
                        <a:pt x="10682" y="78114"/>
                        <a:pt x="7556" y="78114"/>
                      </a:cubicBezTo>
                      <a:lnTo>
                        <a:pt x="7556" y="78114"/>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0" name="Freeform: Shape 329">
                  <a:extLst>
                    <a:ext uri="{FF2B5EF4-FFF2-40B4-BE49-F238E27FC236}">
                      <a16:creationId xmlns:a16="http://schemas.microsoft.com/office/drawing/2014/main" id="{688E03EE-9F87-4793-9C1F-C82884727F2F}"/>
                    </a:ext>
                  </a:extLst>
                </p:cNvPr>
                <p:cNvSpPr/>
                <p:nvPr/>
              </p:nvSpPr>
              <p:spPr>
                <a:xfrm>
                  <a:off x="3022093" y="4276813"/>
                  <a:ext cx="76360" cy="78113"/>
                </a:xfrm>
                <a:custGeom>
                  <a:avLst/>
                  <a:gdLst>
                    <a:gd name="connsiteX0" fmla="*/ 67810 w 76360"/>
                    <a:gd name="connsiteY0" fmla="*/ 78114 h 78113"/>
                    <a:gd name="connsiteX1" fmla="*/ 61558 w 76360"/>
                    <a:gd name="connsiteY1" fmla="*/ 75982 h 78113"/>
                    <a:gd name="connsiteX2" fmla="*/ 2345 w 76360"/>
                    <a:gd name="connsiteY2" fmla="*/ 14164 h 78113"/>
                    <a:gd name="connsiteX3" fmla="*/ 2345 w 76360"/>
                    <a:gd name="connsiteY3" fmla="*/ 2416 h 78113"/>
                    <a:gd name="connsiteX4" fmla="*/ 13761 w 76360"/>
                    <a:gd name="connsiteY4" fmla="*/ 2416 h 78113"/>
                    <a:gd name="connsiteX5" fmla="*/ 74016 w 76360"/>
                    <a:gd name="connsiteY5" fmla="*/ 64234 h 78113"/>
                    <a:gd name="connsiteX6" fmla="*/ 74016 w 76360"/>
                    <a:gd name="connsiteY6" fmla="*/ 75982 h 78113"/>
                    <a:gd name="connsiteX7" fmla="*/ 67810 w 76360"/>
                    <a:gd name="connsiteY7" fmla="*/ 78114 h 78113"/>
                    <a:gd name="connsiteX8" fmla="*/ 67810 w 76360"/>
                    <a:gd name="connsiteY8" fmla="*/ 78114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67810" y="78114"/>
                      </a:moveTo>
                      <a:cubicBezTo>
                        <a:pt x="65726" y="78114"/>
                        <a:pt x="63642" y="78114"/>
                        <a:pt x="61558" y="75982"/>
                      </a:cubicBezTo>
                      <a:cubicBezTo>
                        <a:pt x="2345" y="14164"/>
                        <a:pt x="2345" y="14164"/>
                        <a:pt x="2345" y="14164"/>
                      </a:cubicBezTo>
                      <a:cubicBezTo>
                        <a:pt x="-782" y="10943"/>
                        <a:pt x="-782" y="5637"/>
                        <a:pt x="2345" y="2416"/>
                      </a:cubicBezTo>
                      <a:cubicBezTo>
                        <a:pt x="5471" y="-805"/>
                        <a:pt x="10635" y="-805"/>
                        <a:pt x="13761" y="2416"/>
                      </a:cubicBezTo>
                      <a:cubicBezTo>
                        <a:pt x="74016" y="64234"/>
                        <a:pt x="74016" y="64234"/>
                        <a:pt x="74016" y="64234"/>
                      </a:cubicBezTo>
                      <a:cubicBezTo>
                        <a:pt x="77142" y="67455"/>
                        <a:pt x="77142" y="72761"/>
                        <a:pt x="74016" y="75982"/>
                      </a:cubicBezTo>
                      <a:cubicBezTo>
                        <a:pt x="71979" y="78114"/>
                        <a:pt x="69895" y="78114"/>
                        <a:pt x="67810" y="78114"/>
                      </a:cubicBezTo>
                      <a:lnTo>
                        <a:pt x="67810" y="78114"/>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34" name="Graphic 1">
                <a:extLst>
                  <a:ext uri="{FF2B5EF4-FFF2-40B4-BE49-F238E27FC236}">
                    <a16:creationId xmlns:a16="http://schemas.microsoft.com/office/drawing/2014/main" id="{C10EBEEE-A339-42CF-B1E4-A3BC1BB6CD3F}"/>
                  </a:ext>
                </a:extLst>
              </p:cNvPr>
              <p:cNvGrpSpPr/>
              <p:nvPr/>
            </p:nvGrpSpPr>
            <p:grpSpPr>
              <a:xfrm>
                <a:off x="3540560" y="4433277"/>
                <a:ext cx="76360" cy="78113"/>
                <a:chOff x="3540560" y="4433277"/>
                <a:chExt cx="76360" cy="78113"/>
              </a:xfrm>
              <a:solidFill>
                <a:srgbClr val="0D274D"/>
              </a:solidFill>
            </p:grpSpPr>
            <p:sp>
              <p:nvSpPr>
                <p:cNvPr id="327" name="Freeform: Shape 326">
                  <a:extLst>
                    <a:ext uri="{FF2B5EF4-FFF2-40B4-BE49-F238E27FC236}">
                      <a16:creationId xmlns:a16="http://schemas.microsoft.com/office/drawing/2014/main" id="{1E54A231-618A-4607-B461-CEAFAEE44EBF}"/>
                    </a:ext>
                  </a:extLst>
                </p:cNvPr>
                <p:cNvSpPr/>
                <p:nvPr/>
              </p:nvSpPr>
              <p:spPr>
                <a:xfrm>
                  <a:off x="3540560" y="4433277"/>
                  <a:ext cx="76360" cy="78113"/>
                </a:xfrm>
                <a:custGeom>
                  <a:avLst/>
                  <a:gdLst>
                    <a:gd name="connsiteX0" fmla="*/ 7556 w 76360"/>
                    <a:gd name="connsiteY0" fmla="*/ 78113 h 78113"/>
                    <a:gd name="connsiteX1" fmla="*/ 2345 w 76360"/>
                    <a:gd name="connsiteY1" fmla="*/ 75982 h 78113"/>
                    <a:gd name="connsiteX2" fmla="*/ 2345 w 76360"/>
                    <a:gd name="connsiteY2" fmla="*/ 64234 h 78113"/>
                    <a:gd name="connsiteX3" fmla="*/ 61558 w 76360"/>
                    <a:gd name="connsiteY3" fmla="*/ 2416 h 78113"/>
                    <a:gd name="connsiteX4" fmla="*/ 74016 w 76360"/>
                    <a:gd name="connsiteY4" fmla="*/ 2416 h 78113"/>
                    <a:gd name="connsiteX5" fmla="*/ 74016 w 76360"/>
                    <a:gd name="connsiteY5" fmla="*/ 14164 h 78113"/>
                    <a:gd name="connsiteX6" fmla="*/ 13761 w 76360"/>
                    <a:gd name="connsiteY6" fmla="*/ 75982 h 78113"/>
                    <a:gd name="connsiteX7" fmla="*/ 7556 w 76360"/>
                    <a:gd name="connsiteY7" fmla="*/ 78113 h 78113"/>
                    <a:gd name="connsiteX8" fmla="*/ 7556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7556" y="78113"/>
                      </a:moveTo>
                      <a:cubicBezTo>
                        <a:pt x="5471" y="78113"/>
                        <a:pt x="3387" y="78113"/>
                        <a:pt x="2345" y="75982"/>
                      </a:cubicBezTo>
                      <a:cubicBezTo>
                        <a:pt x="-782" y="72761"/>
                        <a:pt x="-782" y="67455"/>
                        <a:pt x="2345" y="64234"/>
                      </a:cubicBezTo>
                      <a:cubicBezTo>
                        <a:pt x="61558" y="2416"/>
                        <a:pt x="61558" y="2416"/>
                        <a:pt x="61558" y="2416"/>
                      </a:cubicBezTo>
                      <a:cubicBezTo>
                        <a:pt x="64684" y="-805"/>
                        <a:pt x="70890" y="-805"/>
                        <a:pt x="74016" y="2416"/>
                      </a:cubicBezTo>
                      <a:cubicBezTo>
                        <a:pt x="77142" y="5637"/>
                        <a:pt x="77142" y="10942"/>
                        <a:pt x="74016" y="14164"/>
                      </a:cubicBezTo>
                      <a:cubicBezTo>
                        <a:pt x="13761" y="75982"/>
                        <a:pt x="13761" y="75982"/>
                        <a:pt x="13761" y="75982"/>
                      </a:cubicBezTo>
                      <a:cubicBezTo>
                        <a:pt x="12766" y="78113"/>
                        <a:pt x="10682" y="78113"/>
                        <a:pt x="7556" y="78113"/>
                      </a:cubicBezTo>
                      <a:lnTo>
                        <a:pt x="7556"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8" name="Freeform: Shape 327">
                  <a:extLst>
                    <a:ext uri="{FF2B5EF4-FFF2-40B4-BE49-F238E27FC236}">
                      <a16:creationId xmlns:a16="http://schemas.microsoft.com/office/drawing/2014/main" id="{39A6A9DF-83B7-4EAA-932F-71A377587B8B}"/>
                    </a:ext>
                  </a:extLst>
                </p:cNvPr>
                <p:cNvSpPr/>
                <p:nvPr/>
              </p:nvSpPr>
              <p:spPr>
                <a:xfrm>
                  <a:off x="3540560" y="4433277"/>
                  <a:ext cx="76360" cy="78113"/>
                </a:xfrm>
                <a:custGeom>
                  <a:avLst/>
                  <a:gdLst>
                    <a:gd name="connsiteX0" fmla="*/ 67810 w 76360"/>
                    <a:gd name="connsiteY0" fmla="*/ 78113 h 78113"/>
                    <a:gd name="connsiteX1" fmla="*/ 61558 w 76360"/>
                    <a:gd name="connsiteY1" fmla="*/ 75982 h 78113"/>
                    <a:gd name="connsiteX2" fmla="*/ 2345 w 76360"/>
                    <a:gd name="connsiteY2" fmla="*/ 14164 h 78113"/>
                    <a:gd name="connsiteX3" fmla="*/ 2345 w 76360"/>
                    <a:gd name="connsiteY3" fmla="*/ 2416 h 78113"/>
                    <a:gd name="connsiteX4" fmla="*/ 13761 w 76360"/>
                    <a:gd name="connsiteY4" fmla="*/ 2416 h 78113"/>
                    <a:gd name="connsiteX5" fmla="*/ 74016 w 76360"/>
                    <a:gd name="connsiteY5" fmla="*/ 64234 h 78113"/>
                    <a:gd name="connsiteX6" fmla="*/ 74016 w 76360"/>
                    <a:gd name="connsiteY6" fmla="*/ 75982 h 78113"/>
                    <a:gd name="connsiteX7" fmla="*/ 67810 w 76360"/>
                    <a:gd name="connsiteY7" fmla="*/ 78113 h 78113"/>
                    <a:gd name="connsiteX8" fmla="*/ 67810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67810" y="78113"/>
                      </a:moveTo>
                      <a:cubicBezTo>
                        <a:pt x="65726" y="78113"/>
                        <a:pt x="63642" y="78113"/>
                        <a:pt x="61558" y="75982"/>
                      </a:cubicBezTo>
                      <a:cubicBezTo>
                        <a:pt x="2345" y="14164"/>
                        <a:pt x="2345" y="14164"/>
                        <a:pt x="2345" y="14164"/>
                      </a:cubicBezTo>
                      <a:cubicBezTo>
                        <a:pt x="-782" y="10942"/>
                        <a:pt x="-782" y="5637"/>
                        <a:pt x="2345" y="2416"/>
                      </a:cubicBezTo>
                      <a:cubicBezTo>
                        <a:pt x="5471" y="-805"/>
                        <a:pt x="10635" y="-805"/>
                        <a:pt x="13761" y="2416"/>
                      </a:cubicBezTo>
                      <a:cubicBezTo>
                        <a:pt x="74016" y="64234"/>
                        <a:pt x="74016" y="64234"/>
                        <a:pt x="74016" y="64234"/>
                      </a:cubicBezTo>
                      <a:cubicBezTo>
                        <a:pt x="77142" y="67455"/>
                        <a:pt x="77142" y="72761"/>
                        <a:pt x="74016" y="75982"/>
                      </a:cubicBezTo>
                      <a:cubicBezTo>
                        <a:pt x="71932" y="78113"/>
                        <a:pt x="69847" y="78113"/>
                        <a:pt x="67810" y="78113"/>
                      </a:cubicBezTo>
                      <a:lnTo>
                        <a:pt x="67810"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35" name="Graphic 1">
                <a:extLst>
                  <a:ext uri="{FF2B5EF4-FFF2-40B4-BE49-F238E27FC236}">
                    <a16:creationId xmlns:a16="http://schemas.microsoft.com/office/drawing/2014/main" id="{B426598E-C9EF-4272-87F4-208EC36C07AF}"/>
                  </a:ext>
                </a:extLst>
              </p:cNvPr>
              <p:cNvGrpSpPr/>
              <p:nvPr/>
            </p:nvGrpSpPr>
            <p:grpSpPr>
              <a:xfrm>
                <a:off x="3528433" y="3977671"/>
                <a:ext cx="76360" cy="78113"/>
                <a:chOff x="3528433" y="3977671"/>
                <a:chExt cx="76360" cy="78113"/>
              </a:xfrm>
              <a:solidFill>
                <a:srgbClr val="0D274D"/>
              </a:solidFill>
            </p:grpSpPr>
            <p:sp>
              <p:nvSpPr>
                <p:cNvPr id="325" name="Freeform: Shape 324">
                  <a:extLst>
                    <a:ext uri="{FF2B5EF4-FFF2-40B4-BE49-F238E27FC236}">
                      <a16:creationId xmlns:a16="http://schemas.microsoft.com/office/drawing/2014/main" id="{71E6ADC9-FF7A-4970-B98C-84AAD789A16D}"/>
                    </a:ext>
                  </a:extLst>
                </p:cNvPr>
                <p:cNvSpPr/>
                <p:nvPr/>
              </p:nvSpPr>
              <p:spPr>
                <a:xfrm>
                  <a:off x="3528433" y="3977671"/>
                  <a:ext cx="76360" cy="78113"/>
                </a:xfrm>
                <a:custGeom>
                  <a:avLst/>
                  <a:gdLst>
                    <a:gd name="connsiteX0" fmla="*/ 7556 w 76360"/>
                    <a:gd name="connsiteY0" fmla="*/ 78113 h 78113"/>
                    <a:gd name="connsiteX1" fmla="*/ 2345 w 76360"/>
                    <a:gd name="connsiteY1" fmla="*/ 75982 h 78113"/>
                    <a:gd name="connsiteX2" fmla="*/ 2345 w 76360"/>
                    <a:gd name="connsiteY2" fmla="*/ 64234 h 78113"/>
                    <a:gd name="connsiteX3" fmla="*/ 61558 w 76360"/>
                    <a:gd name="connsiteY3" fmla="*/ 2416 h 78113"/>
                    <a:gd name="connsiteX4" fmla="*/ 74016 w 76360"/>
                    <a:gd name="connsiteY4" fmla="*/ 2416 h 78113"/>
                    <a:gd name="connsiteX5" fmla="*/ 74016 w 76360"/>
                    <a:gd name="connsiteY5" fmla="*/ 14164 h 78113"/>
                    <a:gd name="connsiteX6" fmla="*/ 13761 w 76360"/>
                    <a:gd name="connsiteY6" fmla="*/ 75982 h 78113"/>
                    <a:gd name="connsiteX7" fmla="*/ 7556 w 76360"/>
                    <a:gd name="connsiteY7" fmla="*/ 78113 h 78113"/>
                    <a:gd name="connsiteX8" fmla="*/ 7556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7556" y="78113"/>
                      </a:moveTo>
                      <a:cubicBezTo>
                        <a:pt x="5471" y="78113"/>
                        <a:pt x="3387" y="78113"/>
                        <a:pt x="2345" y="75982"/>
                      </a:cubicBezTo>
                      <a:cubicBezTo>
                        <a:pt x="-782" y="72761"/>
                        <a:pt x="-782" y="67455"/>
                        <a:pt x="2345" y="64234"/>
                      </a:cubicBezTo>
                      <a:cubicBezTo>
                        <a:pt x="61558" y="2416"/>
                        <a:pt x="61558" y="2416"/>
                        <a:pt x="61558" y="2416"/>
                      </a:cubicBezTo>
                      <a:cubicBezTo>
                        <a:pt x="64684" y="-805"/>
                        <a:pt x="70890" y="-805"/>
                        <a:pt x="74016" y="2416"/>
                      </a:cubicBezTo>
                      <a:cubicBezTo>
                        <a:pt x="77142" y="5637"/>
                        <a:pt x="77142" y="10942"/>
                        <a:pt x="74016" y="14164"/>
                      </a:cubicBezTo>
                      <a:cubicBezTo>
                        <a:pt x="13761" y="75982"/>
                        <a:pt x="13761" y="75982"/>
                        <a:pt x="13761" y="75982"/>
                      </a:cubicBezTo>
                      <a:cubicBezTo>
                        <a:pt x="12766" y="78113"/>
                        <a:pt x="10682" y="78113"/>
                        <a:pt x="7556" y="78113"/>
                      </a:cubicBezTo>
                      <a:lnTo>
                        <a:pt x="7556"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6" name="Freeform: Shape 325">
                  <a:extLst>
                    <a:ext uri="{FF2B5EF4-FFF2-40B4-BE49-F238E27FC236}">
                      <a16:creationId xmlns:a16="http://schemas.microsoft.com/office/drawing/2014/main" id="{7D5C0CC3-F0FE-4905-99D5-51734AF80966}"/>
                    </a:ext>
                  </a:extLst>
                </p:cNvPr>
                <p:cNvSpPr/>
                <p:nvPr/>
              </p:nvSpPr>
              <p:spPr>
                <a:xfrm>
                  <a:off x="3528433" y="3977671"/>
                  <a:ext cx="76360" cy="78113"/>
                </a:xfrm>
                <a:custGeom>
                  <a:avLst/>
                  <a:gdLst>
                    <a:gd name="connsiteX0" fmla="*/ 67810 w 76360"/>
                    <a:gd name="connsiteY0" fmla="*/ 78113 h 78113"/>
                    <a:gd name="connsiteX1" fmla="*/ 61558 w 76360"/>
                    <a:gd name="connsiteY1" fmla="*/ 75982 h 78113"/>
                    <a:gd name="connsiteX2" fmla="*/ 2345 w 76360"/>
                    <a:gd name="connsiteY2" fmla="*/ 14164 h 78113"/>
                    <a:gd name="connsiteX3" fmla="*/ 2345 w 76360"/>
                    <a:gd name="connsiteY3" fmla="*/ 2416 h 78113"/>
                    <a:gd name="connsiteX4" fmla="*/ 13761 w 76360"/>
                    <a:gd name="connsiteY4" fmla="*/ 2416 h 78113"/>
                    <a:gd name="connsiteX5" fmla="*/ 74016 w 76360"/>
                    <a:gd name="connsiteY5" fmla="*/ 64234 h 78113"/>
                    <a:gd name="connsiteX6" fmla="*/ 74016 w 76360"/>
                    <a:gd name="connsiteY6" fmla="*/ 75982 h 78113"/>
                    <a:gd name="connsiteX7" fmla="*/ 67810 w 76360"/>
                    <a:gd name="connsiteY7" fmla="*/ 78113 h 78113"/>
                    <a:gd name="connsiteX8" fmla="*/ 67810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67810" y="78113"/>
                      </a:moveTo>
                      <a:cubicBezTo>
                        <a:pt x="65726" y="78113"/>
                        <a:pt x="63642" y="78113"/>
                        <a:pt x="61558" y="75982"/>
                      </a:cubicBezTo>
                      <a:cubicBezTo>
                        <a:pt x="2345" y="14164"/>
                        <a:pt x="2345" y="14164"/>
                        <a:pt x="2345" y="14164"/>
                      </a:cubicBezTo>
                      <a:cubicBezTo>
                        <a:pt x="-782" y="10942"/>
                        <a:pt x="-782" y="5637"/>
                        <a:pt x="2345" y="2416"/>
                      </a:cubicBezTo>
                      <a:cubicBezTo>
                        <a:pt x="5471" y="-805"/>
                        <a:pt x="10635" y="-805"/>
                        <a:pt x="13761" y="2416"/>
                      </a:cubicBezTo>
                      <a:cubicBezTo>
                        <a:pt x="74016" y="64234"/>
                        <a:pt x="74016" y="64234"/>
                        <a:pt x="74016" y="64234"/>
                      </a:cubicBezTo>
                      <a:cubicBezTo>
                        <a:pt x="77142" y="67455"/>
                        <a:pt x="77142" y="72761"/>
                        <a:pt x="74016" y="75982"/>
                      </a:cubicBezTo>
                      <a:cubicBezTo>
                        <a:pt x="71979" y="78113"/>
                        <a:pt x="69895" y="78113"/>
                        <a:pt x="67810" y="78113"/>
                      </a:cubicBezTo>
                      <a:lnTo>
                        <a:pt x="67810"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36" name="Graphic 1">
                <a:extLst>
                  <a:ext uri="{FF2B5EF4-FFF2-40B4-BE49-F238E27FC236}">
                    <a16:creationId xmlns:a16="http://schemas.microsoft.com/office/drawing/2014/main" id="{12C952CF-9A7E-4E09-9A9C-358A963402C0}"/>
                  </a:ext>
                </a:extLst>
              </p:cNvPr>
              <p:cNvGrpSpPr/>
              <p:nvPr/>
            </p:nvGrpSpPr>
            <p:grpSpPr>
              <a:xfrm>
                <a:off x="3879446" y="4130392"/>
                <a:ext cx="76360" cy="78113"/>
                <a:chOff x="3879446" y="4130392"/>
                <a:chExt cx="76360" cy="78113"/>
              </a:xfrm>
              <a:solidFill>
                <a:srgbClr val="0D274D"/>
              </a:solidFill>
            </p:grpSpPr>
            <p:sp>
              <p:nvSpPr>
                <p:cNvPr id="323" name="Freeform: Shape 322">
                  <a:extLst>
                    <a:ext uri="{FF2B5EF4-FFF2-40B4-BE49-F238E27FC236}">
                      <a16:creationId xmlns:a16="http://schemas.microsoft.com/office/drawing/2014/main" id="{6E3862B6-358E-4517-8F67-0E3581196769}"/>
                    </a:ext>
                  </a:extLst>
                </p:cNvPr>
                <p:cNvSpPr/>
                <p:nvPr/>
              </p:nvSpPr>
              <p:spPr>
                <a:xfrm>
                  <a:off x="3879446" y="4130392"/>
                  <a:ext cx="76360" cy="78113"/>
                </a:xfrm>
                <a:custGeom>
                  <a:avLst/>
                  <a:gdLst>
                    <a:gd name="connsiteX0" fmla="*/ 7556 w 76360"/>
                    <a:gd name="connsiteY0" fmla="*/ 78113 h 78113"/>
                    <a:gd name="connsiteX1" fmla="*/ 2345 w 76360"/>
                    <a:gd name="connsiteY1" fmla="*/ 75982 h 78113"/>
                    <a:gd name="connsiteX2" fmla="*/ 2345 w 76360"/>
                    <a:gd name="connsiteY2" fmla="*/ 64234 h 78113"/>
                    <a:gd name="connsiteX3" fmla="*/ 61557 w 76360"/>
                    <a:gd name="connsiteY3" fmla="*/ 2416 h 78113"/>
                    <a:gd name="connsiteX4" fmla="*/ 74016 w 76360"/>
                    <a:gd name="connsiteY4" fmla="*/ 2416 h 78113"/>
                    <a:gd name="connsiteX5" fmla="*/ 74016 w 76360"/>
                    <a:gd name="connsiteY5" fmla="*/ 14164 h 78113"/>
                    <a:gd name="connsiteX6" fmla="*/ 13761 w 76360"/>
                    <a:gd name="connsiteY6" fmla="*/ 75982 h 78113"/>
                    <a:gd name="connsiteX7" fmla="*/ 7556 w 76360"/>
                    <a:gd name="connsiteY7" fmla="*/ 78113 h 78113"/>
                    <a:gd name="connsiteX8" fmla="*/ 7556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7556" y="78113"/>
                      </a:moveTo>
                      <a:cubicBezTo>
                        <a:pt x="5471" y="78113"/>
                        <a:pt x="3387" y="78113"/>
                        <a:pt x="2345" y="75982"/>
                      </a:cubicBezTo>
                      <a:cubicBezTo>
                        <a:pt x="-782" y="72761"/>
                        <a:pt x="-782" y="67455"/>
                        <a:pt x="2345" y="64234"/>
                      </a:cubicBezTo>
                      <a:cubicBezTo>
                        <a:pt x="61557" y="2416"/>
                        <a:pt x="61557" y="2416"/>
                        <a:pt x="61557" y="2416"/>
                      </a:cubicBezTo>
                      <a:cubicBezTo>
                        <a:pt x="64684" y="-805"/>
                        <a:pt x="70890" y="-805"/>
                        <a:pt x="74016" y="2416"/>
                      </a:cubicBezTo>
                      <a:cubicBezTo>
                        <a:pt x="77142" y="5637"/>
                        <a:pt x="77142" y="10942"/>
                        <a:pt x="74016" y="14164"/>
                      </a:cubicBezTo>
                      <a:cubicBezTo>
                        <a:pt x="13761" y="75982"/>
                        <a:pt x="13761" y="75982"/>
                        <a:pt x="13761" y="75982"/>
                      </a:cubicBezTo>
                      <a:cubicBezTo>
                        <a:pt x="12766" y="78113"/>
                        <a:pt x="10682" y="78113"/>
                        <a:pt x="7556" y="78113"/>
                      </a:cubicBezTo>
                      <a:lnTo>
                        <a:pt x="7556"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4" name="Freeform: Shape 323">
                  <a:extLst>
                    <a:ext uri="{FF2B5EF4-FFF2-40B4-BE49-F238E27FC236}">
                      <a16:creationId xmlns:a16="http://schemas.microsoft.com/office/drawing/2014/main" id="{07EAF6E7-36FE-428A-91CF-919A1FD37ECD}"/>
                    </a:ext>
                  </a:extLst>
                </p:cNvPr>
                <p:cNvSpPr/>
                <p:nvPr/>
              </p:nvSpPr>
              <p:spPr>
                <a:xfrm>
                  <a:off x="3879446" y="4130392"/>
                  <a:ext cx="76360" cy="78113"/>
                </a:xfrm>
                <a:custGeom>
                  <a:avLst/>
                  <a:gdLst>
                    <a:gd name="connsiteX0" fmla="*/ 67810 w 76360"/>
                    <a:gd name="connsiteY0" fmla="*/ 78113 h 78113"/>
                    <a:gd name="connsiteX1" fmla="*/ 61557 w 76360"/>
                    <a:gd name="connsiteY1" fmla="*/ 75982 h 78113"/>
                    <a:gd name="connsiteX2" fmla="*/ 2345 w 76360"/>
                    <a:gd name="connsiteY2" fmla="*/ 14164 h 78113"/>
                    <a:gd name="connsiteX3" fmla="*/ 2345 w 76360"/>
                    <a:gd name="connsiteY3" fmla="*/ 2416 h 78113"/>
                    <a:gd name="connsiteX4" fmla="*/ 13761 w 76360"/>
                    <a:gd name="connsiteY4" fmla="*/ 2416 h 78113"/>
                    <a:gd name="connsiteX5" fmla="*/ 74016 w 76360"/>
                    <a:gd name="connsiteY5" fmla="*/ 64234 h 78113"/>
                    <a:gd name="connsiteX6" fmla="*/ 74016 w 76360"/>
                    <a:gd name="connsiteY6" fmla="*/ 75982 h 78113"/>
                    <a:gd name="connsiteX7" fmla="*/ 67810 w 76360"/>
                    <a:gd name="connsiteY7" fmla="*/ 78113 h 78113"/>
                    <a:gd name="connsiteX8" fmla="*/ 67810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67810" y="78113"/>
                      </a:moveTo>
                      <a:cubicBezTo>
                        <a:pt x="65726" y="78113"/>
                        <a:pt x="63642" y="78113"/>
                        <a:pt x="61557" y="75982"/>
                      </a:cubicBezTo>
                      <a:cubicBezTo>
                        <a:pt x="2345" y="14164"/>
                        <a:pt x="2345" y="14164"/>
                        <a:pt x="2345" y="14164"/>
                      </a:cubicBezTo>
                      <a:cubicBezTo>
                        <a:pt x="-782" y="10942"/>
                        <a:pt x="-782" y="5637"/>
                        <a:pt x="2345" y="2416"/>
                      </a:cubicBezTo>
                      <a:cubicBezTo>
                        <a:pt x="5471" y="-805"/>
                        <a:pt x="10635" y="-805"/>
                        <a:pt x="13761" y="2416"/>
                      </a:cubicBezTo>
                      <a:cubicBezTo>
                        <a:pt x="74016" y="64234"/>
                        <a:pt x="74016" y="64234"/>
                        <a:pt x="74016" y="64234"/>
                      </a:cubicBezTo>
                      <a:cubicBezTo>
                        <a:pt x="77142" y="67455"/>
                        <a:pt x="77142" y="72761"/>
                        <a:pt x="74016" y="75982"/>
                      </a:cubicBezTo>
                      <a:cubicBezTo>
                        <a:pt x="71932" y="78113"/>
                        <a:pt x="69895" y="78113"/>
                        <a:pt x="67810" y="78113"/>
                      </a:cubicBezTo>
                      <a:lnTo>
                        <a:pt x="67810"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37" name="Graphic 1">
                <a:extLst>
                  <a:ext uri="{FF2B5EF4-FFF2-40B4-BE49-F238E27FC236}">
                    <a16:creationId xmlns:a16="http://schemas.microsoft.com/office/drawing/2014/main" id="{02ECEC26-8176-4794-A8F9-99D6D4E60A46}"/>
                  </a:ext>
                </a:extLst>
              </p:cNvPr>
              <p:cNvGrpSpPr/>
              <p:nvPr/>
            </p:nvGrpSpPr>
            <p:grpSpPr>
              <a:xfrm>
                <a:off x="4048747" y="3826418"/>
                <a:ext cx="76408" cy="78113"/>
                <a:chOff x="4048747" y="3826418"/>
                <a:chExt cx="76408" cy="78113"/>
              </a:xfrm>
              <a:solidFill>
                <a:srgbClr val="0D274D"/>
              </a:solidFill>
            </p:grpSpPr>
            <p:sp>
              <p:nvSpPr>
                <p:cNvPr id="321" name="Freeform: Shape 320">
                  <a:extLst>
                    <a:ext uri="{FF2B5EF4-FFF2-40B4-BE49-F238E27FC236}">
                      <a16:creationId xmlns:a16="http://schemas.microsoft.com/office/drawing/2014/main" id="{8CDA2851-A1DA-4D99-8296-C53720A80AC5}"/>
                    </a:ext>
                  </a:extLst>
                </p:cNvPr>
                <p:cNvSpPr/>
                <p:nvPr/>
              </p:nvSpPr>
              <p:spPr>
                <a:xfrm>
                  <a:off x="4048795" y="3826418"/>
                  <a:ext cx="76360" cy="78113"/>
                </a:xfrm>
                <a:custGeom>
                  <a:avLst/>
                  <a:gdLst>
                    <a:gd name="connsiteX0" fmla="*/ 7556 w 76360"/>
                    <a:gd name="connsiteY0" fmla="*/ 78113 h 78113"/>
                    <a:gd name="connsiteX1" fmla="*/ 2345 w 76360"/>
                    <a:gd name="connsiteY1" fmla="*/ 75982 h 78113"/>
                    <a:gd name="connsiteX2" fmla="*/ 2345 w 76360"/>
                    <a:gd name="connsiteY2" fmla="*/ 64234 h 78113"/>
                    <a:gd name="connsiteX3" fmla="*/ 61557 w 76360"/>
                    <a:gd name="connsiteY3" fmla="*/ 2416 h 78113"/>
                    <a:gd name="connsiteX4" fmla="*/ 74016 w 76360"/>
                    <a:gd name="connsiteY4" fmla="*/ 2416 h 78113"/>
                    <a:gd name="connsiteX5" fmla="*/ 74016 w 76360"/>
                    <a:gd name="connsiteY5" fmla="*/ 14164 h 78113"/>
                    <a:gd name="connsiteX6" fmla="*/ 13761 w 76360"/>
                    <a:gd name="connsiteY6" fmla="*/ 75982 h 78113"/>
                    <a:gd name="connsiteX7" fmla="*/ 7556 w 76360"/>
                    <a:gd name="connsiteY7" fmla="*/ 78113 h 78113"/>
                    <a:gd name="connsiteX8" fmla="*/ 7556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7556" y="78113"/>
                      </a:moveTo>
                      <a:cubicBezTo>
                        <a:pt x="5471" y="78113"/>
                        <a:pt x="3387" y="78113"/>
                        <a:pt x="2345" y="75982"/>
                      </a:cubicBezTo>
                      <a:cubicBezTo>
                        <a:pt x="-782" y="72761"/>
                        <a:pt x="-782" y="67455"/>
                        <a:pt x="2345" y="64234"/>
                      </a:cubicBezTo>
                      <a:cubicBezTo>
                        <a:pt x="61557" y="2416"/>
                        <a:pt x="61557" y="2416"/>
                        <a:pt x="61557" y="2416"/>
                      </a:cubicBezTo>
                      <a:cubicBezTo>
                        <a:pt x="64684" y="-805"/>
                        <a:pt x="70890" y="-805"/>
                        <a:pt x="74016" y="2416"/>
                      </a:cubicBezTo>
                      <a:cubicBezTo>
                        <a:pt x="77142" y="5637"/>
                        <a:pt x="77142" y="10942"/>
                        <a:pt x="74016" y="14164"/>
                      </a:cubicBezTo>
                      <a:cubicBezTo>
                        <a:pt x="13761" y="75982"/>
                        <a:pt x="13761" y="75982"/>
                        <a:pt x="13761" y="75982"/>
                      </a:cubicBezTo>
                      <a:cubicBezTo>
                        <a:pt x="12719" y="78113"/>
                        <a:pt x="10635" y="78113"/>
                        <a:pt x="7556" y="78113"/>
                      </a:cubicBezTo>
                      <a:lnTo>
                        <a:pt x="7556"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2" name="Freeform: Shape 321">
                  <a:extLst>
                    <a:ext uri="{FF2B5EF4-FFF2-40B4-BE49-F238E27FC236}">
                      <a16:creationId xmlns:a16="http://schemas.microsoft.com/office/drawing/2014/main" id="{DB1D7317-10A0-4438-A3D9-79F8AC780272}"/>
                    </a:ext>
                  </a:extLst>
                </p:cNvPr>
                <p:cNvSpPr/>
                <p:nvPr/>
              </p:nvSpPr>
              <p:spPr>
                <a:xfrm>
                  <a:off x="4048747" y="3826418"/>
                  <a:ext cx="76360" cy="78113"/>
                </a:xfrm>
                <a:custGeom>
                  <a:avLst/>
                  <a:gdLst>
                    <a:gd name="connsiteX0" fmla="*/ 67810 w 76360"/>
                    <a:gd name="connsiteY0" fmla="*/ 78113 h 78113"/>
                    <a:gd name="connsiteX1" fmla="*/ 61557 w 76360"/>
                    <a:gd name="connsiteY1" fmla="*/ 75982 h 78113"/>
                    <a:gd name="connsiteX2" fmla="*/ 2345 w 76360"/>
                    <a:gd name="connsiteY2" fmla="*/ 14164 h 78113"/>
                    <a:gd name="connsiteX3" fmla="*/ 2345 w 76360"/>
                    <a:gd name="connsiteY3" fmla="*/ 2416 h 78113"/>
                    <a:gd name="connsiteX4" fmla="*/ 13761 w 76360"/>
                    <a:gd name="connsiteY4" fmla="*/ 2416 h 78113"/>
                    <a:gd name="connsiteX5" fmla="*/ 74016 w 76360"/>
                    <a:gd name="connsiteY5" fmla="*/ 64234 h 78113"/>
                    <a:gd name="connsiteX6" fmla="*/ 74016 w 76360"/>
                    <a:gd name="connsiteY6" fmla="*/ 75982 h 78113"/>
                    <a:gd name="connsiteX7" fmla="*/ 67810 w 76360"/>
                    <a:gd name="connsiteY7" fmla="*/ 78113 h 78113"/>
                    <a:gd name="connsiteX8" fmla="*/ 67810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67810" y="78113"/>
                      </a:moveTo>
                      <a:cubicBezTo>
                        <a:pt x="65726" y="78113"/>
                        <a:pt x="63642" y="78113"/>
                        <a:pt x="61557" y="75982"/>
                      </a:cubicBezTo>
                      <a:cubicBezTo>
                        <a:pt x="2345" y="14164"/>
                        <a:pt x="2345" y="14164"/>
                        <a:pt x="2345" y="14164"/>
                      </a:cubicBezTo>
                      <a:cubicBezTo>
                        <a:pt x="-782" y="10942"/>
                        <a:pt x="-782" y="5637"/>
                        <a:pt x="2345" y="2416"/>
                      </a:cubicBezTo>
                      <a:cubicBezTo>
                        <a:pt x="5471" y="-805"/>
                        <a:pt x="10635" y="-805"/>
                        <a:pt x="13761" y="2416"/>
                      </a:cubicBezTo>
                      <a:cubicBezTo>
                        <a:pt x="74016" y="64234"/>
                        <a:pt x="74016" y="64234"/>
                        <a:pt x="74016" y="64234"/>
                      </a:cubicBezTo>
                      <a:cubicBezTo>
                        <a:pt x="77142" y="67455"/>
                        <a:pt x="77142" y="72761"/>
                        <a:pt x="74016" y="75982"/>
                      </a:cubicBezTo>
                      <a:cubicBezTo>
                        <a:pt x="71979" y="78113"/>
                        <a:pt x="69895" y="78113"/>
                        <a:pt x="67810" y="78113"/>
                      </a:cubicBezTo>
                      <a:lnTo>
                        <a:pt x="67810"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38" name="Graphic 1">
                <a:extLst>
                  <a:ext uri="{FF2B5EF4-FFF2-40B4-BE49-F238E27FC236}">
                    <a16:creationId xmlns:a16="http://schemas.microsoft.com/office/drawing/2014/main" id="{30136E52-DFFC-49D6-AC08-C55B58273D1C}"/>
                  </a:ext>
                </a:extLst>
              </p:cNvPr>
              <p:cNvGrpSpPr/>
              <p:nvPr/>
            </p:nvGrpSpPr>
            <p:grpSpPr>
              <a:xfrm>
                <a:off x="3192721" y="3672227"/>
                <a:ext cx="76360" cy="78113"/>
                <a:chOff x="3192721" y="3672227"/>
                <a:chExt cx="76360" cy="78113"/>
              </a:xfrm>
              <a:solidFill>
                <a:srgbClr val="0D274D"/>
              </a:solidFill>
            </p:grpSpPr>
            <p:sp>
              <p:nvSpPr>
                <p:cNvPr id="319" name="Freeform: Shape 318">
                  <a:extLst>
                    <a:ext uri="{FF2B5EF4-FFF2-40B4-BE49-F238E27FC236}">
                      <a16:creationId xmlns:a16="http://schemas.microsoft.com/office/drawing/2014/main" id="{905C3AF0-A533-406D-80A7-F7DD30F8EA70}"/>
                    </a:ext>
                  </a:extLst>
                </p:cNvPr>
                <p:cNvSpPr/>
                <p:nvPr/>
              </p:nvSpPr>
              <p:spPr>
                <a:xfrm>
                  <a:off x="3192721" y="3672227"/>
                  <a:ext cx="76360" cy="78113"/>
                </a:xfrm>
                <a:custGeom>
                  <a:avLst/>
                  <a:gdLst>
                    <a:gd name="connsiteX0" fmla="*/ 7555 w 76360"/>
                    <a:gd name="connsiteY0" fmla="*/ 78114 h 78113"/>
                    <a:gd name="connsiteX1" fmla="*/ 2345 w 76360"/>
                    <a:gd name="connsiteY1" fmla="*/ 75982 h 78113"/>
                    <a:gd name="connsiteX2" fmla="*/ 2345 w 76360"/>
                    <a:gd name="connsiteY2" fmla="*/ 64234 h 78113"/>
                    <a:gd name="connsiteX3" fmla="*/ 61558 w 76360"/>
                    <a:gd name="connsiteY3" fmla="*/ 2416 h 78113"/>
                    <a:gd name="connsiteX4" fmla="*/ 74016 w 76360"/>
                    <a:gd name="connsiteY4" fmla="*/ 2416 h 78113"/>
                    <a:gd name="connsiteX5" fmla="*/ 74016 w 76360"/>
                    <a:gd name="connsiteY5" fmla="*/ 14164 h 78113"/>
                    <a:gd name="connsiteX6" fmla="*/ 13761 w 76360"/>
                    <a:gd name="connsiteY6" fmla="*/ 75982 h 78113"/>
                    <a:gd name="connsiteX7" fmla="*/ 7555 w 76360"/>
                    <a:gd name="connsiteY7" fmla="*/ 78114 h 78113"/>
                    <a:gd name="connsiteX8" fmla="*/ 7555 w 76360"/>
                    <a:gd name="connsiteY8" fmla="*/ 78114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7555" y="78114"/>
                      </a:moveTo>
                      <a:cubicBezTo>
                        <a:pt x="5471" y="78114"/>
                        <a:pt x="3387" y="78114"/>
                        <a:pt x="2345" y="75982"/>
                      </a:cubicBezTo>
                      <a:cubicBezTo>
                        <a:pt x="-782" y="72761"/>
                        <a:pt x="-782" y="67455"/>
                        <a:pt x="2345" y="64234"/>
                      </a:cubicBezTo>
                      <a:cubicBezTo>
                        <a:pt x="61558" y="2416"/>
                        <a:pt x="61558" y="2416"/>
                        <a:pt x="61558" y="2416"/>
                      </a:cubicBezTo>
                      <a:cubicBezTo>
                        <a:pt x="64684" y="-805"/>
                        <a:pt x="70890" y="-805"/>
                        <a:pt x="74016" y="2416"/>
                      </a:cubicBezTo>
                      <a:cubicBezTo>
                        <a:pt x="77142" y="5637"/>
                        <a:pt x="77142" y="10943"/>
                        <a:pt x="74016" y="14164"/>
                      </a:cubicBezTo>
                      <a:cubicBezTo>
                        <a:pt x="13761" y="75982"/>
                        <a:pt x="13761" y="75982"/>
                        <a:pt x="13761" y="75982"/>
                      </a:cubicBezTo>
                      <a:cubicBezTo>
                        <a:pt x="12766" y="78114"/>
                        <a:pt x="10682" y="78114"/>
                        <a:pt x="7555" y="78114"/>
                      </a:cubicBezTo>
                      <a:lnTo>
                        <a:pt x="7555" y="78114"/>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20" name="Freeform: Shape 319">
                  <a:extLst>
                    <a:ext uri="{FF2B5EF4-FFF2-40B4-BE49-F238E27FC236}">
                      <a16:creationId xmlns:a16="http://schemas.microsoft.com/office/drawing/2014/main" id="{63A640E7-C972-46F2-A50E-D16D868865A8}"/>
                    </a:ext>
                  </a:extLst>
                </p:cNvPr>
                <p:cNvSpPr/>
                <p:nvPr/>
              </p:nvSpPr>
              <p:spPr>
                <a:xfrm>
                  <a:off x="3192721" y="3672227"/>
                  <a:ext cx="76360" cy="78113"/>
                </a:xfrm>
                <a:custGeom>
                  <a:avLst/>
                  <a:gdLst>
                    <a:gd name="connsiteX0" fmla="*/ 67810 w 76360"/>
                    <a:gd name="connsiteY0" fmla="*/ 78114 h 78113"/>
                    <a:gd name="connsiteX1" fmla="*/ 61558 w 76360"/>
                    <a:gd name="connsiteY1" fmla="*/ 75982 h 78113"/>
                    <a:gd name="connsiteX2" fmla="*/ 2345 w 76360"/>
                    <a:gd name="connsiteY2" fmla="*/ 14164 h 78113"/>
                    <a:gd name="connsiteX3" fmla="*/ 2345 w 76360"/>
                    <a:gd name="connsiteY3" fmla="*/ 2416 h 78113"/>
                    <a:gd name="connsiteX4" fmla="*/ 13761 w 76360"/>
                    <a:gd name="connsiteY4" fmla="*/ 2416 h 78113"/>
                    <a:gd name="connsiteX5" fmla="*/ 74016 w 76360"/>
                    <a:gd name="connsiteY5" fmla="*/ 64234 h 78113"/>
                    <a:gd name="connsiteX6" fmla="*/ 74016 w 76360"/>
                    <a:gd name="connsiteY6" fmla="*/ 75982 h 78113"/>
                    <a:gd name="connsiteX7" fmla="*/ 67810 w 76360"/>
                    <a:gd name="connsiteY7" fmla="*/ 78114 h 78113"/>
                    <a:gd name="connsiteX8" fmla="*/ 67810 w 76360"/>
                    <a:gd name="connsiteY8" fmla="*/ 78114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67810" y="78114"/>
                      </a:moveTo>
                      <a:cubicBezTo>
                        <a:pt x="65726" y="78114"/>
                        <a:pt x="63642" y="78114"/>
                        <a:pt x="61558" y="75982"/>
                      </a:cubicBezTo>
                      <a:cubicBezTo>
                        <a:pt x="2345" y="14164"/>
                        <a:pt x="2345" y="14164"/>
                        <a:pt x="2345" y="14164"/>
                      </a:cubicBezTo>
                      <a:cubicBezTo>
                        <a:pt x="-782" y="10943"/>
                        <a:pt x="-782" y="5637"/>
                        <a:pt x="2345" y="2416"/>
                      </a:cubicBezTo>
                      <a:cubicBezTo>
                        <a:pt x="5471" y="-805"/>
                        <a:pt x="10635" y="-805"/>
                        <a:pt x="13761" y="2416"/>
                      </a:cubicBezTo>
                      <a:cubicBezTo>
                        <a:pt x="74016" y="64234"/>
                        <a:pt x="74016" y="64234"/>
                        <a:pt x="74016" y="64234"/>
                      </a:cubicBezTo>
                      <a:cubicBezTo>
                        <a:pt x="77142" y="67455"/>
                        <a:pt x="77142" y="72761"/>
                        <a:pt x="74016" y="75982"/>
                      </a:cubicBezTo>
                      <a:cubicBezTo>
                        <a:pt x="71932" y="78114"/>
                        <a:pt x="69847" y="78114"/>
                        <a:pt x="67810" y="78114"/>
                      </a:cubicBezTo>
                      <a:lnTo>
                        <a:pt x="67810" y="78114"/>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39" name="Graphic 1">
                <a:extLst>
                  <a:ext uri="{FF2B5EF4-FFF2-40B4-BE49-F238E27FC236}">
                    <a16:creationId xmlns:a16="http://schemas.microsoft.com/office/drawing/2014/main" id="{E6778A6B-34BE-4B46-ACFF-A0BA1651CE5B}"/>
                  </a:ext>
                </a:extLst>
              </p:cNvPr>
              <p:cNvGrpSpPr/>
              <p:nvPr/>
            </p:nvGrpSpPr>
            <p:grpSpPr>
              <a:xfrm>
                <a:off x="3363111" y="3370574"/>
                <a:ext cx="76360" cy="78113"/>
                <a:chOff x="3363111" y="3370574"/>
                <a:chExt cx="76360" cy="78113"/>
              </a:xfrm>
              <a:solidFill>
                <a:srgbClr val="0D274D"/>
              </a:solidFill>
            </p:grpSpPr>
            <p:sp>
              <p:nvSpPr>
                <p:cNvPr id="317" name="Freeform: Shape 316">
                  <a:extLst>
                    <a:ext uri="{FF2B5EF4-FFF2-40B4-BE49-F238E27FC236}">
                      <a16:creationId xmlns:a16="http://schemas.microsoft.com/office/drawing/2014/main" id="{DB358446-0FBC-4F33-94C8-79EF2AA53FA5}"/>
                    </a:ext>
                  </a:extLst>
                </p:cNvPr>
                <p:cNvSpPr/>
                <p:nvPr/>
              </p:nvSpPr>
              <p:spPr>
                <a:xfrm>
                  <a:off x="3363111" y="3370574"/>
                  <a:ext cx="76360" cy="78113"/>
                </a:xfrm>
                <a:custGeom>
                  <a:avLst/>
                  <a:gdLst>
                    <a:gd name="connsiteX0" fmla="*/ 7555 w 76360"/>
                    <a:gd name="connsiteY0" fmla="*/ 78114 h 78113"/>
                    <a:gd name="connsiteX1" fmla="*/ 2345 w 76360"/>
                    <a:gd name="connsiteY1" fmla="*/ 75982 h 78113"/>
                    <a:gd name="connsiteX2" fmla="*/ 2345 w 76360"/>
                    <a:gd name="connsiteY2" fmla="*/ 64234 h 78113"/>
                    <a:gd name="connsiteX3" fmla="*/ 61558 w 76360"/>
                    <a:gd name="connsiteY3" fmla="*/ 2416 h 78113"/>
                    <a:gd name="connsiteX4" fmla="*/ 74016 w 76360"/>
                    <a:gd name="connsiteY4" fmla="*/ 2416 h 78113"/>
                    <a:gd name="connsiteX5" fmla="*/ 74016 w 76360"/>
                    <a:gd name="connsiteY5" fmla="*/ 14164 h 78113"/>
                    <a:gd name="connsiteX6" fmla="*/ 13808 w 76360"/>
                    <a:gd name="connsiteY6" fmla="*/ 75982 h 78113"/>
                    <a:gd name="connsiteX7" fmla="*/ 7555 w 76360"/>
                    <a:gd name="connsiteY7" fmla="*/ 78114 h 78113"/>
                    <a:gd name="connsiteX8" fmla="*/ 7555 w 76360"/>
                    <a:gd name="connsiteY8" fmla="*/ 78114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7555" y="78114"/>
                      </a:moveTo>
                      <a:cubicBezTo>
                        <a:pt x="5471" y="78114"/>
                        <a:pt x="3387" y="78114"/>
                        <a:pt x="2345" y="75982"/>
                      </a:cubicBezTo>
                      <a:cubicBezTo>
                        <a:pt x="-782" y="72761"/>
                        <a:pt x="-782" y="67455"/>
                        <a:pt x="2345" y="64234"/>
                      </a:cubicBezTo>
                      <a:cubicBezTo>
                        <a:pt x="61558" y="2416"/>
                        <a:pt x="61558" y="2416"/>
                        <a:pt x="61558" y="2416"/>
                      </a:cubicBezTo>
                      <a:cubicBezTo>
                        <a:pt x="64684" y="-805"/>
                        <a:pt x="70890" y="-805"/>
                        <a:pt x="74016" y="2416"/>
                      </a:cubicBezTo>
                      <a:cubicBezTo>
                        <a:pt x="77142" y="5637"/>
                        <a:pt x="77142" y="10943"/>
                        <a:pt x="74016" y="14164"/>
                      </a:cubicBezTo>
                      <a:cubicBezTo>
                        <a:pt x="13808" y="75982"/>
                        <a:pt x="13808" y="75982"/>
                        <a:pt x="13808" y="75982"/>
                      </a:cubicBezTo>
                      <a:cubicBezTo>
                        <a:pt x="12766" y="78114"/>
                        <a:pt x="10682" y="78114"/>
                        <a:pt x="7555" y="78114"/>
                      </a:cubicBezTo>
                      <a:lnTo>
                        <a:pt x="7555" y="78114"/>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18" name="Freeform: Shape 317">
                  <a:extLst>
                    <a:ext uri="{FF2B5EF4-FFF2-40B4-BE49-F238E27FC236}">
                      <a16:creationId xmlns:a16="http://schemas.microsoft.com/office/drawing/2014/main" id="{FC97CE54-B668-4C9C-BCEB-EB21C9BD8F47}"/>
                    </a:ext>
                  </a:extLst>
                </p:cNvPr>
                <p:cNvSpPr/>
                <p:nvPr/>
              </p:nvSpPr>
              <p:spPr>
                <a:xfrm>
                  <a:off x="3363111" y="3370574"/>
                  <a:ext cx="76360" cy="78113"/>
                </a:xfrm>
                <a:custGeom>
                  <a:avLst/>
                  <a:gdLst>
                    <a:gd name="connsiteX0" fmla="*/ 67810 w 76360"/>
                    <a:gd name="connsiteY0" fmla="*/ 78114 h 78113"/>
                    <a:gd name="connsiteX1" fmla="*/ 61558 w 76360"/>
                    <a:gd name="connsiteY1" fmla="*/ 75982 h 78113"/>
                    <a:gd name="connsiteX2" fmla="*/ 2345 w 76360"/>
                    <a:gd name="connsiteY2" fmla="*/ 14164 h 78113"/>
                    <a:gd name="connsiteX3" fmla="*/ 2345 w 76360"/>
                    <a:gd name="connsiteY3" fmla="*/ 2416 h 78113"/>
                    <a:gd name="connsiteX4" fmla="*/ 13761 w 76360"/>
                    <a:gd name="connsiteY4" fmla="*/ 2416 h 78113"/>
                    <a:gd name="connsiteX5" fmla="*/ 74016 w 76360"/>
                    <a:gd name="connsiteY5" fmla="*/ 64234 h 78113"/>
                    <a:gd name="connsiteX6" fmla="*/ 74016 w 76360"/>
                    <a:gd name="connsiteY6" fmla="*/ 75982 h 78113"/>
                    <a:gd name="connsiteX7" fmla="*/ 67810 w 76360"/>
                    <a:gd name="connsiteY7" fmla="*/ 78114 h 78113"/>
                    <a:gd name="connsiteX8" fmla="*/ 67810 w 76360"/>
                    <a:gd name="connsiteY8" fmla="*/ 78114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67810" y="78114"/>
                      </a:moveTo>
                      <a:cubicBezTo>
                        <a:pt x="65726" y="78114"/>
                        <a:pt x="63642" y="78114"/>
                        <a:pt x="61558" y="75982"/>
                      </a:cubicBezTo>
                      <a:cubicBezTo>
                        <a:pt x="2345" y="14164"/>
                        <a:pt x="2345" y="14164"/>
                        <a:pt x="2345" y="14164"/>
                      </a:cubicBezTo>
                      <a:cubicBezTo>
                        <a:pt x="-782" y="10943"/>
                        <a:pt x="-782" y="5637"/>
                        <a:pt x="2345" y="2416"/>
                      </a:cubicBezTo>
                      <a:cubicBezTo>
                        <a:pt x="5471" y="-805"/>
                        <a:pt x="10635" y="-805"/>
                        <a:pt x="13761" y="2416"/>
                      </a:cubicBezTo>
                      <a:cubicBezTo>
                        <a:pt x="74016" y="64234"/>
                        <a:pt x="74016" y="64234"/>
                        <a:pt x="74016" y="64234"/>
                      </a:cubicBezTo>
                      <a:cubicBezTo>
                        <a:pt x="77142" y="67455"/>
                        <a:pt x="77142" y="72761"/>
                        <a:pt x="74016" y="75982"/>
                      </a:cubicBezTo>
                      <a:cubicBezTo>
                        <a:pt x="71932" y="78114"/>
                        <a:pt x="69847" y="78114"/>
                        <a:pt x="67810" y="78114"/>
                      </a:cubicBezTo>
                      <a:lnTo>
                        <a:pt x="67810" y="78114"/>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40" name="Graphic 1">
                <a:extLst>
                  <a:ext uri="{FF2B5EF4-FFF2-40B4-BE49-F238E27FC236}">
                    <a16:creationId xmlns:a16="http://schemas.microsoft.com/office/drawing/2014/main" id="{6F87E211-F7E8-49ED-BC93-47512769F522}"/>
                  </a:ext>
                </a:extLst>
              </p:cNvPr>
              <p:cNvGrpSpPr/>
              <p:nvPr/>
            </p:nvGrpSpPr>
            <p:grpSpPr>
              <a:xfrm>
                <a:off x="3707635" y="3520880"/>
                <a:ext cx="76360" cy="78113"/>
                <a:chOff x="3707635" y="3520880"/>
                <a:chExt cx="76360" cy="78113"/>
              </a:xfrm>
              <a:solidFill>
                <a:srgbClr val="0D274D"/>
              </a:solidFill>
            </p:grpSpPr>
            <p:sp>
              <p:nvSpPr>
                <p:cNvPr id="315" name="Freeform: Shape 314">
                  <a:extLst>
                    <a:ext uri="{FF2B5EF4-FFF2-40B4-BE49-F238E27FC236}">
                      <a16:creationId xmlns:a16="http://schemas.microsoft.com/office/drawing/2014/main" id="{56BA5292-2E41-400E-9A8C-C149A8FD16BA}"/>
                    </a:ext>
                  </a:extLst>
                </p:cNvPr>
                <p:cNvSpPr/>
                <p:nvPr/>
              </p:nvSpPr>
              <p:spPr>
                <a:xfrm>
                  <a:off x="3707635" y="3520880"/>
                  <a:ext cx="76360" cy="78113"/>
                </a:xfrm>
                <a:custGeom>
                  <a:avLst/>
                  <a:gdLst>
                    <a:gd name="connsiteX0" fmla="*/ 7556 w 76360"/>
                    <a:gd name="connsiteY0" fmla="*/ 78113 h 78113"/>
                    <a:gd name="connsiteX1" fmla="*/ 2345 w 76360"/>
                    <a:gd name="connsiteY1" fmla="*/ 75982 h 78113"/>
                    <a:gd name="connsiteX2" fmla="*/ 2345 w 76360"/>
                    <a:gd name="connsiteY2" fmla="*/ 64234 h 78113"/>
                    <a:gd name="connsiteX3" fmla="*/ 61558 w 76360"/>
                    <a:gd name="connsiteY3" fmla="*/ 2416 h 78113"/>
                    <a:gd name="connsiteX4" fmla="*/ 74016 w 76360"/>
                    <a:gd name="connsiteY4" fmla="*/ 2416 h 78113"/>
                    <a:gd name="connsiteX5" fmla="*/ 74016 w 76360"/>
                    <a:gd name="connsiteY5" fmla="*/ 14164 h 78113"/>
                    <a:gd name="connsiteX6" fmla="*/ 13761 w 76360"/>
                    <a:gd name="connsiteY6" fmla="*/ 75982 h 78113"/>
                    <a:gd name="connsiteX7" fmla="*/ 7556 w 76360"/>
                    <a:gd name="connsiteY7" fmla="*/ 78113 h 78113"/>
                    <a:gd name="connsiteX8" fmla="*/ 7556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7556" y="78113"/>
                      </a:moveTo>
                      <a:cubicBezTo>
                        <a:pt x="5471" y="78113"/>
                        <a:pt x="3387" y="78113"/>
                        <a:pt x="2345" y="75982"/>
                      </a:cubicBezTo>
                      <a:cubicBezTo>
                        <a:pt x="-782" y="72761"/>
                        <a:pt x="-782" y="67455"/>
                        <a:pt x="2345" y="64234"/>
                      </a:cubicBezTo>
                      <a:cubicBezTo>
                        <a:pt x="61558" y="2416"/>
                        <a:pt x="61558" y="2416"/>
                        <a:pt x="61558" y="2416"/>
                      </a:cubicBezTo>
                      <a:cubicBezTo>
                        <a:pt x="64684" y="-805"/>
                        <a:pt x="70889" y="-805"/>
                        <a:pt x="74016" y="2416"/>
                      </a:cubicBezTo>
                      <a:cubicBezTo>
                        <a:pt x="77142" y="5637"/>
                        <a:pt x="77142" y="10942"/>
                        <a:pt x="74016" y="14164"/>
                      </a:cubicBezTo>
                      <a:cubicBezTo>
                        <a:pt x="13761" y="75982"/>
                        <a:pt x="13761" y="75982"/>
                        <a:pt x="13761" y="75982"/>
                      </a:cubicBezTo>
                      <a:cubicBezTo>
                        <a:pt x="12766" y="78113"/>
                        <a:pt x="10682" y="78113"/>
                        <a:pt x="7556" y="78113"/>
                      </a:cubicBezTo>
                      <a:lnTo>
                        <a:pt x="7556"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16" name="Freeform: Shape 315">
                  <a:extLst>
                    <a:ext uri="{FF2B5EF4-FFF2-40B4-BE49-F238E27FC236}">
                      <a16:creationId xmlns:a16="http://schemas.microsoft.com/office/drawing/2014/main" id="{AA18736D-40BB-4931-8E75-0BCD47BD01CB}"/>
                    </a:ext>
                  </a:extLst>
                </p:cNvPr>
                <p:cNvSpPr/>
                <p:nvPr/>
              </p:nvSpPr>
              <p:spPr>
                <a:xfrm>
                  <a:off x="3707635" y="3520880"/>
                  <a:ext cx="76360" cy="78113"/>
                </a:xfrm>
                <a:custGeom>
                  <a:avLst/>
                  <a:gdLst>
                    <a:gd name="connsiteX0" fmla="*/ 67810 w 76360"/>
                    <a:gd name="connsiteY0" fmla="*/ 78113 h 78113"/>
                    <a:gd name="connsiteX1" fmla="*/ 61558 w 76360"/>
                    <a:gd name="connsiteY1" fmla="*/ 75982 h 78113"/>
                    <a:gd name="connsiteX2" fmla="*/ 2345 w 76360"/>
                    <a:gd name="connsiteY2" fmla="*/ 14164 h 78113"/>
                    <a:gd name="connsiteX3" fmla="*/ 2345 w 76360"/>
                    <a:gd name="connsiteY3" fmla="*/ 2416 h 78113"/>
                    <a:gd name="connsiteX4" fmla="*/ 13761 w 76360"/>
                    <a:gd name="connsiteY4" fmla="*/ 2416 h 78113"/>
                    <a:gd name="connsiteX5" fmla="*/ 74016 w 76360"/>
                    <a:gd name="connsiteY5" fmla="*/ 64234 h 78113"/>
                    <a:gd name="connsiteX6" fmla="*/ 74016 w 76360"/>
                    <a:gd name="connsiteY6" fmla="*/ 75982 h 78113"/>
                    <a:gd name="connsiteX7" fmla="*/ 67810 w 76360"/>
                    <a:gd name="connsiteY7" fmla="*/ 78113 h 78113"/>
                    <a:gd name="connsiteX8" fmla="*/ 67810 w 76360"/>
                    <a:gd name="connsiteY8" fmla="*/ 78113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67810" y="78113"/>
                      </a:moveTo>
                      <a:cubicBezTo>
                        <a:pt x="65726" y="78113"/>
                        <a:pt x="63642" y="78113"/>
                        <a:pt x="61558" y="75982"/>
                      </a:cubicBezTo>
                      <a:cubicBezTo>
                        <a:pt x="2345" y="14164"/>
                        <a:pt x="2345" y="14164"/>
                        <a:pt x="2345" y="14164"/>
                      </a:cubicBezTo>
                      <a:cubicBezTo>
                        <a:pt x="-782" y="10942"/>
                        <a:pt x="-782" y="5637"/>
                        <a:pt x="2345" y="2416"/>
                      </a:cubicBezTo>
                      <a:cubicBezTo>
                        <a:pt x="5471" y="-805"/>
                        <a:pt x="10635" y="-805"/>
                        <a:pt x="13761" y="2416"/>
                      </a:cubicBezTo>
                      <a:cubicBezTo>
                        <a:pt x="74016" y="64234"/>
                        <a:pt x="74016" y="64234"/>
                        <a:pt x="74016" y="64234"/>
                      </a:cubicBezTo>
                      <a:cubicBezTo>
                        <a:pt x="77142" y="67455"/>
                        <a:pt x="77142" y="72761"/>
                        <a:pt x="74016" y="75982"/>
                      </a:cubicBezTo>
                      <a:cubicBezTo>
                        <a:pt x="71932" y="78113"/>
                        <a:pt x="69847" y="78113"/>
                        <a:pt x="67810" y="78113"/>
                      </a:cubicBezTo>
                      <a:lnTo>
                        <a:pt x="67810" y="78113"/>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41" name="Graphic 1">
                <a:extLst>
                  <a:ext uri="{FF2B5EF4-FFF2-40B4-BE49-F238E27FC236}">
                    <a16:creationId xmlns:a16="http://schemas.microsoft.com/office/drawing/2014/main" id="{3DC891DC-DFAF-4A56-8D3D-A85653E156BA}"/>
                  </a:ext>
                </a:extLst>
              </p:cNvPr>
              <p:cNvGrpSpPr/>
              <p:nvPr/>
            </p:nvGrpSpPr>
            <p:grpSpPr>
              <a:xfrm>
                <a:off x="4221270" y="3217000"/>
                <a:ext cx="76408" cy="78113"/>
                <a:chOff x="4221270" y="3217000"/>
                <a:chExt cx="76408" cy="78113"/>
              </a:xfrm>
              <a:solidFill>
                <a:srgbClr val="0D274D"/>
              </a:solidFill>
            </p:grpSpPr>
            <p:sp>
              <p:nvSpPr>
                <p:cNvPr id="313" name="Freeform: Shape 312">
                  <a:extLst>
                    <a:ext uri="{FF2B5EF4-FFF2-40B4-BE49-F238E27FC236}">
                      <a16:creationId xmlns:a16="http://schemas.microsoft.com/office/drawing/2014/main" id="{CF8F3A62-4B8F-4617-98E2-051A0E78ABD4}"/>
                    </a:ext>
                  </a:extLst>
                </p:cNvPr>
                <p:cNvSpPr/>
                <p:nvPr/>
              </p:nvSpPr>
              <p:spPr>
                <a:xfrm>
                  <a:off x="4221317" y="3217000"/>
                  <a:ext cx="76360" cy="78113"/>
                </a:xfrm>
                <a:custGeom>
                  <a:avLst/>
                  <a:gdLst>
                    <a:gd name="connsiteX0" fmla="*/ 7556 w 76360"/>
                    <a:gd name="connsiteY0" fmla="*/ 78114 h 78113"/>
                    <a:gd name="connsiteX1" fmla="*/ 2345 w 76360"/>
                    <a:gd name="connsiteY1" fmla="*/ 75982 h 78113"/>
                    <a:gd name="connsiteX2" fmla="*/ 2345 w 76360"/>
                    <a:gd name="connsiteY2" fmla="*/ 64234 h 78113"/>
                    <a:gd name="connsiteX3" fmla="*/ 61558 w 76360"/>
                    <a:gd name="connsiteY3" fmla="*/ 2416 h 78113"/>
                    <a:gd name="connsiteX4" fmla="*/ 74016 w 76360"/>
                    <a:gd name="connsiteY4" fmla="*/ 2416 h 78113"/>
                    <a:gd name="connsiteX5" fmla="*/ 74016 w 76360"/>
                    <a:gd name="connsiteY5" fmla="*/ 14164 h 78113"/>
                    <a:gd name="connsiteX6" fmla="*/ 13761 w 76360"/>
                    <a:gd name="connsiteY6" fmla="*/ 75982 h 78113"/>
                    <a:gd name="connsiteX7" fmla="*/ 7556 w 76360"/>
                    <a:gd name="connsiteY7" fmla="*/ 78114 h 78113"/>
                    <a:gd name="connsiteX8" fmla="*/ 7556 w 76360"/>
                    <a:gd name="connsiteY8" fmla="*/ 78114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7556" y="78114"/>
                      </a:moveTo>
                      <a:cubicBezTo>
                        <a:pt x="5471" y="78114"/>
                        <a:pt x="3387" y="78114"/>
                        <a:pt x="2345" y="75982"/>
                      </a:cubicBezTo>
                      <a:cubicBezTo>
                        <a:pt x="-782" y="72761"/>
                        <a:pt x="-782" y="67455"/>
                        <a:pt x="2345" y="64234"/>
                      </a:cubicBezTo>
                      <a:cubicBezTo>
                        <a:pt x="61558" y="2416"/>
                        <a:pt x="61558" y="2416"/>
                        <a:pt x="61558" y="2416"/>
                      </a:cubicBezTo>
                      <a:cubicBezTo>
                        <a:pt x="64684" y="-805"/>
                        <a:pt x="70889" y="-805"/>
                        <a:pt x="74016" y="2416"/>
                      </a:cubicBezTo>
                      <a:cubicBezTo>
                        <a:pt x="77142" y="5637"/>
                        <a:pt x="77142" y="10942"/>
                        <a:pt x="74016" y="14164"/>
                      </a:cubicBezTo>
                      <a:cubicBezTo>
                        <a:pt x="13761" y="75982"/>
                        <a:pt x="13761" y="75982"/>
                        <a:pt x="13761" y="75982"/>
                      </a:cubicBezTo>
                      <a:cubicBezTo>
                        <a:pt x="12719" y="78114"/>
                        <a:pt x="10635" y="78114"/>
                        <a:pt x="7556" y="78114"/>
                      </a:cubicBezTo>
                      <a:lnTo>
                        <a:pt x="7556" y="78114"/>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14" name="Freeform: Shape 313">
                  <a:extLst>
                    <a:ext uri="{FF2B5EF4-FFF2-40B4-BE49-F238E27FC236}">
                      <a16:creationId xmlns:a16="http://schemas.microsoft.com/office/drawing/2014/main" id="{BD405963-3227-4F7C-A9C2-7167D44E7104}"/>
                    </a:ext>
                  </a:extLst>
                </p:cNvPr>
                <p:cNvSpPr/>
                <p:nvPr/>
              </p:nvSpPr>
              <p:spPr>
                <a:xfrm>
                  <a:off x="4221270" y="3217000"/>
                  <a:ext cx="76360" cy="78113"/>
                </a:xfrm>
                <a:custGeom>
                  <a:avLst/>
                  <a:gdLst>
                    <a:gd name="connsiteX0" fmla="*/ 67811 w 76360"/>
                    <a:gd name="connsiteY0" fmla="*/ 78114 h 78113"/>
                    <a:gd name="connsiteX1" fmla="*/ 61558 w 76360"/>
                    <a:gd name="connsiteY1" fmla="*/ 75982 h 78113"/>
                    <a:gd name="connsiteX2" fmla="*/ 2345 w 76360"/>
                    <a:gd name="connsiteY2" fmla="*/ 14164 h 78113"/>
                    <a:gd name="connsiteX3" fmla="*/ 2345 w 76360"/>
                    <a:gd name="connsiteY3" fmla="*/ 2416 h 78113"/>
                    <a:gd name="connsiteX4" fmla="*/ 13761 w 76360"/>
                    <a:gd name="connsiteY4" fmla="*/ 2416 h 78113"/>
                    <a:gd name="connsiteX5" fmla="*/ 74016 w 76360"/>
                    <a:gd name="connsiteY5" fmla="*/ 64234 h 78113"/>
                    <a:gd name="connsiteX6" fmla="*/ 74016 w 76360"/>
                    <a:gd name="connsiteY6" fmla="*/ 75982 h 78113"/>
                    <a:gd name="connsiteX7" fmla="*/ 67811 w 76360"/>
                    <a:gd name="connsiteY7" fmla="*/ 78114 h 78113"/>
                    <a:gd name="connsiteX8" fmla="*/ 67811 w 76360"/>
                    <a:gd name="connsiteY8" fmla="*/ 78114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67811" y="78114"/>
                      </a:moveTo>
                      <a:cubicBezTo>
                        <a:pt x="65726" y="78114"/>
                        <a:pt x="63642" y="78114"/>
                        <a:pt x="61558" y="75982"/>
                      </a:cubicBezTo>
                      <a:cubicBezTo>
                        <a:pt x="2345" y="14164"/>
                        <a:pt x="2345" y="14164"/>
                        <a:pt x="2345" y="14164"/>
                      </a:cubicBezTo>
                      <a:cubicBezTo>
                        <a:pt x="-782" y="10942"/>
                        <a:pt x="-782" y="5637"/>
                        <a:pt x="2345" y="2416"/>
                      </a:cubicBezTo>
                      <a:cubicBezTo>
                        <a:pt x="5471" y="-805"/>
                        <a:pt x="10635" y="-805"/>
                        <a:pt x="13761" y="2416"/>
                      </a:cubicBezTo>
                      <a:cubicBezTo>
                        <a:pt x="74016" y="64234"/>
                        <a:pt x="74016" y="64234"/>
                        <a:pt x="74016" y="64234"/>
                      </a:cubicBezTo>
                      <a:cubicBezTo>
                        <a:pt x="77142" y="67455"/>
                        <a:pt x="77142" y="72761"/>
                        <a:pt x="74016" y="75982"/>
                      </a:cubicBezTo>
                      <a:cubicBezTo>
                        <a:pt x="71979" y="78114"/>
                        <a:pt x="69895" y="78114"/>
                        <a:pt x="67811" y="78114"/>
                      </a:cubicBezTo>
                      <a:lnTo>
                        <a:pt x="67811" y="78114"/>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42" name="Graphic 1">
                <a:extLst>
                  <a:ext uri="{FF2B5EF4-FFF2-40B4-BE49-F238E27FC236}">
                    <a16:creationId xmlns:a16="http://schemas.microsoft.com/office/drawing/2014/main" id="{1211C18E-42C9-49A9-AF2A-1B779B75572E}"/>
                  </a:ext>
                </a:extLst>
              </p:cNvPr>
              <p:cNvGrpSpPr/>
              <p:nvPr/>
            </p:nvGrpSpPr>
            <p:grpSpPr>
              <a:xfrm>
                <a:off x="3707635" y="3070389"/>
                <a:ext cx="76360" cy="78113"/>
                <a:chOff x="3707635" y="3070389"/>
                <a:chExt cx="76360" cy="78113"/>
              </a:xfrm>
              <a:solidFill>
                <a:srgbClr val="0D274D"/>
              </a:solidFill>
            </p:grpSpPr>
            <p:sp>
              <p:nvSpPr>
                <p:cNvPr id="311" name="Freeform: Shape 310">
                  <a:extLst>
                    <a:ext uri="{FF2B5EF4-FFF2-40B4-BE49-F238E27FC236}">
                      <a16:creationId xmlns:a16="http://schemas.microsoft.com/office/drawing/2014/main" id="{FFD884DE-F9C4-4F91-B4AB-12E1EC1B575C}"/>
                    </a:ext>
                  </a:extLst>
                </p:cNvPr>
                <p:cNvSpPr/>
                <p:nvPr/>
              </p:nvSpPr>
              <p:spPr>
                <a:xfrm>
                  <a:off x="3707635" y="3070389"/>
                  <a:ext cx="76360" cy="78113"/>
                </a:xfrm>
                <a:custGeom>
                  <a:avLst/>
                  <a:gdLst>
                    <a:gd name="connsiteX0" fmla="*/ 7556 w 76360"/>
                    <a:gd name="connsiteY0" fmla="*/ 78114 h 78113"/>
                    <a:gd name="connsiteX1" fmla="*/ 2345 w 76360"/>
                    <a:gd name="connsiteY1" fmla="*/ 75982 h 78113"/>
                    <a:gd name="connsiteX2" fmla="*/ 2345 w 76360"/>
                    <a:gd name="connsiteY2" fmla="*/ 64234 h 78113"/>
                    <a:gd name="connsiteX3" fmla="*/ 61558 w 76360"/>
                    <a:gd name="connsiteY3" fmla="*/ 2416 h 78113"/>
                    <a:gd name="connsiteX4" fmla="*/ 74016 w 76360"/>
                    <a:gd name="connsiteY4" fmla="*/ 2416 h 78113"/>
                    <a:gd name="connsiteX5" fmla="*/ 74016 w 76360"/>
                    <a:gd name="connsiteY5" fmla="*/ 14164 h 78113"/>
                    <a:gd name="connsiteX6" fmla="*/ 13761 w 76360"/>
                    <a:gd name="connsiteY6" fmla="*/ 75982 h 78113"/>
                    <a:gd name="connsiteX7" fmla="*/ 7556 w 76360"/>
                    <a:gd name="connsiteY7" fmla="*/ 78114 h 78113"/>
                    <a:gd name="connsiteX8" fmla="*/ 7556 w 76360"/>
                    <a:gd name="connsiteY8" fmla="*/ 78114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7556" y="78114"/>
                      </a:moveTo>
                      <a:cubicBezTo>
                        <a:pt x="5471" y="78114"/>
                        <a:pt x="3387" y="78114"/>
                        <a:pt x="2345" y="75982"/>
                      </a:cubicBezTo>
                      <a:cubicBezTo>
                        <a:pt x="-782" y="72761"/>
                        <a:pt x="-782" y="67455"/>
                        <a:pt x="2345" y="64234"/>
                      </a:cubicBezTo>
                      <a:cubicBezTo>
                        <a:pt x="61558" y="2416"/>
                        <a:pt x="61558" y="2416"/>
                        <a:pt x="61558" y="2416"/>
                      </a:cubicBezTo>
                      <a:cubicBezTo>
                        <a:pt x="64684" y="-805"/>
                        <a:pt x="70889" y="-805"/>
                        <a:pt x="74016" y="2416"/>
                      </a:cubicBezTo>
                      <a:cubicBezTo>
                        <a:pt x="77142" y="5637"/>
                        <a:pt x="77142" y="10942"/>
                        <a:pt x="74016" y="14164"/>
                      </a:cubicBezTo>
                      <a:cubicBezTo>
                        <a:pt x="13761" y="75982"/>
                        <a:pt x="13761" y="75982"/>
                        <a:pt x="13761" y="75982"/>
                      </a:cubicBezTo>
                      <a:cubicBezTo>
                        <a:pt x="12766" y="78114"/>
                        <a:pt x="10682" y="78114"/>
                        <a:pt x="7556" y="78114"/>
                      </a:cubicBezTo>
                      <a:lnTo>
                        <a:pt x="7556" y="78114"/>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12" name="Freeform: Shape 311">
                  <a:extLst>
                    <a:ext uri="{FF2B5EF4-FFF2-40B4-BE49-F238E27FC236}">
                      <a16:creationId xmlns:a16="http://schemas.microsoft.com/office/drawing/2014/main" id="{514ADD28-C7B0-4531-9714-039017CDC969}"/>
                    </a:ext>
                  </a:extLst>
                </p:cNvPr>
                <p:cNvSpPr/>
                <p:nvPr/>
              </p:nvSpPr>
              <p:spPr>
                <a:xfrm>
                  <a:off x="3707635" y="3070389"/>
                  <a:ext cx="76360" cy="78113"/>
                </a:xfrm>
                <a:custGeom>
                  <a:avLst/>
                  <a:gdLst>
                    <a:gd name="connsiteX0" fmla="*/ 67810 w 76360"/>
                    <a:gd name="connsiteY0" fmla="*/ 78114 h 78113"/>
                    <a:gd name="connsiteX1" fmla="*/ 61558 w 76360"/>
                    <a:gd name="connsiteY1" fmla="*/ 75982 h 78113"/>
                    <a:gd name="connsiteX2" fmla="*/ 2345 w 76360"/>
                    <a:gd name="connsiteY2" fmla="*/ 14164 h 78113"/>
                    <a:gd name="connsiteX3" fmla="*/ 2345 w 76360"/>
                    <a:gd name="connsiteY3" fmla="*/ 2416 h 78113"/>
                    <a:gd name="connsiteX4" fmla="*/ 13761 w 76360"/>
                    <a:gd name="connsiteY4" fmla="*/ 2416 h 78113"/>
                    <a:gd name="connsiteX5" fmla="*/ 74016 w 76360"/>
                    <a:gd name="connsiteY5" fmla="*/ 64234 h 78113"/>
                    <a:gd name="connsiteX6" fmla="*/ 74016 w 76360"/>
                    <a:gd name="connsiteY6" fmla="*/ 75982 h 78113"/>
                    <a:gd name="connsiteX7" fmla="*/ 67810 w 76360"/>
                    <a:gd name="connsiteY7" fmla="*/ 78114 h 78113"/>
                    <a:gd name="connsiteX8" fmla="*/ 67810 w 76360"/>
                    <a:gd name="connsiteY8" fmla="*/ 78114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67810" y="78114"/>
                      </a:moveTo>
                      <a:cubicBezTo>
                        <a:pt x="65726" y="78114"/>
                        <a:pt x="63642" y="78114"/>
                        <a:pt x="61558" y="75982"/>
                      </a:cubicBezTo>
                      <a:cubicBezTo>
                        <a:pt x="2345" y="14164"/>
                        <a:pt x="2345" y="14164"/>
                        <a:pt x="2345" y="14164"/>
                      </a:cubicBezTo>
                      <a:cubicBezTo>
                        <a:pt x="-782" y="10942"/>
                        <a:pt x="-782" y="5637"/>
                        <a:pt x="2345" y="2416"/>
                      </a:cubicBezTo>
                      <a:cubicBezTo>
                        <a:pt x="5471" y="-805"/>
                        <a:pt x="10635" y="-805"/>
                        <a:pt x="13761" y="2416"/>
                      </a:cubicBezTo>
                      <a:cubicBezTo>
                        <a:pt x="74016" y="64234"/>
                        <a:pt x="74016" y="64234"/>
                        <a:pt x="74016" y="64234"/>
                      </a:cubicBezTo>
                      <a:cubicBezTo>
                        <a:pt x="77142" y="67455"/>
                        <a:pt x="77142" y="72761"/>
                        <a:pt x="74016" y="75982"/>
                      </a:cubicBezTo>
                      <a:cubicBezTo>
                        <a:pt x="71932" y="78114"/>
                        <a:pt x="69847" y="78114"/>
                        <a:pt x="67810" y="78114"/>
                      </a:cubicBezTo>
                      <a:lnTo>
                        <a:pt x="67810" y="78114"/>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43" name="Graphic 1">
                <a:extLst>
                  <a:ext uri="{FF2B5EF4-FFF2-40B4-BE49-F238E27FC236}">
                    <a16:creationId xmlns:a16="http://schemas.microsoft.com/office/drawing/2014/main" id="{68E6565B-2BEF-4322-9E7C-F1186AAA175F}"/>
                  </a:ext>
                </a:extLst>
              </p:cNvPr>
              <p:cNvGrpSpPr/>
              <p:nvPr/>
            </p:nvGrpSpPr>
            <p:grpSpPr>
              <a:xfrm>
                <a:off x="2510068" y="3672227"/>
                <a:ext cx="76408" cy="78113"/>
                <a:chOff x="2510068" y="3672227"/>
                <a:chExt cx="76408" cy="78113"/>
              </a:xfrm>
              <a:solidFill>
                <a:srgbClr val="0D274D"/>
              </a:solidFill>
            </p:grpSpPr>
            <p:sp>
              <p:nvSpPr>
                <p:cNvPr id="309" name="Freeform: Shape 308">
                  <a:extLst>
                    <a:ext uri="{FF2B5EF4-FFF2-40B4-BE49-F238E27FC236}">
                      <a16:creationId xmlns:a16="http://schemas.microsoft.com/office/drawing/2014/main" id="{E0F91F57-EF8C-4E47-87C6-1729E89F3A34}"/>
                    </a:ext>
                  </a:extLst>
                </p:cNvPr>
                <p:cNvSpPr/>
                <p:nvPr/>
              </p:nvSpPr>
              <p:spPr>
                <a:xfrm>
                  <a:off x="2510116" y="3672227"/>
                  <a:ext cx="76360" cy="78113"/>
                </a:xfrm>
                <a:custGeom>
                  <a:avLst/>
                  <a:gdLst>
                    <a:gd name="connsiteX0" fmla="*/ 7556 w 76360"/>
                    <a:gd name="connsiteY0" fmla="*/ 78114 h 78113"/>
                    <a:gd name="connsiteX1" fmla="*/ 2345 w 76360"/>
                    <a:gd name="connsiteY1" fmla="*/ 75982 h 78113"/>
                    <a:gd name="connsiteX2" fmla="*/ 2345 w 76360"/>
                    <a:gd name="connsiteY2" fmla="*/ 64234 h 78113"/>
                    <a:gd name="connsiteX3" fmla="*/ 61558 w 76360"/>
                    <a:gd name="connsiteY3" fmla="*/ 2416 h 78113"/>
                    <a:gd name="connsiteX4" fmla="*/ 74016 w 76360"/>
                    <a:gd name="connsiteY4" fmla="*/ 2416 h 78113"/>
                    <a:gd name="connsiteX5" fmla="*/ 74016 w 76360"/>
                    <a:gd name="connsiteY5" fmla="*/ 14164 h 78113"/>
                    <a:gd name="connsiteX6" fmla="*/ 13761 w 76360"/>
                    <a:gd name="connsiteY6" fmla="*/ 75982 h 78113"/>
                    <a:gd name="connsiteX7" fmla="*/ 7556 w 76360"/>
                    <a:gd name="connsiteY7" fmla="*/ 78114 h 78113"/>
                    <a:gd name="connsiteX8" fmla="*/ 7556 w 76360"/>
                    <a:gd name="connsiteY8" fmla="*/ 78114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7556" y="78114"/>
                      </a:moveTo>
                      <a:cubicBezTo>
                        <a:pt x="5471" y="78114"/>
                        <a:pt x="3387" y="78114"/>
                        <a:pt x="2345" y="75982"/>
                      </a:cubicBezTo>
                      <a:cubicBezTo>
                        <a:pt x="-782" y="72761"/>
                        <a:pt x="-782" y="67455"/>
                        <a:pt x="2345" y="64234"/>
                      </a:cubicBezTo>
                      <a:cubicBezTo>
                        <a:pt x="61558" y="2416"/>
                        <a:pt x="61558" y="2416"/>
                        <a:pt x="61558" y="2416"/>
                      </a:cubicBezTo>
                      <a:cubicBezTo>
                        <a:pt x="64684" y="-805"/>
                        <a:pt x="70890" y="-805"/>
                        <a:pt x="74016" y="2416"/>
                      </a:cubicBezTo>
                      <a:cubicBezTo>
                        <a:pt x="77142" y="5637"/>
                        <a:pt x="77142" y="10943"/>
                        <a:pt x="74016" y="14164"/>
                      </a:cubicBezTo>
                      <a:cubicBezTo>
                        <a:pt x="13761" y="75982"/>
                        <a:pt x="13761" y="75982"/>
                        <a:pt x="13761" y="75982"/>
                      </a:cubicBezTo>
                      <a:cubicBezTo>
                        <a:pt x="12719" y="78114"/>
                        <a:pt x="10635" y="78114"/>
                        <a:pt x="7556" y="78114"/>
                      </a:cubicBezTo>
                      <a:lnTo>
                        <a:pt x="7556" y="78114"/>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10" name="Freeform: Shape 309">
                  <a:extLst>
                    <a:ext uri="{FF2B5EF4-FFF2-40B4-BE49-F238E27FC236}">
                      <a16:creationId xmlns:a16="http://schemas.microsoft.com/office/drawing/2014/main" id="{E604215D-15B0-4440-ADC2-7E2E81767A9D}"/>
                    </a:ext>
                  </a:extLst>
                </p:cNvPr>
                <p:cNvSpPr/>
                <p:nvPr/>
              </p:nvSpPr>
              <p:spPr>
                <a:xfrm>
                  <a:off x="2510068" y="3672227"/>
                  <a:ext cx="76360" cy="78113"/>
                </a:xfrm>
                <a:custGeom>
                  <a:avLst/>
                  <a:gdLst>
                    <a:gd name="connsiteX0" fmla="*/ 67810 w 76360"/>
                    <a:gd name="connsiteY0" fmla="*/ 78114 h 78113"/>
                    <a:gd name="connsiteX1" fmla="*/ 61558 w 76360"/>
                    <a:gd name="connsiteY1" fmla="*/ 75982 h 78113"/>
                    <a:gd name="connsiteX2" fmla="*/ 2345 w 76360"/>
                    <a:gd name="connsiteY2" fmla="*/ 14164 h 78113"/>
                    <a:gd name="connsiteX3" fmla="*/ 2345 w 76360"/>
                    <a:gd name="connsiteY3" fmla="*/ 2416 h 78113"/>
                    <a:gd name="connsiteX4" fmla="*/ 13761 w 76360"/>
                    <a:gd name="connsiteY4" fmla="*/ 2416 h 78113"/>
                    <a:gd name="connsiteX5" fmla="*/ 74016 w 76360"/>
                    <a:gd name="connsiteY5" fmla="*/ 64234 h 78113"/>
                    <a:gd name="connsiteX6" fmla="*/ 74016 w 76360"/>
                    <a:gd name="connsiteY6" fmla="*/ 75982 h 78113"/>
                    <a:gd name="connsiteX7" fmla="*/ 67810 w 76360"/>
                    <a:gd name="connsiteY7" fmla="*/ 78114 h 78113"/>
                    <a:gd name="connsiteX8" fmla="*/ 67810 w 76360"/>
                    <a:gd name="connsiteY8" fmla="*/ 78114 h 7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360" h="78113">
                      <a:moveTo>
                        <a:pt x="67810" y="78114"/>
                      </a:moveTo>
                      <a:cubicBezTo>
                        <a:pt x="65726" y="78114"/>
                        <a:pt x="63642" y="78114"/>
                        <a:pt x="61558" y="75982"/>
                      </a:cubicBezTo>
                      <a:cubicBezTo>
                        <a:pt x="2345" y="14164"/>
                        <a:pt x="2345" y="14164"/>
                        <a:pt x="2345" y="14164"/>
                      </a:cubicBezTo>
                      <a:cubicBezTo>
                        <a:pt x="-782" y="10943"/>
                        <a:pt x="-782" y="5637"/>
                        <a:pt x="2345" y="2416"/>
                      </a:cubicBezTo>
                      <a:cubicBezTo>
                        <a:pt x="5471" y="-805"/>
                        <a:pt x="10635" y="-805"/>
                        <a:pt x="13761" y="2416"/>
                      </a:cubicBezTo>
                      <a:cubicBezTo>
                        <a:pt x="74016" y="64234"/>
                        <a:pt x="74016" y="64234"/>
                        <a:pt x="74016" y="64234"/>
                      </a:cubicBezTo>
                      <a:cubicBezTo>
                        <a:pt x="77142" y="67455"/>
                        <a:pt x="77142" y="72761"/>
                        <a:pt x="74016" y="75982"/>
                      </a:cubicBezTo>
                      <a:cubicBezTo>
                        <a:pt x="71979" y="78114"/>
                        <a:pt x="69895" y="78114"/>
                        <a:pt x="67810" y="78114"/>
                      </a:cubicBezTo>
                      <a:lnTo>
                        <a:pt x="67810" y="78114"/>
                      </a:lnTo>
                      <a:close/>
                    </a:path>
                  </a:pathLst>
                </a:custGeom>
                <a:grp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nvGrpSpPr>
              <p:cNvPr id="244" name="Graphic 1">
                <a:extLst>
                  <a:ext uri="{FF2B5EF4-FFF2-40B4-BE49-F238E27FC236}">
                    <a16:creationId xmlns:a16="http://schemas.microsoft.com/office/drawing/2014/main" id="{1AAD22B0-317E-413F-9CA4-A51051EAAF0F}"/>
                  </a:ext>
                </a:extLst>
              </p:cNvPr>
              <p:cNvGrpSpPr/>
              <p:nvPr/>
            </p:nvGrpSpPr>
            <p:grpSpPr>
              <a:xfrm>
                <a:off x="4939710" y="3520667"/>
                <a:ext cx="2884580" cy="476330"/>
                <a:chOff x="4939710" y="3520667"/>
                <a:chExt cx="2884580" cy="476330"/>
              </a:xfrm>
              <a:solidFill>
                <a:srgbClr val="00BCEA">
                  <a:alpha val="30000"/>
                </a:srgbClr>
              </a:solidFill>
            </p:grpSpPr>
            <p:sp>
              <p:nvSpPr>
                <p:cNvPr id="255" name="Freeform: Shape 254">
                  <a:extLst>
                    <a:ext uri="{FF2B5EF4-FFF2-40B4-BE49-F238E27FC236}">
                      <a16:creationId xmlns:a16="http://schemas.microsoft.com/office/drawing/2014/main" id="{32DE35FD-D647-4BF2-A054-5A6156E2240D}"/>
                    </a:ext>
                  </a:extLst>
                </p:cNvPr>
                <p:cNvSpPr/>
                <p:nvPr/>
              </p:nvSpPr>
              <p:spPr>
                <a:xfrm rot="-3388607">
                  <a:off x="5579317" y="3342724"/>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6" name="Freeform: Shape 255">
                  <a:extLst>
                    <a:ext uri="{FF2B5EF4-FFF2-40B4-BE49-F238E27FC236}">
                      <a16:creationId xmlns:a16="http://schemas.microsoft.com/office/drawing/2014/main" id="{07467EAC-5C96-465E-A647-B4AE5FF7E332}"/>
                    </a:ext>
                  </a:extLst>
                </p:cNvPr>
                <p:cNvSpPr/>
                <p:nvPr/>
              </p:nvSpPr>
              <p:spPr>
                <a:xfrm rot="-3388607">
                  <a:off x="5711531" y="3342731"/>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7" name="Freeform: Shape 256">
                  <a:extLst>
                    <a:ext uri="{FF2B5EF4-FFF2-40B4-BE49-F238E27FC236}">
                      <a16:creationId xmlns:a16="http://schemas.microsoft.com/office/drawing/2014/main" id="{77C601EC-5E6F-4AFA-8B8B-BA198FCB9332}"/>
                    </a:ext>
                  </a:extLst>
                </p:cNvPr>
                <p:cNvSpPr/>
                <p:nvPr/>
              </p:nvSpPr>
              <p:spPr>
                <a:xfrm rot="-3388607">
                  <a:off x="5711531" y="3342731"/>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8" name="Freeform: Shape 257">
                  <a:extLst>
                    <a:ext uri="{FF2B5EF4-FFF2-40B4-BE49-F238E27FC236}">
                      <a16:creationId xmlns:a16="http://schemas.microsoft.com/office/drawing/2014/main" id="{F5140C70-BDED-4EEA-BF7C-CAEA7322ACA8}"/>
                    </a:ext>
                  </a:extLst>
                </p:cNvPr>
                <p:cNvSpPr/>
                <p:nvPr/>
              </p:nvSpPr>
              <p:spPr>
                <a:xfrm rot="-3388607">
                  <a:off x="5843763" y="3342785"/>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59" name="Freeform: Shape 258">
                  <a:extLst>
                    <a:ext uri="{FF2B5EF4-FFF2-40B4-BE49-F238E27FC236}">
                      <a16:creationId xmlns:a16="http://schemas.microsoft.com/office/drawing/2014/main" id="{B5408F9D-CE70-4C49-848E-249027E370DE}"/>
                    </a:ext>
                  </a:extLst>
                </p:cNvPr>
                <p:cNvSpPr/>
                <p:nvPr/>
              </p:nvSpPr>
              <p:spPr>
                <a:xfrm rot="-3388607">
                  <a:off x="5447063" y="3342757"/>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0" name="Freeform: Shape 259">
                  <a:extLst>
                    <a:ext uri="{FF2B5EF4-FFF2-40B4-BE49-F238E27FC236}">
                      <a16:creationId xmlns:a16="http://schemas.microsoft.com/office/drawing/2014/main" id="{1EA814E8-EF92-4508-80FE-E655E22192E2}"/>
                    </a:ext>
                  </a:extLst>
                </p:cNvPr>
                <p:cNvSpPr/>
                <p:nvPr/>
              </p:nvSpPr>
              <p:spPr>
                <a:xfrm rot="-3388607">
                  <a:off x="5579317" y="3342724"/>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1" name="Freeform: Shape 260">
                  <a:extLst>
                    <a:ext uri="{FF2B5EF4-FFF2-40B4-BE49-F238E27FC236}">
                      <a16:creationId xmlns:a16="http://schemas.microsoft.com/office/drawing/2014/main" id="{BF9DC956-C0F4-4AC8-BB72-9420C1802E7A}"/>
                    </a:ext>
                  </a:extLst>
                </p:cNvPr>
                <p:cNvSpPr/>
                <p:nvPr/>
              </p:nvSpPr>
              <p:spPr>
                <a:xfrm rot="-3388607">
                  <a:off x="5976011" y="3342752"/>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2" name="Freeform: Shape 261">
                  <a:extLst>
                    <a:ext uri="{FF2B5EF4-FFF2-40B4-BE49-F238E27FC236}">
                      <a16:creationId xmlns:a16="http://schemas.microsoft.com/office/drawing/2014/main" id="{7AE23409-CF18-4652-909D-9CA294C3E571}"/>
                    </a:ext>
                  </a:extLst>
                </p:cNvPr>
                <p:cNvSpPr/>
                <p:nvPr/>
              </p:nvSpPr>
              <p:spPr>
                <a:xfrm rot="-3388607">
                  <a:off x="6108226" y="3342759"/>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3" name="Freeform: Shape 262">
                  <a:extLst>
                    <a:ext uri="{FF2B5EF4-FFF2-40B4-BE49-F238E27FC236}">
                      <a16:creationId xmlns:a16="http://schemas.microsoft.com/office/drawing/2014/main" id="{27BD098A-2384-4352-AE80-F5FBA8B4FAEA}"/>
                    </a:ext>
                  </a:extLst>
                </p:cNvPr>
                <p:cNvSpPr/>
                <p:nvPr/>
              </p:nvSpPr>
              <p:spPr>
                <a:xfrm rot="-3388607">
                  <a:off x="5843763" y="3342785"/>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4" name="Freeform: Shape 263">
                  <a:extLst>
                    <a:ext uri="{FF2B5EF4-FFF2-40B4-BE49-F238E27FC236}">
                      <a16:creationId xmlns:a16="http://schemas.microsoft.com/office/drawing/2014/main" id="{B4DCD03C-4B65-4E5B-AB81-3844E1BFC8AF}"/>
                    </a:ext>
                  </a:extLst>
                </p:cNvPr>
                <p:cNvSpPr/>
                <p:nvPr/>
              </p:nvSpPr>
              <p:spPr>
                <a:xfrm rot="-3388607">
                  <a:off x="5976011" y="3342752"/>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5" name="Freeform: Shape 264">
                  <a:extLst>
                    <a:ext uri="{FF2B5EF4-FFF2-40B4-BE49-F238E27FC236}">
                      <a16:creationId xmlns:a16="http://schemas.microsoft.com/office/drawing/2014/main" id="{1C93894C-E665-4D27-BC45-878ACBDC874C}"/>
                    </a:ext>
                  </a:extLst>
                </p:cNvPr>
                <p:cNvSpPr/>
                <p:nvPr/>
              </p:nvSpPr>
              <p:spPr>
                <a:xfrm rot="-3388607">
                  <a:off x="6108226" y="3342759"/>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6" name="Freeform: Shape 265">
                  <a:extLst>
                    <a:ext uri="{FF2B5EF4-FFF2-40B4-BE49-F238E27FC236}">
                      <a16:creationId xmlns:a16="http://schemas.microsoft.com/office/drawing/2014/main" id="{46B85FB5-72A5-4399-9FD6-F92A78F1BB82}"/>
                    </a:ext>
                  </a:extLst>
                </p:cNvPr>
                <p:cNvSpPr/>
                <p:nvPr/>
              </p:nvSpPr>
              <p:spPr>
                <a:xfrm rot="-3388607">
                  <a:off x="6240482" y="3342726"/>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7" name="Freeform: Shape 266">
                  <a:extLst>
                    <a:ext uri="{FF2B5EF4-FFF2-40B4-BE49-F238E27FC236}">
                      <a16:creationId xmlns:a16="http://schemas.microsoft.com/office/drawing/2014/main" id="{845283E5-1586-47B2-8CF8-2A2A4F172713}"/>
                    </a:ext>
                  </a:extLst>
                </p:cNvPr>
                <p:cNvSpPr/>
                <p:nvPr/>
              </p:nvSpPr>
              <p:spPr>
                <a:xfrm rot="-3406534">
                  <a:off x="5320052" y="3339747"/>
                  <a:ext cx="18947" cy="836858"/>
                </a:xfrm>
                <a:custGeom>
                  <a:avLst/>
                  <a:gdLst>
                    <a:gd name="connsiteX0" fmla="*/ 0 w 18947"/>
                    <a:gd name="connsiteY0" fmla="*/ 0 h 836858"/>
                    <a:gd name="connsiteX1" fmla="*/ 18947 w 18947"/>
                    <a:gd name="connsiteY1" fmla="*/ 0 h 836858"/>
                    <a:gd name="connsiteX2" fmla="*/ 18947 w 18947"/>
                    <a:gd name="connsiteY2" fmla="*/ 836859 h 836858"/>
                    <a:gd name="connsiteX3" fmla="*/ 0 w 18947"/>
                    <a:gd name="connsiteY3" fmla="*/ 836859 h 836858"/>
                  </a:gdLst>
                  <a:ahLst/>
                  <a:cxnLst>
                    <a:cxn ang="0">
                      <a:pos x="connsiteX0" y="connsiteY0"/>
                    </a:cxn>
                    <a:cxn ang="0">
                      <a:pos x="connsiteX1" y="connsiteY1"/>
                    </a:cxn>
                    <a:cxn ang="0">
                      <a:pos x="connsiteX2" y="connsiteY2"/>
                    </a:cxn>
                    <a:cxn ang="0">
                      <a:pos x="connsiteX3" y="connsiteY3"/>
                    </a:cxn>
                  </a:cxnLst>
                  <a:rect l="l" t="t" r="r" b="b"/>
                  <a:pathLst>
                    <a:path w="18947" h="836858">
                      <a:moveTo>
                        <a:pt x="0" y="0"/>
                      </a:moveTo>
                      <a:lnTo>
                        <a:pt x="18947" y="0"/>
                      </a:lnTo>
                      <a:lnTo>
                        <a:pt x="18947" y="836859"/>
                      </a:lnTo>
                      <a:lnTo>
                        <a:pt x="0" y="836859"/>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8" name="Freeform: Shape 267">
                  <a:extLst>
                    <a:ext uri="{FF2B5EF4-FFF2-40B4-BE49-F238E27FC236}">
                      <a16:creationId xmlns:a16="http://schemas.microsoft.com/office/drawing/2014/main" id="{67787D3F-91A3-411F-B51D-FCBD21C424D7}"/>
                    </a:ext>
                  </a:extLst>
                </p:cNvPr>
                <p:cNvSpPr/>
                <p:nvPr/>
              </p:nvSpPr>
              <p:spPr>
                <a:xfrm rot="-3388607">
                  <a:off x="5447063" y="3342757"/>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69" name="Freeform: Shape 268">
                  <a:extLst>
                    <a:ext uri="{FF2B5EF4-FFF2-40B4-BE49-F238E27FC236}">
                      <a16:creationId xmlns:a16="http://schemas.microsoft.com/office/drawing/2014/main" id="{31F48F89-694D-4DE3-B2DD-523C5C5A1E7D}"/>
                    </a:ext>
                  </a:extLst>
                </p:cNvPr>
                <p:cNvSpPr/>
                <p:nvPr/>
              </p:nvSpPr>
              <p:spPr>
                <a:xfrm rot="-3406534">
                  <a:off x="5104389" y="3674801"/>
                  <a:ext cx="18947" cy="403958"/>
                </a:xfrm>
                <a:custGeom>
                  <a:avLst/>
                  <a:gdLst>
                    <a:gd name="connsiteX0" fmla="*/ 0 w 18947"/>
                    <a:gd name="connsiteY0" fmla="*/ 0 h 403958"/>
                    <a:gd name="connsiteX1" fmla="*/ 18947 w 18947"/>
                    <a:gd name="connsiteY1" fmla="*/ 0 h 403958"/>
                    <a:gd name="connsiteX2" fmla="*/ 18947 w 18947"/>
                    <a:gd name="connsiteY2" fmla="*/ 403959 h 403958"/>
                    <a:gd name="connsiteX3" fmla="*/ 0 w 18947"/>
                    <a:gd name="connsiteY3" fmla="*/ 403959 h 403958"/>
                  </a:gdLst>
                  <a:ahLst/>
                  <a:cxnLst>
                    <a:cxn ang="0">
                      <a:pos x="connsiteX0" y="connsiteY0"/>
                    </a:cxn>
                    <a:cxn ang="0">
                      <a:pos x="connsiteX1" y="connsiteY1"/>
                    </a:cxn>
                    <a:cxn ang="0">
                      <a:pos x="connsiteX2" y="connsiteY2"/>
                    </a:cxn>
                    <a:cxn ang="0">
                      <a:pos x="connsiteX3" y="connsiteY3"/>
                    </a:cxn>
                  </a:cxnLst>
                  <a:rect l="l" t="t" r="r" b="b"/>
                  <a:pathLst>
                    <a:path w="18947" h="403958">
                      <a:moveTo>
                        <a:pt x="0" y="0"/>
                      </a:moveTo>
                      <a:lnTo>
                        <a:pt x="18947" y="0"/>
                      </a:lnTo>
                      <a:lnTo>
                        <a:pt x="18947" y="403959"/>
                      </a:lnTo>
                      <a:lnTo>
                        <a:pt x="0" y="403959"/>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70" name="Freeform: Shape 269">
                  <a:extLst>
                    <a:ext uri="{FF2B5EF4-FFF2-40B4-BE49-F238E27FC236}">
                      <a16:creationId xmlns:a16="http://schemas.microsoft.com/office/drawing/2014/main" id="{93B9B4DD-6CE1-4514-9545-A4A0D8159E30}"/>
                    </a:ext>
                  </a:extLst>
                </p:cNvPr>
                <p:cNvSpPr/>
                <p:nvPr/>
              </p:nvSpPr>
              <p:spPr>
                <a:xfrm rot="-3406534">
                  <a:off x="5170543" y="3552486"/>
                  <a:ext cx="18947" cy="562026"/>
                </a:xfrm>
                <a:custGeom>
                  <a:avLst/>
                  <a:gdLst>
                    <a:gd name="connsiteX0" fmla="*/ 0 w 18947"/>
                    <a:gd name="connsiteY0" fmla="*/ 0 h 562026"/>
                    <a:gd name="connsiteX1" fmla="*/ 18947 w 18947"/>
                    <a:gd name="connsiteY1" fmla="*/ 0 h 562026"/>
                    <a:gd name="connsiteX2" fmla="*/ 18947 w 18947"/>
                    <a:gd name="connsiteY2" fmla="*/ 562027 h 562026"/>
                    <a:gd name="connsiteX3" fmla="*/ 0 w 18947"/>
                    <a:gd name="connsiteY3" fmla="*/ 562027 h 562026"/>
                  </a:gdLst>
                  <a:ahLst/>
                  <a:cxnLst>
                    <a:cxn ang="0">
                      <a:pos x="connsiteX0" y="connsiteY0"/>
                    </a:cxn>
                    <a:cxn ang="0">
                      <a:pos x="connsiteX1" y="connsiteY1"/>
                    </a:cxn>
                    <a:cxn ang="0">
                      <a:pos x="connsiteX2" y="connsiteY2"/>
                    </a:cxn>
                    <a:cxn ang="0">
                      <a:pos x="connsiteX3" y="connsiteY3"/>
                    </a:cxn>
                  </a:cxnLst>
                  <a:rect l="l" t="t" r="r" b="b"/>
                  <a:pathLst>
                    <a:path w="18947" h="562026">
                      <a:moveTo>
                        <a:pt x="0" y="0"/>
                      </a:moveTo>
                      <a:lnTo>
                        <a:pt x="18947" y="0"/>
                      </a:lnTo>
                      <a:lnTo>
                        <a:pt x="18947" y="562027"/>
                      </a:lnTo>
                      <a:lnTo>
                        <a:pt x="0" y="562027"/>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71" name="Freeform: Shape 270">
                  <a:extLst>
                    <a:ext uri="{FF2B5EF4-FFF2-40B4-BE49-F238E27FC236}">
                      <a16:creationId xmlns:a16="http://schemas.microsoft.com/office/drawing/2014/main" id="{BC591CC5-A2D7-4484-BA11-39D7440A0C75}"/>
                    </a:ext>
                  </a:extLst>
                </p:cNvPr>
                <p:cNvSpPr/>
                <p:nvPr/>
              </p:nvSpPr>
              <p:spPr>
                <a:xfrm rot="-3406534">
                  <a:off x="5038306" y="3797120"/>
                  <a:ext cx="18947" cy="245889"/>
                </a:xfrm>
                <a:custGeom>
                  <a:avLst/>
                  <a:gdLst>
                    <a:gd name="connsiteX0" fmla="*/ 0 w 18947"/>
                    <a:gd name="connsiteY0" fmla="*/ 0 h 245889"/>
                    <a:gd name="connsiteX1" fmla="*/ 18947 w 18947"/>
                    <a:gd name="connsiteY1" fmla="*/ 0 h 245889"/>
                    <a:gd name="connsiteX2" fmla="*/ 18947 w 18947"/>
                    <a:gd name="connsiteY2" fmla="*/ 245890 h 245889"/>
                    <a:gd name="connsiteX3" fmla="*/ 0 w 18947"/>
                    <a:gd name="connsiteY3" fmla="*/ 245890 h 245889"/>
                  </a:gdLst>
                  <a:ahLst/>
                  <a:cxnLst>
                    <a:cxn ang="0">
                      <a:pos x="connsiteX0" y="connsiteY0"/>
                    </a:cxn>
                    <a:cxn ang="0">
                      <a:pos x="connsiteX1" y="connsiteY1"/>
                    </a:cxn>
                    <a:cxn ang="0">
                      <a:pos x="connsiteX2" y="connsiteY2"/>
                    </a:cxn>
                    <a:cxn ang="0">
                      <a:pos x="connsiteX3" y="connsiteY3"/>
                    </a:cxn>
                  </a:cxnLst>
                  <a:rect l="l" t="t" r="r" b="b"/>
                  <a:pathLst>
                    <a:path w="18947" h="245889">
                      <a:moveTo>
                        <a:pt x="0" y="0"/>
                      </a:moveTo>
                      <a:lnTo>
                        <a:pt x="18947" y="0"/>
                      </a:lnTo>
                      <a:lnTo>
                        <a:pt x="18947" y="245890"/>
                      </a:lnTo>
                      <a:lnTo>
                        <a:pt x="0" y="24589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72" name="Freeform: Shape 271">
                  <a:extLst>
                    <a:ext uri="{FF2B5EF4-FFF2-40B4-BE49-F238E27FC236}">
                      <a16:creationId xmlns:a16="http://schemas.microsoft.com/office/drawing/2014/main" id="{9B03A7CE-DDEF-4605-92ED-7FA9E2731319}"/>
                    </a:ext>
                  </a:extLst>
                </p:cNvPr>
                <p:cNvSpPr/>
                <p:nvPr/>
              </p:nvSpPr>
              <p:spPr>
                <a:xfrm rot="-3406534">
                  <a:off x="5104389" y="3674801"/>
                  <a:ext cx="18947" cy="403958"/>
                </a:xfrm>
                <a:custGeom>
                  <a:avLst/>
                  <a:gdLst>
                    <a:gd name="connsiteX0" fmla="*/ 0 w 18947"/>
                    <a:gd name="connsiteY0" fmla="*/ 0 h 403958"/>
                    <a:gd name="connsiteX1" fmla="*/ 18947 w 18947"/>
                    <a:gd name="connsiteY1" fmla="*/ 0 h 403958"/>
                    <a:gd name="connsiteX2" fmla="*/ 18947 w 18947"/>
                    <a:gd name="connsiteY2" fmla="*/ 403959 h 403958"/>
                    <a:gd name="connsiteX3" fmla="*/ 0 w 18947"/>
                    <a:gd name="connsiteY3" fmla="*/ 403959 h 403958"/>
                  </a:gdLst>
                  <a:ahLst/>
                  <a:cxnLst>
                    <a:cxn ang="0">
                      <a:pos x="connsiteX0" y="connsiteY0"/>
                    </a:cxn>
                    <a:cxn ang="0">
                      <a:pos x="connsiteX1" y="connsiteY1"/>
                    </a:cxn>
                    <a:cxn ang="0">
                      <a:pos x="connsiteX2" y="connsiteY2"/>
                    </a:cxn>
                    <a:cxn ang="0">
                      <a:pos x="connsiteX3" y="connsiteY3"/>
                    </a:cxn>
                  </a:cxnLst>
                  <a:rect l="l" t="t" r="r" b="b"/>
                  <a:pathLst>
                    <a:path w="18947" h="403958">
                      <a:moveTo>
                        <a:pt x="0" y="0"/>
                      </a:moveTo>
                      <a:lnTo>
                        <a:pt x="18947" y="0"/>
                      </a:lnTo>
                      <a:lnTo>
                        <a:pt x="18947" y="403959"/>
                      </a:lnTo>
                      <a:lnTo>
                        <a:pt x="0" y="403959"/>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73" name="Freeform: Shape 272">
                  <a:extLst>
                    <a:ext uri="{FF2B5EF4-FFF2-40B4-BE49-F238E27FC236}">
                      <a16:creationId xmlns:a16="http://schemas.microsoft.com/office/drawing/2014/main" id="{FA1BA781-2392-4717-A9E8-7CD8CA942926}"/>
                    </a:ext>
                  </a:extLst>
                </p:cNvPr>
                <p:cNvSpPr/>
                <p:nvPr/>
              </p:nvSpPr>
              <p:spPr>
                <a:xfrm rot="-3406534">
                  <a:off x="4972211" y="3919537"/>
                  <a:ext cx="18947" cy="87821"/>
                </a:xfrm>
                <a:custGeom>
                  <a:avLst/>
                  <a:gdLst>
                    <a:gd name="connsiteX0" fmla="*/ 0 w 18947"/>
                    <a:gd name="connsiteY0" fmla="*/ 0 h 87821"/>
                    <a:gd name="connsiteX1" fmla="*/ 18947 w 18947"/>
                    <a:gd name="connsiteY1" fmla="*/ 0 h 87821"/>
                    <a:gd name="connsiteX2" fmla="*/ 18947 w 18947"/>
                    <a:gd name="connsiteY2" fmla="*/ 87821 h 87821"/>
                    <a:gd name="connsiteX3" fmla="*/ 0 w 18947"/>
                    <a:gd name="connsiteY3" fmla="*/ 87821 h 87821"/>
                  </a:gdLst>
                  <a:ahLst/>
                  <a:cxnLst>
                    <a:cxn ang="0">
                      <a:pos x="connsiteX0" y="connsiteY0"/>
                    </a:cxn>
                    <a:cxn ang="0">
                      <a:pos x="connsiteX1" y="connsiteY1"/>
                    </a:cxn>
                    <a:cxn ang="0">
                      <a:pos x="connsiteX2" y="connsiteY2"/>
                    </a:cxn>
                    <a:cxn ang="0">
                      <a:pos x="connsiteX3" y="connsiteY3"/>
                    </a:cxn>
                  </a:cxnLst>
                  <a:rect l="l" t="t" r="r" b="b"/>
                  <a:pathLst>
                    <a:path w="18947" h="87821">
                      <a:moveTo>
                        <a:pt x="0" y="0"/>
                      </a:moveTo>
                      <a:lnTo>
                        <a:pt x="18947" y="0"/>
                      </a:lnTo>
                      <a:lnTo>
                        <a:pt x="18947" y="87821"/>
                      </a:lnTo>
                      <a:lnTo>
                        <a:pt x="0" y="87821"/>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74" name="Freeform: Shape 273">
                  <a:extLst>
                    <a:ext uri="{FF2B5EF4-FFF2-40B4-BE49-F238E27FC236}">
                      <a16:creationId xmlns:a16="http://schemas.microsoft.com/office/drawing/2014/main" id="{D9F1178B-1E7C-4BAE-9EE3-CCBDBF63A89A}"/>
                    </a:ext>
                  </a:extLst>
                </p:cNvPr>
                <p:cNvSpPr/>
                <p:nvPr/>
              </p:nvSpPr>
              <p:spPr>
                <a:xfrm rot="-3406534">
                  <a:off x="4972211" y="3919537"/>
                  <a:ext cx="18947" cy="87821"/>
                </a:xfrm>
                <a:custGeom>
                  <a:avLst/>
                  <a:gdLst>
                    <a:gd name="connsiteX0" fmla="*/ 0 w 18947"/>
                    <a:gd name="connsiteY0" fmla="*/ 0 h 87821"/>
                    <a:gd name="connsiteX1" fmla="*/ 18947 w 18947"/>
                    <a:gd name="connsiteY1" fmla="*/ 0 h 87821"/>
                    <a:gd name="connsiteX2" fmla="*/ 18947 w 18947"/>
                    <a:gd name="connsiteY2" fmla="*/ 87821 h 87821"/>
                    <a:gd name="connsiteX3" fmla="*/ 0 w 18947"/>
                    <a:gd name="connsiteY3" fmla="*/ 87821 h 87821"/>
                  </a:gdLst>
                  <a:ahLst/>
                  <a:cxnLst>
                    <a:cxn ang="0">
                      <a:pos x="connsiteX0" y="connsiteY0"/>
                    </a:cxn>
                    <a:cxn ang="0">
                      <a:pos x="connsiteX1" y="connsiteY1"/>
                    </a:cxn>
                    <a:cxn ang="0">
                      <a:pos x="connsiteX2" y="connsiteY2"/>
                    </a:cxn>
                    <a:cxn ang="0">
                      <a:pos x="connsiteX3" y="connsiteY3"/>
                    </a:cxn>
                  </a:cxnLst>
                  <a:rect l="l" t="t" r="r" b="b"/>
                  <a:pathLst>
                    <a:path w="18947" h="87821">
                      <a:moveTo>
                        <a:pt x="0" y="0"/>
                      </a:moveTo>
                      <a:lnTo>
                        <a:pt x="18947" y="0"/>
                      </a:lnTo>
                      <a:lnTo>
                        <a:pt x="18947" y="87821"/>
                      </a:lnTo>
                      <a:lnTo>
                        <a:pt x="0" y="87821"/>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75" name="Freeform: Shape 274">
                  <a:extLst>
                    <a:ext uri="{FF2B5EF4-FFF2-40B4-BE49-F238E27FC236}">
                      <a16:creationId xmlns:a16="http://schemas.microsoft.com/office/drawing/2014/main" id="{F2DD371E-41CF-4A5A-BC5B-BBDA804EE82D}"/>
                    </a:ext>
                  </a:extLst>
                </p:cNvPr>
                <p:cNvSpPr/>
                <p:nvPr/>
              </p:nvSpPr>
              <p:spPr>
                <a:xfrm rot="-3406534">
                  <a:off x="5038306" y="3797120"/>
                  <a:ext cx="18947" cy="245889"/>
                </a:xfrm>
                <a:custGeom>
                  <a:avLst/>
                  <a:gdLst>
                    <a:gd name="connsiteX0" fmla="*/ 0 w 18947"/>
                    <a:gd name="connsiteY0" fmla="*/ 0 h 245889"/>
                    <a:gd name="connsiteX1" fmla="*/ 18947 w 18947"/>
                    <a:gd name="connsiteY1" fmla="*/ 0 h 245889"/>
                    <a:gd name="connsiteX2" fmla="*/ 18947 w 18947"/>
                    <a:gd name="connsiteY2" fmla="*/ 245890 h 245889"/>
                    <a:gd name="connsiteX3" fmla="*/ 0 w 18947"/>
                    <a:gd name="connsiteY3" fmla="*/ 245890 h 245889"/>
                  </a:gdLst>
                  <a:ahLst/>
                  <a:cxnLst>
                    <a:cxn ang="0">
                      <a:pos x="connsiteX0" y="connsiteY0"/>
                    </a:cxn>
                    <a:cxn ang="0">
                      <a:pos x="connsiteX1" y="connsiteY1"/>
                    </a:cxn>
                    <a:cxn ang="0">
                      <a:pos x="connsiteX2" y="connsiteY2"/>
                    </a:cxn>
                    <a:cxn ang="0">
                      <a:pos x="connsiteX3" y="connsiteY3"/>
                    </a:cxn>
                  </a:cxnLst>
                  <a:rect l="l" t="t" r="r" b="b"/>
                  <a:pathLst>
                    <a:path w="18947" h="245889">
                      <a:moveTo>
                        <a:pt x="0" y="0"/>
                      </a:moveTo>
                      <a:lnTo>
                        <a:pt x="18947" y="0"/>
                      </a:lnTo>
                      <a:lnTo>
                        <a:pt x="18947" y="245890"/>
                      </a:lnTo>
                      <a:lnTo>
                        <a:pt x="0" y="24589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76" name="Freeform: Shape 275">
                  <a:extLst>
                    <a:ext uri="{FF2B5EF4-FFF2-40B4-BE49-F238E27FC236}">
                      <a16:creationId xmlns:a16="http://schemas.microsoft.com/office/drawing/2014/main" id="{D6403B13-A3C6-4C51-8F26-0CE184B56182}"/>
                    </a:ext>
                  </a:extLst>
                </p:cNvPr>
                <p:cNvSpPr/>
                <p:nvPr/>
              </p:nvSpPr>
              <p:spPr>
                <a:xfrm rot="-3406534">
                  <a:off x="5236652" y="3430117"/>
                  <a:ext cx="18947" cy="720095"/>
                </a:xfrm>
                <a:custGeom>
                  <a:avLst/>
                  <a:gdLst>
                    <a:gd name="connsiteX0" fmla="*/ 0 w 18947"/>
                    <a:gd name="connsiteY0" fmla="*/ 0 h 720095"/>
                    <a:gd name="connsiteX1" fmla="*/ 18947 w 18947"/>
                    <a:gd name="connsiteY1" fmla="*/ 0 h 720095"/>
                    <a:gd name="connsiteX2" fmla="*/ 18947 w 18947"/>
                    <a:gd name="connsiteY2" fmla="*/ 720096 h 720095"/>
                    <a:gd name="connsiteX3" fmla="*/ 0 w 18947"/>
                    <a:gd name="connsiteY3" fmla="*/ 720096 h 720095"/>
                  </a:gdLst>
                  <a:ahLst/>
                  <a:cxnLst>
                    <a:cxn ang="0">
                      <a:pos x="connsiteX0" y="connsiteY0"/>
                    </a:cxn>
                    <a:cxn ang="0">
                      <a:pos x="connsiteX1" y="connsiteY1"/>
                    </a:cxn>
                    <a:cxn ang="0">
                      <a:pos x="connsiteX2" y="connsiteY2"/>
                    </a:cxn>
                    <a:cxn ang="0">
                      <a:pos x="connsiteX3" y="connsiteY3"/>
                    </a:cxn>
                  </a:cxnLst>
                  <a:rect l="l" t="t" r="r" b="b"/>
                  <a:pathLst>
                    <a:path w="18947" h="720095">
                      <a:moveTo>
                        <a:pt x="0" y="0"/>
                      </a:moveTo>
                      <a:lnTo>
                        <a:pt x="18947" y="0"/>
                      </a:lnTo>
                      <a:lnTo>
                        <a:pt x="18947" y="720096"/>
                      </a:lnTo>
                      <a:lnTo>
                        <a:pt x="0" y="720096"/>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77" name="Freeform: Shape 276">
                  <a:extLst>
                    <a:ext uri="{FF2B5EF4-FFF2-40B4-BE49-F238E27FC236}">
                      <a16:creationId xmlns:a16="http://schemas.microsoft.com/office/drawing/2014/main" id="{BDBD16C4-AD20-445B-B806-DD50F3B9775F}"/>
                    </a:ext>
                  </a:extLst>
                </p:cNvPr>
                <p:cNvSpPr/>
                <p:nvPr/>
              </p:nvSpPr>
              <p:spPr>
                <a:xfrm rot="-3406534">
                  <a:off x="5320052" y="3339747"/>
                  <a:ext cx="18947" cy="836858"/>
                </a:xfrm>
                <a:custGeom>
                  <a:avLst/>
                  <a:gdLst>
                    <a:gd name="connsiteX0" fmla="*/ 0 w 18947"/>
                    <a:gd name="connsiteY0" fmla="*/ 0 h 836858"/>
                    <a:gd name="connsiteX1" fmla="*/ 18947 w 18947"/>
                    <a:gd name="connsiteY1" fmla="*/ 0 h 836858"/>
                    <a:gd name="connsiteX2" fmla="*/ 18947 w 18947"/>
                    <a:gd name="connsiteY2" fmla="*/ 836859 h 836858"/>
                    <a:gd name="connsiteX3" fmla="*/ 0 w 18947"/>
                    <a:gd name="connsiteY3" fmla="*/ 836859 h 836858"/>
                  </a:gdLst>
                  <a:ahLst/>
                  <a:cxnLst>
                    <a:cxn ang="0">
                      <a:pos x="connsiteX0" y="connsiteY0"/>
                    </a:cxn>
                    <a:cxn ang="0">
                      <a:pos x="connsiteX1" y="connsiteY1"/>
                    </a:cxn>
                    <a:cxn ang="0">
                      <a:pos x="connsiteX2" y="connsiteY2"/>
                    </a:cxn>
                    <a:cxn ang="0">
                      <a:pos x="connsiteX3" y="connsiteY3"/>
                    </a:cxn>
                  </a:cxnLst>
                  <a:rect l="l" t="t" r="r" b="b"/>
                  <a:pathLst>
                    <a:path w="18947" h="836858">
                      <a:moveTo>
                        <a:pt x="0" y="0"/>
                      </a:moveTo>
                      <a:lnTo>
                        <a:pt x="18947" y="0"/>
                      </a:lnTo>
                      <a:lnTo>
                        <a:pt x="18947" y="836859"/>
                      </a:lnTo>
                      <a:lnTo>
                        <a:pt x="0" y="836859"/>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78" name="Freeform: Shape 277">
                  <a:extLst>
                    <a:ext uri="{FF2B5EF4-FFF2-40B4-BE49-F238E27FC236}">
                      <a16:creationId xmlns:a16="http://schemas.microsoft.com/office/drawing/2014/main" id="{D6AF1124-2A9B-4D1B-9C08-02325794FDC2}"/>
                    </a:ext>
                  </a:extLst>
                </p:cNvPr>
                <p:cNvSpPr/>
                <p:nvPr/>
              </p:nvSpPr>
              <p:spPr>
                <a:xfrm rot="-3406534">
                  <a:off x="5170543" y="3552486"/>
                  <a:ext cx="18947" cy="562026"/>
                </a:xfrm>
                <a:custGeom>
                  <a:avLst/>
                  <a:gdLst>
                    <a:gd name="connsiteX0" fmla="*/ 0 w 18947"/>
                    <a:gd name="connsiteY0" fmla="*/ 0 h 562026"/>
                    <a:gd name="connsiteX1" fmla="*/ 18947 w 18947"/>
                    <a:gd name="connsiteY1" fmla="*/ 0 h 562026"/>
                    <a:gd name="connsiteX2" fmla="*/ 18947 w 18947"/>
                    <a:gd name="connsiteY2" fmla="*/ 562027 h 562026"/>
                    <a:gd name="connsiteX3" fmla="*/ 0 w 18947"/>
                    <a:gd name="connsiteY3" fmla="*/ 562027 h 562026"/>
                  </a:gdLst>
                  <a:ahLst/>
                  <a:cxnLst>
                    <a:cxn ang="0">
                      <a:pos x="connsiteX0" y="connsiteY0"/>
                    </a:cxn>
                    <a:cxn ang="0">
                      <a:pos x="connsiteX1" y="connsiteY1"/>
                    </a:cxn>
                    <a:cxn ang="0">
                      <a:pos x="connsiteX2" y="connsiteY2"/>
                    </a:cxn>
                    <a:cxn ang="0">
                      <a:pos x="connsiteX3" y="connsiteY3"/>
                    </a:cxn>
                  </a:cxnLst>
                  <a:rect l="l" t="t" r="r" b="b"/>
                  <a:pathLst>
                    <a:path w="18947" h="562026">
                      <a:moveTo>
                        <a:pt x="0" y="0"/>
                      </a:moveTo>
                      <a:lnTo>
                        <a:pt x="18947" y="0"/>
                      </a:lnTo>
                      <a:lnTo>
                        <a:pt x="18947" y="562027"/>
                      </a:lnTo>
                      <a:lnTo>
                        <a:pt x="0" y="562027"/>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79" name="Freeform: Shape 278">
                  <a:extLst>
                    <a:ext uri="{FF2B5EF4-FFF2-40B4-BE49-F238E27FC236}">
                      <a16:creationId xmlns:a16="http://schemas.microsoft.com/office/drawing/2014/main" id="{0A7C3858-90F0-4D4D-A792-EBB739C95496}"/>
                    </a:ext>
                  </a:extLst>
                </p:cNvPr>
                <p:cNvSpPr/>
                <p:nvPr/>
              </p:nvSpPr>
              <p:spPr>
                <a:xfrm rot="-3406534">
                  <a:off x="5236652" y="3430117"/>
                  <a:ext cx="18947" cy="720095"/>
                </a:xfrm>
                <a:custGeom>
                  <a:avLst/>
                  <a:gdLst>
                    <a:gd name="connsiteX0" fmla="*/ 0 w 18947"/>
                    <a:gd name="connsiteY0" fmla="*/ 0 h 720095"/>
                    <a:gd name="connsiteX1" fmla="*/ 18947 w 18947"/>
                    <a:gd name="connsiteY1" fmla="*/ 0 h 720095"/>
                    <a:gd name="connsiteX2" fmla="*/ 18947 w 18947"/>
                    <a:gd name="connsiteY2" fmla="*/ 720096 h 720095"/>
                    <a:gd name="connsiteX3" fmla="*/ 0 w 18947"/>
                    <a:gd name="connsiteY3" fmla="*/ 720096 h 720095"/>
                  </a:gdLst>
                  <a:ahLst/>
                  <a:cxnLst>
                    <a:cxn ang="0">
                      <a:pos x="connsiteX0" y="connsiteY0"/>
                    </a:cxn>
                    <a:cxn ang="0">
                      <a:pos x="connsiteX1" y="connsiteY1"/>
                    </a:cxn>
                    <a:cxn ang="0">
                      <a:pos x="connsiteX2" y="connsiteY2"/>
                    </a:cxn>
                    <a:cxn ang="0">
                      <a:pos x="connsiteX3" y="connsiteY3"/>
                    </a:cxn>
                  </a:cxnLst>
                  <a:rect l="l" t="t" r="r" b="b"/>
                  <a:pathLst>
                    <a:path w="18947" h="720095">
                      <a:moveTo>
                        <a:pt x="0" y="0"/>
                      </a:moveTo>
                      <a:lnTo>
                        <a:pt x="18947" y="0"/>
                      </a:lnTo>
                      <a:lnTo>
                        <a:pt x="18947" y="720096"/>
                      </a:lnTo>
                      <a:lnTo>
                        <a:pt x="0" y="720096"/>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80" name="Freeform: Shape 279">
                  <a:extLst>
                    <a:ext uri="{FF2B5EF4-FFF2-40B4-BE49-F238E27FC236}">
                      <a16:creationId xmlns:a16="http://schemas.microsoft.com/office/drawing/2014/main" id="{787BE7E7-03A9-447B-8D4C-3A50397ABFAB}"/>
                    </a:ext>
                  </a:extLst>
                </p:cNvPr>
                <p:cNvSpPr/>
                <p:nvPr/>
              </p:nvSpPr>
              <p:spPr>
                <a:xfrm rot="-3388607">
                  <a:off x="6240482" y="3342726"/>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81" name="Freeform: Shape 280">
                  <a:extLst>
                    <a:ext uri="{FF2B5EF4-FFF2-40B4-BE49-F238E27FC236}">
                      <a16:creationId xmlns:a16="http://schemas.microsoft.com/office/drawing/2014/main" id="{E4C8333B-ED39-4388-8EB4-9FE2B71A46BD}"/>
                    </a:ext>
                  </a:extLst>
                </p:cNvPr>
                <p:cNvSpPr/>
                <p:nvPr/>
              </p:nvSpPr>
              <p:spPr>
                <a:xfrm rot="-3388607">
                  <a:off x="6372696" y="3342733"/>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82" name="Freeform: Shape 281">
                  <a:extLst>
                    <a:ext uri="{FF2B5EF4-FFF2-40B4-BE49-F238E27FC236}">
                      <a16:creationId xmlns:a16="http://schemas.microsoft.com/office/drawing/2014/main" id="{909F01D1-48F5-4534-B2DD-C545E81BF151}"/>
                    </a:ext>
                  </a:extLst>
                </p:cNvPr>
                <p:cNvSpPr/>
                <p:nvPr/>
              </p:nvSpPr>
              <p:spPr>
                <a:xfrm rot="-3388607">
                  <a:off x="7298367" y="3342670"/>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83" name="Freeform: Shape 282">
                  <a:extLst>
                    <a:ext uri="{FF2B5EF4-FFF2-40B4-BE49-F238E27FC236}">
                      <a16:creationId xmlns:a16="http://schemas.microsoft.com/office/drawing/2014/main" id="{337A9973-F654-430A-917F-8723411FD7CF}"/>
                    </a:ext>
                  </a:extLst>
                </p:cNvPr>
                <p:cNvSpPr/>
                <p:nvPr/>
              </p:nvSpPr>
              <p:spPr>
                <a:xfrm>
                  <a:off x="7088422" y="3520974"/>
                  <a:ext cx="724385" cy="476023"/>
                </a:xfrm>
                <a:custGeom>
                  <a:avLst/>
                  <a:gdLst>
                    <a:gd name="connsiteX0" fmla="*/ 693215 w 724385"/>
                    <a:gd name="connsiteY0" fmla="*/ 476023 h 476023"/>
                    <a:gd name="connsiteX1" fmla="*/ 693215 w 724385"/>
                    <a:gd name="connsiteY1" fmla="*/ 472423 h 476023"/>
                    <a:gd name="connsiteX2" fmla="*/ 692031 w 724385"/>
                    <a:gd name="connsiteY2" fmla="*/ 474223 h 476023"/>
                    <a:gd name="connsiteX3" fmla="*/ 0 w 724385"/>
                    <a:gd name="connsiteY3" fmla="*/ 15774 h 476023"/>
                    <a:gd name="connsiteX4" fmla="*/ 10469 w 724385"/>
                    <a:gd name="connsiteY4" fmla="*/ 0 h 476023"/>
                    <a:gd name="connsiteX5" fmla="*/ 724385 w 724385"/>
                    <a:gd name="connsiteY5" fmla="*/ 472944 h 476023"/>
                    <a:gd name="connsiteX6" fmla="*/ 698284 w 724385"/>
                    <a:gd name="connsiteY6" fmla="*/ 475786 h 476023"/>
                    <a:gd name="connsiteX7" fmla="*/ 693215 w 724385"/>
                    <a:gd name="connsiteY7" fmla="*/ 476023 h 47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4385" h="476023">
                      <a:moveTo>
                        <a:pt x="693215" y="476023"/>
                      </a:moveTo>
                      <a:lnTo>
                        <a:pt x="693215" y="472423"/>
                      </a:lnTo>
                      <a:lnTo>
                        <a:pt x="692031" y="474223"/>
                      </a:lnTo>
                      <a:lnTo>
                        <a:pt x="0" y="15774"/>
                      </a:lnTo>
                      <a:lnTo>
                        <a:pt x="10469" y="0"/>
                      </a:lnTo>
                      <a:lnTo>
                        <a:pt x="724385" y="472944"/>
                      </a:lnTo>
                      <a:lnTo>
                        <a:pt x="698284" y="475786"/>
                      </a:lnTo>
                      <a:cubicBezTo>
                        <a:pt x="696579" y="475928"/>
                        <a:pt x="694921" y="476023"/>
                        <a:pt x="693215" y="476023"/>
                      </a:cubicBez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84" name="Freeform: Shape 283">
                  <a:extLst>
                    <a:ext uri="{FF2B5EF4-FFF2-40B4-BE49-F238E27FC236}">
                      <a16:creationId xmlns:a16="http://schemas.microsoft.com/office/drawing/2014/main" id="{A0B6F3F9-6824-48BB-87D9-52B9AC5EB844}"/>
                    </a:ext>
                  </a:extLst>
                </p:cNvPr>
                <p:cNvSpPr/>
                <p:nvPr/>
              </p:nvSpPr>
              <p:spPr>
                <a:xfrm rot="-3388417">
                  <a:off x="7777184" y="3511965"/>
                  <a:ext cx="18947" cy="76736"/>
                </a:xfrm>
                <a:custGeom>
                  <a:avLst/>
                  <a:gdLst>
                    <a:gd name="connsiteX0" fmla="*/ 0 w 18947"/>
                    <a:gd name="connsiteY0" fmla="*/ 0 h 76736"/>
                    <a:gd name="connsiteX1" fmla="*/ 18947 w 18947"/>
                    <a:gd name="connsiteY1" fmla="*/ 0 h 76736"/>
                    <a:gd name="connsiteX2" fmla="*/ 18947 w 18947"/>
                    <a:gd name="connsiteY2" fmla="*/ 76737 h 76736"/>
                    <a:gd name="connsiteX3" fmla="*/ 0 w 18947"/>
                    <a:gd name="connsiteY3" fmla="*/ 76737 h 76736"/>
                  </a:gdLst>
                  <a:ahLst/>
                  <a:cxnLst>
                    <a:cxn ang="0">
                      <a:pos x="connsiteX0" y="connsiteY0"/>
                    </a:cxn>
                    <a:cxn ang="0">
                      <a:pos x="connsiteX1" y="connsiteY1"/>
                    </a:cxn>
                    <a:cxn ang="0">
                      <a:pos x="connsiteX2" y="connsiteY2"/>
                    </a:cxn>
                    <a:cxn ang="0">
                      <a:pos x="connsiteX3" y="connsiteY3"/>
                    </a:cxn>
                  </a:cxnLst>
                  <a:rect l="l" t="t" r="r" b="b"/>
                  <a:pathLst>
                    <a:path w="18947" h="76736">
                      <a:moveTo>
                        <a:pt x="0" y="0"/>
                      </a:moveTo>
                      <a:lnTo>
                        <a:pt x="18947" y="0"/>
                      </a:lnTo>
                      <a:lnTo>
                        <a:pt x="18947" y="76737"/>
                      </a:lnTo>
                      <a:lnTo>
                        <a:pt x="0" y="76737"/>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85" name="Freeform: Shape 284">
                  <a:extLst>
                    <a:ext uri="{FF2B5EF4-FFF2-40B4-BE49-F238E27FC236}">
                      <a16:creationId xmlns:a16="http://schemas.microsoft.com/office/drawing/2014/main" id="{FC088BF7-F65F-4B8E-9BB0-FC93B8C43D71}"/>
                    </a:ext>
                  </a:extLst>
                </p:cNvPr>
                <p:cNvSpPr/>
                <p:nvPr/>
              </p:nvSpPr>
              <p:spPr>
                <a:xfrm rot="-3388607">
                  <a:off x="7711465" y="3475946"/>
                  <a:ext cx="18948" cy="235393"/>
                </a:xfrm>
                <a:custGeom>
                  <a:avLst/>
                  <a:gdLst>
                    <a:gd name="connsiteX0" fmla="*/ 0 w 18948"/>
                    <a:gd name="connsiteY0" fmla="*/ 0 h 235393"/>
                    <a:gd name="connsiteX1" fmla="*/ 18949 w 18948"/>
                    <a:gd name="connsiteY1" fmla="*/ 0 h 235393"/>
                    <a:gd name="connsiteX2" fmla="*/ 18949 w 18948"/>
                    <a:gd name="connsiteY2" fmla="*/ 235393 h 235393"/>
                    <a:gd name="connsiteX3" fmla="*/ 0 w 18948"/>
                    <a:gd name="connsiteY3" fmla="*/ 235393 h 235393"/>
                  </a:gdLst>
                  <a:ahLst/>
                  <a:cxnLst>
                    <a:cxn ang="0">
                      <a:pos x="connsiteX0" y="connsiteY0"/>
                    </a:cxn>
                    <a:cxn ang="0">
                      <a:pos x="connsiteX1" y="connsiteY1"/>
                    </a:cxn>
                    <a:cxn ang="0">
                      <a:pos x="connsiteX2" y="connsiteY2"/>
                    </a:cxn>
                    <a:cxn ang="0">
                      <a:pos x="connsiteX3" y="connsiteY3"/>
                    </a:cxn>
                  </a:cxnLst>
                  <a:rect l="l" t="t" r="r" b="b"/>
                  <a:pathLst>
                    <a:path w="18948" h="235393">
                      <a:moveTo>
                        <a:pt x="0" y="0"/>
                      </a:moveTo>
                      <a:lnTo>
                        <a:pt x="18949" y="0"/>
                      </a:lnTo>
                      <a:lnTo>
                        <a:pt x="18949" y="235393"/>
                      </a:lnTo>
                      <a:lnTo>
                        <a:pt x="0" y="235393"/>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86" name="Freeform: Shape 285">
                  <a:extLst>
                    <a:ext uri="{FF2B5EF4-FFF2-40B4-BE49-F238E27FC236}">
                      <a16:creationId xmlns:a16="http://schemas.microsoft.com/office/drawing/2014/main" id="{B3110BF7-B68D-46B4-9E41-D7383DFDAB34}"/>
                    </a:ext>
                  </a:extLst>
                </p:cNvPr>
                <p:cNvSpPr/>
                <p:nvPr/>
              </p:nvSpPr>
              <p:spPr>
                <a:xfrm rot="-3388417">
                  <a:off x="7777184" y="3511965"/>
                  <a:ext cx="18947" cy="76736"/>
                </a:xfrm>
                <a:custGeom>
                  <a:avLst/>
                  <a:gdLst>
                    <a:gd name="connsiteX0" fmla="*/ 0 w 18947"/>
                    <a:gd name="connsiteY0" fmla="*/ 0 h 76736"/>
                    <a:gd name="connsiteX1" fmla="*/ 18947 w 18947"/>
                    <a:gd name="connsiteY1" fmla="*/ 0 h 76736"/>
                    <a:gd name="connsiteX2" fmla="*/ 18947 w 18947"/>
                    <a:gd name="connsiteY2" fmla="*/ 76737 h 76736"/>
                    <a:gd name="connsiteX3" fmla="*/ 0 w 18947"/>
                    <a:gd name="connsiteY3" fmla="*/ 76737 h 76736"/>
                  </a:gdLst>
                  <a:ahLst/>
                  <a:cxnLst>
                    <a:cxn ang="0">
                      <a:pos x="connsiteX0" y="connsiteY0"/>
                    </a:cxn>
                    <a:cxn ang="0">
                      <a:pos x="connsiteX1" y="connsiteY1"/>
                    </a:cxn>
                    <a:cxn ang="0">
                      <a:pos x="connsiteX2" y="connsiteY2"/>
                    </a:cxn>
                    <a:cxn ang="0">
                      <a:pos x="connsiteX3" y="connsiteY3"/>
                    </a:cxn>
                  </a:cxnLst>
                  <a:rect l="l" t="t" r="r" b="b"/>
                  <a:pathLst>
                    <a:path w="18947" h="76736">
                      <a:moveTo>
                        <a:pt x="0" y="0"/>
                      </a:moveTo>
                      <a:lnTo>
                        <a:pt x="18947" y="0"/>
                      </a:lnTo>
                      <a:lnTo>
                        <a:pt x="18947" y="76737"/>
                      </a:lnTo>
                      <a:lnTo>
                        <a:pt x="0" y="76737"/>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87" name="Freeform: Shape 286">
                  <a:extLst>
                    <a:ext uri="{FF2B5EF4-FFF2-40B4-BE49-F238E27FC236}">
                      <a16:creationId xmlns:a16="http://schemas.microsoft.com/office/drawing/2014/main" id="{1443EF2B-CFA2-46F2-9B68-6424319A9599}"/>
                    </a:ext>
                  </a:extLst>
                </p:cNvPr>
                <p:cNvSpPr/>
                <p:nvPr/>
              </p:nvSpPr>
              <p:spPr>
                <a:xfrm rot="-3388607">
                  <a:off x="7513098" y="3369400"/>
                  <a:ext cx="18948" cy="711248"/>
                </a:xfrm>
                <a:custGeom>
                  <a:avLst/>
                  <a:gdLst>
                    <a:gd name="connsiteX0" fmla="*/ 0 w 18948"/>
                    <a:gd name="connsiteY0" fmla="*/ 0 h 711248"/>
                    <a:gd name="connsiteX1" fmla="*/ 18949 w 18948"/>
                    <a:gd name="connsiteY1" fmla="*/ 0 h 711248"/>
                    <a:gd name="connsiteX2" fmla="*/ 18949 w 18948"/>
                    <a:gd name="connsiteY2" fmla="*/ 711249 h 711248"/>
                    <a:gd name="connsiteX3" fmla="*/ 0 w 18948"/>
                    <a:gd name="connsiteY3" fmla="*/ 711249 h 711248"/>
                  </a:gdLst>
                  <a:ahLst/>
                  <a:cxnLst>
                    <a:cxn ang="0">
                      <a:pos x="connsiteX0" y="connsiteY0"/>
                    </a:cxn>
                    <a:cxn ang="0">
                      <a:pos x="connsiteX1" y="connsiteY1"/>
                    </a:cxn>
                    <a:cxn ang="0">
                      <a:pos x="connsiteX2" y="connsiteY2"/>
                    </a:cxn>
                    <a:cxn ang="0">
                      <a:pos x="connsiteX3" y="connsiteY3"/>
                    </a:cxn>
                  </a:cxnLst>
                  <a:rect l="l" t="t" r="r" b="b"/>
                  <a:pathLst>
                    <a:path w="18948" h="711248">
                      <a:moveTo>
                        <a:pt x="0" y="0"/>
                      </a:moveTo>
                      <a:lnTo>
                        <a:pt x="18949" y="0"/>
                      </a:lnTo>
                      <a:lnTo>
                        <a:pt x="18949" y="711249"/>
                      </a:lnTo>
                      <a:lnTo>
                        <a:pt x="0" y="711249"/>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88" name="Freeform: Shape 287">
                  <a:extLst>
                    <a:ext uri="{FF2B5EF4-FFF2-40B4-BE49-F238E27FC236}">
                      <a16:creationId xmlns:a16="http://schemas.microsoft.com/office/drawing/2014/main" id="{94351C82-F777-4755-8DFB-02AB1B3D183A}"/>
                    </a:ext>
                  </a:extLst>
                </p:cNvPr>
                <p:cNvSpPr/>
                <p:nvPr/>
              </p:nvSpPr>
              <p:spPr>
                <a:xfrm rot="-3388607">
                  <a:off x="7579194" y="3404849"/>
                  <a:ext cx="18948" cy="552646"/>
                </a:xfrm>
                <a:custGeom>
                  <a:avLst/>
                  <a:gdLst>
                    <a:gd name="connsiteX0" fmla="*/ 0 w 18948"/>
                    <a:gd name="connsiteY0" fmla="*/ 0 h 552646"/>
                    <a:gd name="connsiteX1" fmla="*/ 18949 w 18948"/>
                    <a:gd name="connsiteY1" fmla="*/ 0 h 552646"/>
                    <a:gd name="connsiteX2" fmla="*/ 18949 w 18948"/>
                    <a:gd name="connsiteY2" fmla="*/ 552646 h 552646"/>
                    <a:gd name="connsiteX3" fmla="*/ 0 w 18948"/>
                    <a:gd name="connsiteY3" fmla="*/ 552646 h 552646"/>
                  </a:gdLst>
                  <a:ahLst/>
                  <a:cxnLst>
                    <a:cxn ang="0">
                      <a:pos x="connsiteX0" y="connsiteY0"/>
                    </a:cxn>
                    <a:cxn ang="0">
                      <a:pos x="connsiteX1" y="connsiteY1"/>
                    </a:cxn>
                    <a:cxn ang="0">
                      <a:pos x="connsiteX2" y="connsiteY2"/>
                    </a:cxn>
                    <a:cxn ang="0">
                      <a:pos x="connsiteX3" y="connsiteY3"/>
                    </a:cxn>
                  </a:cxnLst>
                  <a:rect l="l" t="t" r="r" b="b"/>
                  <a:pathLst>
                    <a:path w="18948" h="552646">
                      <a:moveTo>
                        <a:pt x="0" y="0"/>
                      </a:moveTo>
                      <a:lnTo>
                        <a:pt x="18949" y="0"/>
                      </a:lnTo>
                      <a:lnTo>
                        <a:pt x="18949" y="552646"/>
                      </a:lnTo>
                      <a:lnTo>
                        <a:pt x="0" y="552646"/>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89" name="Freeform: Shape 288">
                  <a:extLst>
                    <a:ext uri="{FF2B5EF4-FFF2-40B4-BE49-F238E27FC236}">
                      <a16:creationId xmlns:a16="http://schemas.microsoft.com/office/drawing/2014/main" id="{B8AF64D2-DE92-47AB-8414-88FECF2A072C}"/>
                    </a:ext>
                  </a:extLst>
                </p:cNvPr>
                <p:cNvSpPr/>
                <p:nvPr/>
              </p:nvSpPr>
              <p:spPr>
                <a:xfrm rot="-3388607">
                  <a:off x="7645291" y="3440375"/>
                  <a:ext cx="18948" cy="393995"/>
                </a:xfrm>
                <a:custGeom>
                  <a:avLst/>
                  <a:gdLst>
                    <a:gd name="connsiteX0" fmla="*/ 0 w 18948"/>
                    <a:gd name="connsiteY0" fmla="*/ 0 h 393995"/>
                    <a:gd name="connsiteX1" fmla="*/ 18949 w 18948"/>
                    <a:gd name="connsiteY1" fmla="*/ 0 h 393995"/>
                    <a:gd name="connsiteX2" fmla="*/ 18949 w 18948"/>
                    <a:gd name="connsiteY2" fmla="*/ 393996 h 393995"/>
                    <a:gd name="connsiteX3" fmla="*/ 0 w 18948"/>
                    <a:gd name="connsiteY3" fmla="*/ 393996 h 393995"/>
                  </a:gdLst>
                  <a:ahLst/>
                  <a:cxnLst>
                    <a:cxn ang="0">
                      <a:pos x="connsiteX0" y="connsiteY0"/>
                    </a:cxn>
                    <a:cxn ang="0">
                      <a:pos x="connsiteX1" y="connsiteY1"/>
                    </a:cxn>
                    <a:cxn ang="0">
                      <a:pos x="connsiteX2" y="connsiteY2"/>
                    </a:cxn>
                    <a:cxn ang="0">
                      <a:pos x="connsiteX3" y="connsiteY3"/>
                    </a:cxn>
                  </a:cxnLst>
                  <a:rect l="l" t="t" r="r" b="b"/>
                  <a:pathLst>
                    <a:path w="18948" h="393995">
                      <a:moveTo>
                        <a:pt x="0" y="0"/>
                      </a:moveTo>
                      <a:lnTo>
                        <a:pt x="18949" y="0"/>
                      </a:lnTo>
                      <a:lnTo>
                        <a:pt x="18949" y="393996"/>
                      </a:lnTo>
                      <a:lnTo>
                        <a:pt x="0" y="393996"/>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90" name="Freeform: Shape 289">
                  <a:extLst>
                    <a:ext uri="{FF2B5EF4-FFF2-40B4-BE49-F238E27FC236}">
                      <a16:creationId xmlns:a16="http://schemas.microsoft.com/office/drawing/2014/main" id="{F2083C36-9272-43AE-B590-D60F87170417}"/>
                    </a:ext>
                  </a:extLst>
                </p:cNvPr>
                <p:cNvSpPr/>
                <p:nvPr/>
              </p:nvSpPr>
              <p:spPr>
                <a:xfrm rot="-3388607">
                  <a:off x="7711465" y="3475946"/>
                  <a:ext cx="18948" cy="235393"/>
                </a:xfrm>
                <a:custGeom>
                  <a:avLst/>
                  <a:gdLst>
                    <a:gd name="connsiteX0" fmla="*/ 0 w 18948"/>
                    <a:gd name="connsiteY0" fmla="*/ 0 h 235393"/>
                    <a:gd name="connsiteX1" fmla="*/ 18949 w 18948"/>
                    <a:gd name="connsiteY1" fmla="*/ 0 h 235393"/>
                    <a:gd name="connsiteX2" fmla="*/ 18949 w 18948"/>
                    <a:gd name="connsiteY2" fmla="*/ 235393 h 235393"/>
                    <a:gd name="connsiteX3" fmla="*/ 0 w 18948"/>
                    <a:gd name="connsiteY3" fmla="*/ 235393 h 235393"/>
                  </a:gdLst>
                  <a:ahLst/>
                  <a:cxnLst>
                    <a:cxn ang="0">
                      <a:pos x="connsiteX0" y="connsiteY0"/>
                    </a:cxn>
                    <a:cxn ang="0">
                      <a:pos x="connsiteX1" y="connsiteY1"/>
                    </a:cxn>
                    <a:cxn ang="0">
                      <a:pos x="connsiteX2" y="connsiteY2"/>
                    </a:cxn>
                    <a:cxn ang="0">
                      <a:pos x="connsiteX3" y="connsiteY3"/>
                    </a:cxn>
                  </a:cxnLst>
                  <a:rect l="l" t="t" r="r" b="b"/>
                  <a:pathLst>
                    <a:path w="18948" h="235393">
                      <a:moveTo>
                        <a:pt x="0" y="0"/>
                      </a:moveTo>
                      <a:lnTo>
                        <a:pt x="18949" y="0"/>
                      </a:lnTo>
                      <a:lnTo>
                        <a:pt x="18949" y="235393"/>
                      </a:lnTo>
                      <a:lnTo>
                        <a:pt x="0" y="235393"/>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91" name="Freeform: Shape 290">
                  <a:extLst>
                    <a:ext uri="{FF2B5EF4-FFF2-40B4-BE49-F238E27FC236}">
                      <a16:creationId xmlns:a16="http://schemas.microsoft.com/office/drawing/2014/main" id="{6FE5DF5F-EB32-473B-947B-7A8D1C5CD4DA}"/>
                    </a:ext>
                  </a:extLst>
                </p:cNvPr>
                <p:cNvSpPr/>
                <p:nvPr/>
              </p:nvSpPr>
              <p:spPr>
                <a:xfrm rot="-3388607">
                  <a:off x="7579194" y="3404849"/>
                  <a:ext cx="18948" cy="552646"/>
                </a:xfrm>
                <a:custGeom>
                  <a:avLst/>
                  <a:gdLst>
                    <a:gd name="connsiteX0" fmla="*/ 0 w 18948"/>
                    <a:gd name="connsiteY0" fmla="*/ 0 h 552646"/>
                    <a:gd name="connsiteX1" fmla="*/ 18949 w 18948"/>
                    <a:gd name="connsiteY1" fmla="*/ 0 h 552646"/>
                    <a:gd name="connsiteX2" fmla="*/ 18949 w 18948"/>
                    <a:gd name="connsiteY2" fmla="*/ 552646 h 552646"/>
                    <a:gd name="connsiteX3" fmla="*/ 0 w 18948"/>
                    <a:gd name="connsiteY3" fmla="*/ 552646 h 552646"/>
                  </a:gdLst>
                  <a:ahLst/>
                  <a:cxnLst>
                    <a:cxn ang="0">
                      <a:pos x="connsiteX0" y="connsiteY0"/>
                    </a:cxn>
                    <a:cxn ang="0">
                      <a:pos x="connsiteX1" y="connsiteY1"/>
                    </a:cxn>
                    <a:cxn ang="0">
                      <a:pos x="connsiteX2" y="connsiteY2"/>
                    </a:cxn>
                    <a:cxn ang="0">
                      <a:pos x="connsiteX3" y="connsiteY3"/>
                    </a:cxn>
                  </a:cxnLst>
                  <a:rect l="l" t="t" r="r" b="b"/>
                  <a:pathLst>
                    <a:path w="18948" h="552646">
                      <a:moveTo>
                        <a:pt x="0" y="0"/>
                      </a:moveTo>
                      <a:lnTo>
                        <a:pt x="18949" y="0"/>
                      </a:lnTo>
                      <a:lnTo>
                        <a:pt x="18949" y="552646"/>
                      </a:lnTo>
                      <a:lnTo>
                        <a:pt x="0" y="552646"/>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92" name="Freeform: Shape 291">
                  <a:extLst>
                    <a:ext uri="{FF2B5EF4-FFF2-40B4-BE49-F238E27FC236}">
                      <a16:creationId xmlns:a16="http://schemas.microsoft.com/office/drawing/2014/main" id="{1B275E41-B212-4A15-ADCE-DFB6B8BB395A}"/>
                    </a:ext>
                  </a:extLst>
                </p:cNvPr>
                <p:cNvSpPr/>
                <p:nvPr/>
              </p:nvSpPr>
              <p:spPr>
                <a:xfrm rot="-3388607">
                  <a:off x="7645291" y="3440375"/>
                  <a:ext cx="18948" cy="393995"/>
                </a:xfrm>
                <a:custGeom>
                  <a:avLst/>
                  <a:gdLst>
                    <a:gd name="connsiteX0" fmla="*/ 0 w 18948"/>
                    <a:gd name="connsiteY0" fmla="*/ 0 h 393995"/>
                    <a:gd name="connsiteX1" fmla="*/ 18949 w 18948"/>
                    <a:gd name="connsiteY1" fmla="*/ 0 h 393995"/>
                    <a:gd name="connsiteX2" fmla="*/ 18949 w 18948"/>
                    <a:gd name="connsiteY2" fmla="*/ 393996 h 393995"/>
                    <a:gd name="connsiteX3" fmla="*/ 0 w 18948"/>
                    <a:gd name="connsiteY3" fmla="*/ 393996 h 393995"/>
                  </a:gdLst>
                  <a:ahLst/>
                  <a:cxnLst>
                    <a:cxn ang="0">
                      <a:pos x="connsiteX0" y="connsiteY0"/>
                    </a:cxn>
                    <a:cxn ang="0">
                      <a:pos x="connsiteX1" y="connsiteY1"/>
                    </a:cxn>
                    <a:cxn ang="0">
                      <a:pos x="connsiteX2" y="connsiteY2"/>
                    </a:cxn>
                    <a:cxn ang="0">
                      <a:pos x="connsiteX3" y="connsiteY3"/>
                    </a:cxn>
                  </a:cxnLst>
                  <a:rect l="l" t="t" r="r" b="b"/>
                  <a:pathLst>
                    <a:path w="18948" h="393995">
                      <a:moveTo>
                        <a:pt x="0" y="0"/>
                      </a:moveTo>
                      <a:lnTo>
                        <a:pt x="18949" y="0"/>
                      </a:lnTo>
                      <a:lnTo>
                        <a:pt x="18949" y="393996"/>
                      </a:lnTo>
                      <a:lnTo>
                        <a:pt x="0" y="393996"/>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93" name="Freeform: Shape 292">
                  <a:extLst>
                    <a:ext uri="{FF2B5EF4-FFF2-40B4-BE49-F238E27FC236}">
                      <a16:creationId xmlns:a16="http://schemas.microsoft.com/office/drawing/2014/main" id="{34174CF2-5840-465F-A61F-5B314DC508F3}"/>
                    </a:ext>
                  </a:extLst>
                </p:cNvPr>
                <p:cNvSpPr/>
                <p:nvPr/>
              </p:nvSpPr>
              <p:spPr>
                <a:xfrm rot="-3388607">
                  <a:off x="7430401" y="3342793"/>
                  <a:ext cx="18948" cy="830153"/>
                </a:xfrm>
                <a:custGeom>
                  <a:avLst/>
                  <a:gdLst>
                    <a:gd name="connsiteX0" fmla="*/ 0 w 18948"/>
                    <a:gd name="connsiteY0" fmla="*/ 0 h 830153"/>
                    <a:gd name="connsiteX1" fmla="*/ 18949 w 18948"/>
                    <a:gd name="connsiteY1" fmla="*/ 0 h 830153"/>
                    <a:gd name="connsiteX2" fmla="*/ 18949 w 18948"/>
                    <a:gd name="connsiteY2" fmla="*/ 830153 h 830153"/>
                    <a:gd name="connsiteX3" fmla="*/ 0 w 18948"/>
                    <a:gd name="connsiteY3" fmla="*/ 830153 h 830153"/>
                  </a:gdLst>
                  <a:ahLst/>
                  <a:cxnLst>
                    <a:cxn ang="0">
                      <a:pos x="connsiteX0" y="connsiteY0"/>
                    </a:cxn>
                    <a:cxn ang="0">
                      <a:pos x="connsiteX1" y="connsiteY1"/>
                    </a:cxn>
                    <a:cxn ang="0">
                      <a:pos x="connsiteX2" y="connsiteY2"/>
                    </a:cxn>
                    <a:cxn ang="0">
                      <a:pos x="connsiteX3" y="connsiteY3"/>
                    </a:cxn>
                  </a:cxnLst>
                  <a:rect l="l" t="t" r="r" b="b"/>
                  <a:pathLst>
                    <a:path w="18948" h="830153">
                      <a:moveTo>
                        <a:pt x="0" y="0"/>
                      </a:moveTo>
                      <a:lnTo>
                        <a:pt x="18949" y="0"/>
                      </a:lnTo>
                      <a:lnTo>
                        <a:pt x="18949" y="830153"/>
                      </a:lnTo>
                      <a:lnTo>
                        <a:pt x="0" y="830153"/>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94" name="Freeform: Shape 293">
                  <a:extLst>
                    <a:ext uri="{FF2B5EF4-FFF2-40B4-BE49-F238E27FC236}">
                      <a16:creationId xmlns:a16="http://schemas.microsoft.com/office/drawing/2014/main" id="{6927EE8E-EABE-4C79-91CC-0815467732E2}"/>
                    </a:ext>
                  </a:extLst>
                </p:cNvPr>
                <p:cNvSpPr/>
                <p:nvPr/>
              </p:nvSpPr>
              <p:spPr>
                <a:xfrm rot="-3388607">
                  <a:off x="7513098" y="3369400"/>
                  <a:ext cx="18948" cy="711248"/>
                </a:xfrm>
                <a:custGeom>
                  <a:avLst/>
                  <a:gdLst>
                    <a:gd name="connsiteX0" fmla="*/ 0 w 18948"/>
                    <a:gd name="connsiteY0" fmla="*/ 0 h 711248"/>
                    <a:gd name="connsiteX1" fmla="*/ 18949 w 18948"/>
                    <a:gd name="connsiteY1" fmla="*/ 0 h 711248"/>
                    <a:gd name="connsiteX2" fmla="*/ 18949 w 18948"/>
                    <a:gd name="connsiteY2" fmla="*/ 711249 h 711248"/>
                    <a:gd name="connsiteX3" fmla="*/ 0 w 18948"/>
                    <a:gd name="connsiteY3" fmla="*/ 711249 h 711248"/>
                  </a:gdLst>
                  <a:ahLst/>
                  <a:cxnLst>
                    <a:cxn ang="0">
                      <a:pos x="connsiteX0" y="connsiteY0"/>
                    </a:cxn>
                    <a:cxn ang="0">
                      <a:pos x="connsiteX1" y="connsiteY1"/>
                    </a:cxn>
                    <a:cxn ang="0">
                      <a:pos x="connsiteX2" y="connsiteY2"/>
                    </a:cxn>
                    <a:cxn ang="0">
                      <a:pos x="connsiteX3" y="connsiteY3"/>
                    </a:cxn>
                  </a:cxnLst>
                  <a:rect l="l" t="t" r="r" b="b"/>
                  <a:pathLst>
                    <a:path w="18948" h="711248">
                      <a:moveTo>
                        <a:pt x="0" y="0"/>
                      </a:moveTo>
                      <a:lnTo>
                        <a:pt x="18949" y="0"/>
                      </a:lnTo>
                      <a:lnTo>
                        <a:pt x="18949" y="711249"/>
                      </a:lnTo>
                      <a:lnTo>
                        <a:pt x="0" y="711249"/>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95" name="Freeform: Shape 294">
                  <a:extLst>
                    <a:ext uri="{FF2B5EF4-FFF2-40B4-BE49-F238E27FC236}">
                      <a16:creationId xmlns:a16="http://schemas.microsoft.com/office/drawing/2014/main" id="{AD2203CD-6BA8-4989-8CC1-0BD716485A02}"/>
                    </a:ext>
                  </a:extLst>
                </p:cNvPr>
                <p:cNvSpPr/>
                <p:nvPr/>
              </p:nvSpPr>
              <p:spPr>
                <a:xfrm rot="-3388607">
                  <a:off x="7166108" y="3342703"/>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96" name="Freeform: Shape 295">
                  <a:extLst>
                    <a:ext uri="{FF2B5EF4-FFF2-40B4-BE49-F238E27FC236}">
                      <a16:creationId xmlns:a16="http://schemas.microsoft.com/office/drawing/2014/main" id="{2C317A69-768D-43A8-B674-B73B85D0F6B2}"/>
                    </a:ext>
                  </a:extLst>
                </p:cNvPr>
                <p:cNvSpPr/>
                <p:nvPr/>
              </p:nvSpPr>
              <p:spPr>
                <a:xfrm rot="-3388607">
                  <a:off x="7298367" y="3342670"/>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97" name="Freeform: Shape 296">
                  <a:extLst>
                    <a:ext uri="{FF2B5EF4-FFF2-40B4-BE49-F238E27FC236}">
                      <a16:creationId xmlns:a16="http://schemas.microsoft.com/office/drawing/2014/main" id="{7BAD0883-A6B2-4CDF-9D4E-3FC54EF9CBBB}"/>
                    </a:ext>
                  </a:extLst>
                </p:cNvPr>
                <p:cNvSpPr/>
                <p:nvPr/>
              </p:nvSpPr>
              <p:spPr>
                <a:xfrm rot="-3388607">
                  <a:off x="6769415" y="3342674"/>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98" name="Freeform: Shape 297">
                  <a:extLst>
                    <a:ext uri="{FF2B5EF4-FFF2-40B4-BE49-F238E27FC236}">
                      <a16:creationId xmlns:a16="http://schemas.microsoft.com/office/drawing/2014/main" id="{A8C79BA2-D022-40D1-9CD3-ADCCE1C1B6A2}"/>
                    </a:ext>
                  </a:extLst>
                </p:cNvPr>
                <p:cNvSpPr/>
                <p:nvPr/>
              </p:nvSpPr>
              <p:spPr>
                <a:xfrm rot="-3388607">
                  <a:off x="6901638" y="3342681"/>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99" name="Freeform: Shape 298">
                  <a:extLst>
                    <a:ext uri="{FF2B5EF4-FFF2-40B4-BE49-F238E27FC236}">
                      <a16:creationId xmlns:a16="http://schemas.microsoft.com/office/drawing/2014/main" id="{3311C692-E3F4-4DCE-B2B6-418D1AF68F2D}"/>
                    </a:ext>
                  </a:extLst>
                </p:cNvPr>
                <p:cNvSpPr/>
                <p:nvPr/>
              </p:nvSpPr>
              <p:spPr>
                <a:xfrm rot="-3388607">
                  <a:off x="6372696" y="3342733"/>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0" name="Freeform: Shape 299">
                  <a:extLst>
                    <a:ext uri="{FF2B5EF4-FFF2-40B4-BE49-F238E27FC236}">
                      <a16:creationId xmlns:a16="http://schemas.microsoft.com/office/drawing/2014/main" id="{5A6B8ACA-EAFE-4F5F-8965-9163BD966EC8}"/>
                    </a:ext>
                  </a:extLst>
                </p:cNvPr>
                <p:cNvSpPr/>
                <p:nvPr/>
              </p:nvSpPr>
              <p:spPr>
                <a:xfrm rot="-3388607">
                  <a:off x="6504945" y="3342700"/>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1" name="Freeform: Shape 300">
                  <a:extLst>
                    <a:ext uri="{FF2B5EF4-FFF2-40B4-BE49-F238E27FC236}">
                      <a16:creationId xmlns:a16="http://schemas.microsoft.com/office/drawing/2014/main" id="{A229773D-D4DD-4B69-B286-EBFC804DA13B}"/>
                    </a:ext>
                  </a:extLst>
                </p:cNvPr>
                <p:cNvSpPr/>
                <p:nvPr/>
              </p:nvSpPr>
              <p:spPr>
                <a:xfrm rot="-3388607">
                  <a:off x="6504945" y="3342700"/>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2" name="Freeform: Shape 301">
                  <a:extLst>
                    <a:ext uri="{FF2B5EF4-FFF2-40B4-BE49-F238E27FC236}">
                      <a16:creationId xmlns:a16="http://schemas.microsoft.com/office/drawing/2014/main" id="{8800E8CB-B11F-4863-BEDC-29AF697689D9}"/>
                    </a:ext>
                  </a:extLst>
                </p:cNvPr>
                <p:cNvSpPr/>
                <p:nvPr/>
              </p:nvSpPr>
              <p:spPr>
                <a:xfrm rot="-3388607">
                  <a:off x="6637175" y="3342707"/>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3" name="Freeform: Shape 302">
                  <a:extLst>
                    <a:ext uri="{FF2B5EF4-FFF2-40B4-BE49-F238E27FC236}">
                      <a16:creationId xmlns:a16="http://schemas.microsoft.com/office/drawing/2014/main" id="{3EA6DDB2-CDFA-4D01-8C12-E21F56013907}"/>
                    </a:ext>
                  </a:extLst>
                </p:cNvPr>
                <p:cNvSpPr/>
                <p:nvPr/>
              </p:nvSpPr>
              <p:spPr>
                <a:xfrm rot="-3388607">
                  <a:off x="6637175" y="3342707"/>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4" name="Freeform: Shape 303">
                  <a:extLst>
                    <a:ext uri="{FF2B5EF4-FFF2-40B4-BE49-F238E27FC236}">
                      <a16:creationId xmlns:a16="http://schemas.microsoft.com/office/drawing/2014/main" id="{F0C74B0D-31C6-4D56-8E6A-3BD3FEF23DD2}"/>
                    </a:ext>
                  </a:extLst>
                </p:cNvPr>
                <p:cNvSpPr/>
                <p:nvPr/>
              </p:nvSpPr>
              <p:spPr>
                <a:xfrm rot="-3388607">
                  <a:off x="6769415" y="3342674"/>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5" name="Freeform: Shape 304">
                  <a:extLst>
                    <a:ext uri="{FF2B5EF4-FFF2-40B4-BE49-F238E27FC236}">
                      <a16:creationId xmlns:a16="http://schemas.microsoft.com/office/drawing/2014/main" id="{6F940D5D-AAE0-4A2C-8806-8745CD5D9544}"/>
                    </a:ext>
                  </a:extLst>
                </p:cNvPr>
                <p:cNvSpPr/>
                <p:nvPr/>
              </p:nvSpPr>
              <p:spPr>
                <a:xfrm rot="-3388607">
                  <a:off x="7033896" y="3342696"/>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6" name="Freeform: Shape 305">
                  <a:extLst>
                    <a:ext uri="{FF2B5EF4-FFF2-40B4-BE49-F238E27FC236}">
                      <a16:creationId xmlns:a16="http://schemas.microsoft.com/office/drawing/2014/main" id="{175526C0-A2DE-4D0F-8B8B-5E3700002BA4}"/>
                    </a:ext>
                  </a:extLst>
                </p:cNvPr>
                <p:cNvSpPr/>
                <p:nvPr/>
              </p:nvSpPr>
              <p:spPr>
                <a:xfrm rot="-3388607">
                  <a:off x="7166108" y="3342703"/>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7" name="Freeform: Shape 306">
                  <a:extLst>
                    <a:ext uri="{FF2B5EF4-FFF2-40B4-BE49-F238E27FC236}">
                      <a16:creationId xmlns:a16="http://schemas.microsoft.com/office/drawing/2014/main" id="{1DA29420-14F7-44A4-AE9B-0575181BE5B7}"/>
                    </a:ext>
                  </a:extLst>
                </p:cNvPr>
                <p:cNvSpPr/>
                <p:nvPr/>
              </p:nvSpPr>
              <p:spPr>
                <a:xfrm rot="-3388607">
                  <a:off x="6901638" y="3342681"/>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08" name="Freeform: Shape 307">
                  <a:extLst>
                    <a:ext uri="{FF2B5EF4-FFF2-40B4-BE49-F238E27FC236}">
                      <a16:creationId xmlns:a16="http://schemas.microsoft.com/office/drawing/2014/main" id="{C8DE56CD-56B0-4226-91CD-9DD78A60837E}"/>
                    </a:ext>
                  </a:extLst>
                </p:cNvPr>
                <p:cNvSpPr/>
                <p:nvPr/>
              </p:nvSpPr>
              <p:spPr>
                <a:xfrm rot="-3388607">
                  <a:off x="7033896" y="3342696"/>
                  <a:ext cx="18948" cy="830579"/>
                </a:xfrm>
                <a:custGeom>
                  <a:avLst/>
                  <a:gdLst>
                    <a:gd name="connsiteX0" fmla="*/ 0 w 18948"/>
                    <a:gd name="connsiteY0" fmla="*/ 0 h 830579"/>
                    <a:gd name="connsiteX1" fmla="*/ 18949 w 18948"/>
                    <a:gd name="connsiteY1" fmla="*/ 0 h 830579"/>
                    <a:gd name="connsiteX2" fmla="*/ 18949 w 18948"/>
                    <a:gd name="connsiteY2" fmla="*/ 830580 h 830579"/>
                    <a:gd name="connsiteX3" fmla="*/ 0 w 18948"/>
                    <a:gd name="connsiteY3" fmla="*/ 830580 h 830579"/>
                  </a:gdLst>
                  <a:ahLst/>
                  <a:cxnLst>
                    <a:cxn ang="0">
                      <a:pos x="connsiteX0" y="connsiteY0"/>
                    </a:cxn>
                    <a:cxn ang="0">
                      <a:pos x="connsiteX1" y="connsiteY1"/>
                    </a:cxn>
                    <a:cxn ang="0">
                      <a:pos x="connsiteX2" y="connsiteY2"/>
                    </a:cxn>
                    <a:cxn ang="0">
                      <a:pos x="connsiteX3" y="connsiteY3"/>
                    </a:cxn>
                  </a:cxnLst>
                  <a:rect l="l" t="t" r="r" b="b"/>
                  <a:pathLst>
                    <a:path w="18948" h="830579">
                      <a:moveTo>
                        <a:pt x="0" y="0"/>
                      </a:moveTo>
                      <a:lnTo>
                        <a:pt x="18949" y="0"/>
                      </a:lnTo>
                      <a:lnTo>
                        <a:pt x="18949" y="830580"/>
                      </a:lnTo>
                      <a:lnTo>
                        <a:pt x="0" y="830580"/>
                      </a:lnTo>
                      <a:close/>
                    </a:path>
                  </a:pathLst>
                </a:custGeom>
                <a:solidFill>
                  <a:srgbClr val="00BCEA">
                    <a:alpha val="30000"/>
                  </a:srgbClr>
                </a:solidFill>
                <a:ln w="473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grpSp>
      </p:grpSp>
      <p:grpSp>
        <p:nvGrpSpPr>
          <p:cNvPr id="584" name="Group 583">
            <a:extLst>
              <a:ext uri="{FF2B5EF4-FFF2-40B4-BE49-F238E27FC236}">
                <a16:creationId xmlns:a16="http://schemas.microsoft.com/office/drawing/2014/main" id="{D72BD8C8-4A3F-42C9-B3F2-9CF7FD371A46}"/>
              </a:ext>
            </a:extLst>
          </p:cNvPr>
          <p:cNvGrpSpPr/>
          <p:nvPr/>
        </p:nvGrpSpPr>
        <p:grpSpPr>
          <a:xfrm>
            <a:off x="4065413" y="454977"/>
            <a:ext cx="4276538" cy="4248039"/>
            <a:chOff x="3707709" y="454977"/>
            <a:chExt cx="4276538" cy="4248039"/>
          </a:xfrm>
        </p:grpSpPr>
        <p:grpSp>
          <p:nvGrpSpPr>
            <p:cNvPr id="444" name="Group 443">
              <a:extLst>
                <a:ext uri="{FF2B5EF4-FFF2-40B4-BE49-F238E27FC236}">
                  <a16:creationId xmlns:a16="http://schemas.microsoft.com/office/drawing/2014/main" id="{BE4B00F0-6C0D-4C8E-88EB-A7B5FB96CD53}"/>
                </a:ext>
              </a:extLst>
            </p:cNvPr>
            <p:cNvGrpSpPr/>
            <p:nvPr/>
          </p:nvGrpSpPr>
          <p:grpSpPr>
            <a:xfrm>
              <a:off x="5078437" y="1783987"/>
              <a:ext cx="1535082" cy="1590020"/>
              <a:chOff x="1151876" y="336756"/>
              <a:chExt cx="1774162" cy="1837656"/>
            </a:xfrm>
            <a:solidFill>
              <a:schemeClr val="bg2"/>
            </a:solidFill>
          </p:grpSpPr>
          <p:sp>
            <p:nvSpPr>
              <p:cNvPr id="445" name="TextBox 444">
                <a:extLst>
                  <a:ext uri="{FF2B5EF4-FFF2-40B4-BE49-F238E27FC236}">
                    <a16:creationId xmlns:a16="http://schemas.microsoft.com/office/drawing/2014/main" id="{E2B55E82-F33D-4B12-8102-BC028C6B452D}"/>
                  </a:ext>
                </a:extLst>
              </p:cNvPr>
              <p:cNvSpPr txBox="1"/>
              <p:nvPr/>
            </p:nvSpPr>
            <p:spPr>
              <a:xfrm>
                <a:off x="1354122" y="767394"/>
                <a:ext cx="1353480" cy="957259"/>
              </a:xfrm>
              <a:prstGeom prst="rect">
                <a:avLst/>
              </a:prstGeom>
              <a:noFill/>
            </p:spPr>
            <p:txBody>
              <a:bodyPr wrap="square" lIns="88900" tIns="38100" rIns="88900" bIns="38100" rtlCol="0" anchor="ctr">
                <a:noAutofit/>
              </a:bodyPr>
              <a:lstStyle/>
              <a:p>
                <a:pPr algn="ctr">
                  <a:defRPr/>
                </a:pPr>
                <a:r>
                  <a:rPr lang="en-US" sz="900">
                    <a:solidFill>
                      <a:schemeClr val="bg2"/>
                    </a:solidFill>
                    <a:latin typeface="CiscoSansTT Light" panose="020B0503020201020303" pitchFamily="34" charset="0"/>
                    <a:cs typeface="+mn-cs"/>
                  </a:rPr>
                  <a:t>Zero Trust</a:t>
                </a:r>
              </a:p>
              <a:p>
                <a:pPr algn="ctr">
                  <a:defRPr/>
                </a:pPr>
                <a:r>
                  <a:rPr lang="en-US" sz="900">
                    <a:solidFill>
                      <a:schemeClr val="bg2"/>
                    </a:solidFill>
                    <a:latin typeface="CiscoSansTT Light" panose="020B0503020201020303" pitchFamily="34" charset="0"/>
                    <a:cs typeface="+mn-cs"/>
                  </a:rPr>
                  <a:t>Forrester Wave</a:t>
                </a:r>
              </a:p>
              <a:p>
                <a:pPr algn="ctr">
                  <a:defRPr/>
                </a:pPr>
                <a:r>
                  <a:rPr lang="en-US" sz="900">
                    <a:solidFill>
                      <a:schemeClr val="bg2"/>
                    </a:solidFill>
                    <a:latin typeface="CiscoSansTT Light" panose="020B0503020201020303" pitchFamily="34" charset="0"/>
                    <a:cs typeface="+mn-cs"/>
                  </a:rPr>
                  <a:t>2019</a:t>
                </a:r>
              </a:p>
              <a:p>
                <a:pPr algn="ctr">
                  <a:defRPr/>
                </a:pPr>
                <a:r>
                  <a:rPr lang="en-US" sz="900">
                    <a:solidFill>
                      <a:schemeClr val="bg2"/>
                    </a:solidFill>
                    <a:latin typeface="CiscoSansTT Light" panose="020B0503020201020303" pitchFamily="34" charset="0"/>
                    <a:cs typeface="+mn-cs"/>
                  </a:rPr>
                  <a:t>Leader</a:t>
                </a:r>
              </a:p>
            </p:txBody>
          </p:sp>
          <p:grpSp>
            <p:nvGrpSpPr>
              <p:cNvPr id="446" name="Group 445">
                <a:extLst>
                  <a:ext uri="{FF2B5EF4-FFF2-40B4-BE49-F238E27FC236}">
                    <a16:creationId xmlns:a16="http://schemas.microsoft.com/office/drawing/2014/main" id="{9FD57929-C6C3-4FF0-85C3-FEDDBC77EA08}"/>
                  </a:ext>
                </a:extLst>
              </p:cNvPr>
              <p:cNvGrpSpPr/>
              <p:nvPr/>
            </p:nvGrpSpPr>
            <p:grpSpPr>
              <a:xfrm>
                <a:off x="1151876" y="336756"/>
                <a:ext cx="1774162" cy="1837656"/>
                <a:chOff x="1250277" y="438678"/>
                <a:chExt cx="1577359" cy="1633811"/>
              </a:xfrm>
              <a:grpFill/>
            </p:grpSpPr>
            <p:grpSp>
              <p:nvGrpSpPr>
                <p:cNvPr id="447" name="Group 446">
                  <a:extLst>
                    <a:ext uri="{FF2B5EF4-FFF2-40B4-BE49-F238E27FC236}">
                      <a16:creationId xmlns:a16="http://schemas.microsoft.com/office/drawing/2014/main" id="{ED1B15C9-C736-4412-8612-B0919CE8A802}"/>
                    </a:ext>
                  </a:extLst>
                </p:cNvPr>
                <p:cNvGrpSpPr/>
                <p:nvPr/>
              </p:nvGrpSpPr>
              <p:grpSpPr>
                <a:xfrm>
                  <a:off x="1662409" y="438678"/>
                  <a:ext cx="744531" cy="259659"/>
                  <a:chOff x="3535801" y="164442"/>
                  <a:chExt cx="2077447" cy="724520"/>
                </a:xfrm>
                <a:grpFill/>
              </p:grpSpPr>
              <p:sp>
                <p:nvSpPr>
                  <p:cNvPr id="486" name="Freeform: Shape 485">
                    <a:extLst>
                      <a:ext uri="{FF2B5EF4-FFF2-40B4-BE49-F238E27FC236}">
                        <a16:creationId xmlns:a16="http://schemas.microsoft.com/office/drawing/2014/main" id="{506C3A8F-3992-4837-8FD3-171986F198CC}"/>
                      </a:ext>
                    </a:extLst>
                  </p:cNvPr>
                  <p:cNvSpPr/>
                  <p:nvPr/>
                </p:nvSpPr>
                <p:spPr>
                  <a:xfrm>
                    <a:off x="4271802" y="164442"/>
                    <a:ext cx="605444" cy="614092"/>
                  </a:xfrm>
                  <a:custGeom>
                    <a:avLst/>
                    <a:gdLst>
                      <a:gd name="connsiteX0" fmla="*/ 0 w 666750"/>
                      <a:gd name="connsiteY0" fmla="*/ 260128 h 676275"/>
                      <a:gd name="connsiteX1" fmla="*/ 256889 w 666750"/>
                      <a:gd name="connsiteY1" fmla="*/ 260128 h 676275"/>
                      <a:gd name="connsiteX2" fmla="*/ 336232 w 666750"/>
                      <a:gd name="connsiteY2" fmla="*/ 0 h 676275"/>
                      <a:gd name="connsiteX3" fmla="*/ 415576 w 666750"/>
                      <a:gd name="connsiteY3" fmla="*/ 260128 h 676275"/>
                      <a:gd name="connsiteX4" fmla="*/ 672370 w 666750"/>
                      <a:gd name="connsiteY4" fmla="*/ 260128 h 676275"/>
                      <a:gd name="connsiteX5" fmla="*/ 464630 w 666750"/>
                      <a:gd name="connsiteY5" fmla="*/ 420815 h 676275"/>
                      <a:gd name="connsiteX6" fmla="*/ 543973 w 666750"/>
                      <a:gd name="connsiteY6" fmla="*/ 680942 h 676275"/>
                      <a:gd name="connsiteX7" fmla="*/ 336232 w 666750"/>
                      <a:gd name="connsiteY7" fmla="*/ 520160 h 676275"/>
                      <a:gd name="connsiteX8" fmla="*/ 128397 w 666750"/>
                      <a:gd name="connsiteY8" fmla="*/ 680942 h 676275"/>
                      <a:gd name="connsiteX9" fmla="*/ 207836 w 666750"/>
                      <a:gd name="connsiteY9" fmla="*/ 420815 h 676275"/>
                      <a:gd name="connsiteX10" fmla="*/ 0 w 666750"/>
                      <a:gd name="connsiteY10" fmla="*/ 260128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0" h="676275">
                        <a:moveTo>
                          <a:pt x="0" y="260128"/>
                        </a:moveTo>
                        <a:lnTo>
                          <a:pt x="256889" y="260128"/>
                        </a:lnTo>
                        <a:lnTo>
                          <a:pt x="336232" y="0"/>
                        </a:lnTo>
                        <a:lnTo>
                          <a:pt x="415576" y="260128"/>
                        </a:lnTo>
                        <a:lnTo>
                          <a:pt x="672370" y="260128"/>
                        </a:lnTo>
                        <a:lnTo>
                          <a:pt x="464630" y="420815"/>
                        </a:lnTo>
                        <a:lnTo>
                          <a:pt x="543973" y="680942"/>
                        </a:lnTo>
                        <a:lnTo>
                          <a:pt x="336232" y="520160"/>
                        </a:lnTo>
                        <a:lnTo>
                          <a:pt x="128397" y="680942"/>
                        </a:lnTo>
                        <a:lnTo>
                          <a:pt x="207836" y="420815"/>
                        </a:lnTo>
                        <a:lnTo>
                          <a:pt x="0" y="260128"/>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87" name="Freeform: Shape 486">
                    <a:extLst>
                      <a:ext uri="{FF2B5EF4-FFF2-40B4-BE49-F238E27FC236}">
                        <a16:creationId xmlns:a16="http://schemas.microsoft.com/office/drawing/2014/main" id="{014BE808-E751-4099-A13F-09D79D3D1717}"/>
                      </a:ext>
                    </a:extLst>
                  </p:cNvPr>
                  <p:cNvSpPr/>
                  <p:nvPr/>
                </p:nvSpPr>
                <p:spPr>
                  <a:xfrm>
                    <a:off x="3535801" y="439204"/>
                    <a:ext cx="423812" cy="449758"/>
                  </a:xfrm>
                  <a:custGeom>
                    <a:avLst/>
                    <a:gdLst>
                      <a:gd name="connsiteX0" fmla="*/ 0 w 466725"/>
                      <a:gd name="connsiteY0" fmla="*/ 263843 h 495300"/>
                      <a:gd name="connsiteX1" fmla="*/ 168116 w 466725"/>
                      <a:gd name="connsiteY1" fmla="*/ 192405 h 495300"/>
                      <a:gd name="connsiteX2" fmla="*/ 147733 w 466725"/>
                      <a:gd name="connsiteY2" fmla="*/ 0 h 495300"/>
                      <a:gd name="connsiteX3" fmla="*/ 272034 w 466725"/>
                      <a:gd name="connsiteY3" fmla="*/ 148304 h 495300"/>
                      <a:gd name="connsiteX4" fmla="*/ 440245 w 466725"/>
                      <a:gd name="connsiteY4" fmla="*/ 76771 h 495300"/>
                      <a:gd name="connsiteX5" fmla="*/ 348901 w 466725"/>
                      <a:gd name="connsiteY5" fmla="*/ 239840 h 495300"/>
                      <a:gd name="connsiteX6" fmla="*/ 473202 w 466725"/>
                      <a:gd name="connsiteY6" fmla="*/ 388049 h 495300"/>
                      <a:gd name="connsiteX7" fmla="*/ 292417 w 466725"/>
                      <a:gd name="connsiteY7" fmla="*/ 340614 h 495300"/>
                      <a:gd name="connsiteX8" fmla="*/ 201073 w 466725"/>
                      <a:gd name="connsiteY8" fmla="*/ 503682 h 495300"/>
                      <a:gd name="connsiteX9" fmla="*/ 180689 w 466725"/>
                      <a:gd name="connsiteY9" fmla="*/ 311277 h 495300"/>
                      <a:gd name="connsiteX10" fmla="*/ 0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0" y="263843"/>
                        </a:moveTo>
                        <a:lnTo>
                          <a:pt x="168116" y="192405"/>
                        </a:lnTo>
                        <a:lnTo>
                          <a:pt x="147733" y="0"/>
                        </a:lnTo>
                        <a:lnTo>
                          <a:pt x="272034" y="148304"/>
                        </a:lnTo>
                        <a:lnTo>
                          <a:pt x="440245" y="76771"/>
                        </a:lnTo>
                        <a:lnTo>
                          <a:pt x="348901" y="239840"/>
                        </a:lnTo>
                        <a:lnTo>
                          <a:pt x="473202" y="388049"/>
                        </a:lnTo>
                        <a:lnTo>
                          <a:pt x="292417" y="340614"/>
                        </a:lnTo>
                        <a:lnTo>
                          <a:pt x="201073" y="503682"/>
                        </a:lnTo>
                        <a:lnTo>
                          <a:pt x="180689" y="311277"/>
                        </a:lnTo>
                        <a:lnTo>
                          <a:pt x="0" y="263843"/>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88" name="Freeform: Shape 487">
                    <a:extLst>
                      <a:ext uri="{FF2B5EF4-FFF2-40B4-BE49-F238E27FC236}">
                        <a16:creationId xmlns:a16="http://schemas.microsoft.com/office/drawing/2014/main" id="{8788F962-210A-499D-91FD-1DA991C9F084}"/>
                      </a:ext>
                    </a:extLst>
                  </p:cNvPr>
                  <p:cNvSpPr/>
                  <p:nvPr/>
                </p:nvSpPr>
                <p:spPr>
                  <a:xfrm>
                    <a:off x="5189436" y="439204"/>
                    <a:ext cx="423812" cy="449758"/>
                  </a:xfrm>
                  <a:custGeom>
                    <a:avLst/>
                    <a:gdLst>
                      <a:gd name="connsiteX0" fmla="*/ 473297 w 466725"/>
                      <a:gd name="connsiteY0" fmla="*/ 263843 h 495300"/>
                      <a:gd name="connsiteX1" fmla="*/ 305086 w 466725"/>
                      <a:gd name="connsiteY1" fmla="*/ 192405 h 495300"/>
                      <a:gd name="connsiteX2" fmla="*/ 325469 w 466725"/>
                      <a:gd name="connsiteY2" fmla="*/ 0 h 495300"/>
                      <a:gd name="connsiteX3" fmla="*/ 201168 w 466725"/>
                      <a:gd name="connsiteY3" fmla="*/ 148304 h 495300"/>
                      <a:gd name="connsiteX4" fmla="*/ 33052 w 466725"/>
                      <a:gd name="connsiteY4" fmla="*/ 76771 h 495300"/>
                      <a:gd name="connsiteX5" fmla="*/ 124396 w 466725"/>
                      <a:gd name="connsiteY5" fmla="*/ 239840 h 495300"/>
                      <a:gd name="connsiteX6" fmla="*/ 0 w 466725"/>
                      <a:gd name="connsiteY6" fmla="*/ 388049 h 495300"/>
                      <a:gd name="connsiteX7" fmla="*/ 180784 w 466725"/>
                      <a:gd name="connsiteY7" fmla="*/ 340614 h 495300"/>
                      <a:gd name="connsiteX8" fmla="*/ 272129 w 466725"/>
                      <a:gd name="connsiteY8" fmla="*/ 503682 h 495300"/>
                      <a:gd name="connsiteX9" fmla="*/ 292513 w 466725"/>
                      <a:gd name="connsiteY9" fmla="*/ 311277 h 495300"/>
                      <a:gd name="connsiteX10" fmla="*/ 473297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473297" y="263843"/>
                        </a:moveTo>
                        <a:lnTo>
                          <a:pt x="305086" y="192405"/>
                        </a:lnTo>
                        <a:lnTo>
                          <a:pt x="325469" y="0"/>
                        </a:lnTo>
                        <a:lnTo>
                          <a:pt x="201168" y="148304"/>
                        </a:lnTo>
                        <a:lnTo>
                          <a:pt x="33052" y="76771"/>
                        </a:lnTo>
                        <a:lnTo>
                          <a:pt x="124396" y="239840"/>
                        </a:lnTo>
                        <a:lnTo>
                          <a:pt x="0" y="388049"/>
                        </a:lnTo>
                        <a:lnTo>
                          <a:pt x="180784" y="340614"/>
                        </a:lnTo>
                        <a:lnTo>
                          <a:pt x="272129" y="503682"/>
                        </a:lnTo>
                        <a:lnTo>
                          <a:pt x="292513" y="311277"/>
                        </a:lnTo>
                        <a:lnTo>
                          <a:pt x="473297" y="263843"/>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sp>
              <p:nvSpPr>
                <p:cNvPr id="448" name="Freeform: Shape 447">
                  <a:extLst>
                    <a:ext uri="{FF2B5EF4-FFF2-40B4-BE49-F238E27FC236}">
                      <a16:creationId xmlns:a16="http://schemas.microsoft.com/office/drawing/2014/main" id="{62D56D2F-3022-4744-890B-631A3A40BBA2}"/>
                    </a:ext>
                  </a:extLst>
                </p:cNvPr>
                <p:cNvSpPr/>
                <p:nvPr/>
              </p:nvSpPr>
              <p:spPr>
                <a:xfrm>
                  <a:off x="2004154" y="1893247"/>
                  <a:ext cx="61995" cy="61995"/>
                </a:xfrm>
                <a:custGeom>
                  <a:avLst/>
                  <a:gdLst>
                    <a:gd name="connsiteX0" fmla="*/ 197168 w 190500"/>
                    <a:gd name="connsiteY0" fmla="*/ 98584 h 190500"/>
                    <a:gd name="connsiteX1" fmla="*/ 98584 w 190500"/>
                    <a:gd name="connsiteY1" fmla="*/ 197167 h 190500"/>
                    <a:gd name="connsiteX2" fmla="*/ 0 w 190500"/>
                    <a:gd name="connsiteY2" fmla="*/ 98584 h 190500"/>
                    <a:gd name="connsiteX3" fmla="*/ 98584 w 190500"/>
                    <a:gd name="connsiteY3" fmla="*/ 0 h 190500"/>
                    <a:gd name="connsiteX4" fmla="*/ 197168 w 190500"/>
                    <a:gd name="connsiteY4" fmla="*/ 98584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7168" y="98584"/>
                      </a:moveTo>
                      <a:cubicBezTo>
                        <a:pt x="197168" y="153030"/>
                        <a:pt x="153030" y="197167"/>
                        <a:pt x="98584" y="197167"/>
                      </a:cubicBezTo>
                      <a:cubicBezTo>
                        <a:pt x="44137" y="197167"/>
                        <a:pt x="0" y="153030"/>
                        <a:pt x="0" y="98584"/>
                      </a:cubicBezTo>
                      <a:cubicBezTo>
                        <a:pt x="0" y="44137"/>
                        <a:pt x="44137" y="0"/>
                        <a:pt x="98584" y="0"/>
                      </a:cubicBezTo>
                      <a:cubicBezTo>
                        <a:pt x="153030" y="0"/>
                        <a:pt x="197168" y="44137"/>
                        <a:pt x="197168" y="9858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nvGrpSpPr>
                <p:cNvPr id="449" name="Group 448">
                  <a:extLst>
                    <a:ext uri="{FF2B5EF4-FFF2-40B4-BE49-F238E27FC236}">
                      <a16:creationId xmlns:a16="http://schemas.microsoft.com/office/drawing/2014/main" id="{0F5F82A4-1E6C-4C85-9CF6-2AF23DE59AD6}"/>
                    </a:ext>
                  </a:extLst>
                </p:cNvPr>
                <p:cNvGrpSpPr/>
                <p:nvPr/>
              </p:nvGrpSpPr>
              <p:grpSpPr>
                <a:xfrm>
                  <a:off x="1250277" y="793047"/>
                  <a:ext cx="1577359" cy="1279442"/>
                  <a:chOff x="1250277" y="699247"/>
                  <a:chExt cx="1577359" cy="1373242"/>
                </a:xfrm>
                <a:grpFill/>
              </p:grpSpPr>
              <p:grpSp>
                <p:nvGrpSpPr>
                  <p:cNvPr id="450" name="Group 449">
                    <a:extLst>
                      <a:ext uri="{FF2B5EF4-FFF2-40B4-BE49-F238E27FC236}">
                        <a16:creationId xmlns:a16="http://schemas.microsoft.com/office/drawing/2014/main" id="{3B9B2B2B-C591-46F3-BF81-547A13C9418E}"/>
                      </a:ext>
                    </a:extLst>
                  </p:cNvPr>
                  <p:cNvGrpSpPr/>
                  <p:nvPr/>
                </p:nvGrpSpPr>
                <p:grpSpPr>
                  <a:xfrm rot="20997099">
                    <a:off x="1250277" y="699247"/>
                    <a:ext cx="607260" cy="1373242"/>
                    <a:chOff x="2046450" y="1157001"/>
                    <a:chExt cx="2314020" cy="3831727"/>
                  </a:xfrm>
                  <a:grpFill/>
                </p:grpSpPr>
                <p:sp>
                  <p:nvSpPr>
                    <p:cNvPr id="469" name="Freeform: Shape 468">
                      <a:extLst>
                        <a:ext uri="{FF2B5EF4-FFF2-40B4-BE49-F238E27FC236}">
                          <a16:creationId xmlns:a16="http://schemas.microsoft.com/office/drawing/2014/main" id="{560BCB39-B703-4D6B-BCC4-DCBA6B0D23E7}"/>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70" name="Freeform: Shape 469">
                      <a:extLst>
                        <a:ext uri="{FF2B5EF4-FFF2-40B4-BE49-F238E27FC236}">
                          <a16:creationId xmlns:a16="http://schemas.microsoft.com/office/drawing/2014/main" id="{4A14830B-17C7-430F-9B42-17A9CFC05E78}"/>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71" name="Freeform: Shape 470">
                      <a:extLst>
                        <a:ext uri="{FF2B5EF4-FFF2-40B4-BE49-F238E27FC236}">
                          <a16:creationId xmlns:a16="http://schemas.microsoft.com/office/drawing/2014/main" id="{26DABC80-A97E-45C4-951B-4A66E10253DC}"/>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72" name="Freeform: Shape 471">
                      <a:extLst>
                        <a:ext uri="{FF2B5EF4-FFF2-40B4-BE49-F238E27FC236}">
                          <a16:creationId xmlns:a16="http://schemas.microsoft.com/office/drawing/2014/main" id="{F929FAF5-6C07-450E-B611-CFD9BFA8596D}"/>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73" name="Freeform: Shape 472">
                      <a:extLst>
                        <a:ext uri="{FF2B5EF4-FFF2-40B4-BE49-F238E27FC236}">
                          <a16:creationId xmlns:a16="http://schemas.microsoft.com/office/drawing/2014/main" id="{669F96A1-BBF4-42AF-9068-25D163987CC7}"/>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74" name="Freeform: Shape 473">
                      <a:extLst>
                        <a:ext uri="{FF2B5EF4-FFF2-40B4-BE49-F238E27FC236}">
                          <a16:creationId xmlns:a16="http://schemas.microsoft.com/office/drawing/2014/main" id="{0FC403C4-5B0D-4A0F-B0C0-70A5BA639372}"/>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75" name="Freeform: Shape 474">
                      <a:extLst>
                        <a:ext uri="{FF2B5EF4-FFF2-40B4-BE49-F238E27FC236}">
                          <a16:creationId xmlns:a16="http://schemas.microsoft.com/office/drawing/2014/main" id="{AECE3C27-4EBB-4395-B92A-6DA175A79C37}"/>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76" name="Freeform: Shape 475">
                      <a:extLst>
                        <a:ext uri="{FF2B5EF4-FFF2-40B4-BE49-F238E27FC236}">
                          <a16:creationId xmlns:a16="http://schemas.microsoft.com/office/drawing/2014/main" id="{058661E7-0EC3-4559-92B7-7E2D0766038C}"/>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77" name="Freeform: Shape 476">
                      <a:extLst>
                        <a:ext uri="{FF2B5EF4-FFF2-40B4-BE49-F238E27FC236}">
                          <a16:creationId xmlns:a16="http://schemas.microsoft.com/office/drawing/2014/main" id="{F8932A85-C515-4FEE-A933-F62D5479863C}"/>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78" name="Freeform: Shape 477">
                      <a:extLst>
                        <a:ext uri="{FF2B5EF4-FFF2-40B4-BE49-F238E27FC236}">
                          <a16:creationId xmlns:a16="http://schemas.microsoft.com/office/drawing/2014/main" id="{B0FF6701-B1A2-48A9-B5EA-10E8F1C20577}"/>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79" name="Freeform: Shape 478">
                      <a:extLst>
                        <a:ext uri="{FF2B5EF4-FFF2-40B4-BE49-F238E27FC236}">
                          <a16:creationId xmlns:a16="http://schemas.microsoft.com/office/drawing/2014/main" id="{88716B6B-FC15-41F0-A867-0E828CD5929D}"/>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80" name="Freeform: Shape 479">
                      <a:extLst>
                        <a:ext uri="{FF2B5EF4-FFF2-40B4-BE49-F238E27FC236}">
                          <a16:creationId xmlns:a16="http://schemas.microsoft.com/office/drawing/2014/main" id="{6151182F-1EA2-48AB-9286-F5FB652EA9CE}"/>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81" name="Freeform: Shape 480">
                      <a:extLst>
                        <a:ext uri="{FF2B5EF4-FFF2-40B4-BE49-F238E27FC236}">
                          <a16:creationId xmlns:a16="http://schemas.microsoft.com/office/drawing/2014/main" id="{05CB2982-21D8-4687-926C-A17A52E86E05}"/>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82" name="Freeform: Shape 481">
                      <a:extLst>
                        <a:ext uri="{FF2B5EF4-FFF2-40B4-BE49-F238E27FC236}">
                          <a16:creationId xmlns:a16="http://schemas.microsoft.com/office/drawing/2014/main" id="{F1FFE759-1F2C-474F-9F4A-FF0997C47036}"/>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83" name="Freeform: Shape 482">
                      <a:extLst>
                        <a:ext uri="{FF2B5EF4-FFF2-40B4-BE49-F238E27FC236}">
                          <a16:creationId xmlns:a16="http://schemas.microsoft.com/office/drawing/2014/main" id="{2ADE6229-3C87-4A59-B95C-F04EED26F1A7}"/>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84" name="Freeform: Shape 483">
                      <a:extLst>
                        <a:ext uri="{FF2B5EF4-FFF2-40B4-BE49-F238E27FC236}">
                          <a16:creationId xmlns:a16="http://schemas.microsoft.com/office/drawing/2014/main" id="{6F11969B-72A4-4999-8819-C06C417AD3C9}"/>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85" name="Freeform: Shape 484">
                      <a:extLst>
                        <a:ext uri="{FF2B5EF4-FFF2-40B4-BE49-F238E27FC236}">
                          <a16:creationId xmlns:a16="http://schemas.microsoft.com/office/drawing/2014/main" id="{C61225BB-E430-48E9-95BC-DABFDF8BC31A}"/>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grpSp>
                <p:nvGrpSpPr>
                  <p:cNvPr id="451" name="Group 450">
                    <a:extLst>
                      <a:ext uri="{FF2B5EF4-FFF2-40B4-BE49-F238E27FC236}">
                        <a16:creationId xmlns:a16="http://schemas.microsoft.com/office/drawing/2014/main" id="{9ADF1061-0216-425C-AF93-F1FBBB232108}"/>
                      </a:ext>
                    </a:extLst>
                  </p:cNvPr>
                  <p:cNvGrpSpPr/>
                  <p:nvPr/>
                </p:nvGrpSpPr>
                <p:grpSpPr>
                  <a:xfrm rot="602901" flipH="1">
                    <a:off x="2220376" y="699247"/>
                    <a:ext cx="607260" cy="1373242"/>
                    <a:chOff x="2046450" y="1157001"/>
                    <a:chExt cx="2314020" cy="3831727"/>
                  </a:xfrm>
                  <a:grpFill/>
                </p:grpSpPr>
                <p:sp>
                  <p:nvSpPr>
                    <p:cNvPr id="452" name="Freeform: Shape 451">
                      <a:extLst>
                        <a:ext uri="{FF2B5EF4-FFF2-40B4-BE49-F238E27FC236}">
                          <a16:creationId xmlns:a16="http://schemas.microsoft.com/office/drawing/2014/main" id="{71BB9DDA-5BA1-4B4F-B7A6-474DBBF09ADB}"/>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53" name="Freeform: Shape 452">
                      <a:extLst>
                        <a:ext uri="{FF2B5EF4-FFF2-40B4-BE49-F238E27FC236}">
                          <a16:creationId xmlns:a16="http://schemas.microsoft.com/office/drawing/2014/main" id="{6D3636FF-2366-48C4-B8E6-BD90661F9B16}"/>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54" name="Freeform: Shape 453">
                      <a:extLst>
                        <a:ext uri="{FF2B5EF4-FFF2-40B4-BE49-F238E27FC236}">
                          <a16:creationId xmlns:a16="http://schemas.microsoft.com/office/drawing/2014/main" id="{75D8031E-28A6-442B-B294-63393E2123DB}"/>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55" name="Freeform: Shape 454">
                      <a:extLst>
                        <a:ext uri="{FF2B5EF4-FFF2-40B4-BE49-F238E27FC236}">
                          <a16:creationId xmlns:a16="http://schemas.microsoft.com/office/drawing/2014/main" id="{294C3683-E07E-4720-B1DF-E5C696EBD219}"/>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56" name="Freeform: Shape 455">
                      <a:extLst>
                        <a:ext uri="{FF2B5EF4-FFF2-40B4-BE49-F238E27FC236}">
                          <a16:creationId xmlns:a16="http://schemas.microsoft.com/office/drawing/2014/main" id="{C8F68191-D8E1-45C1-9765-8F5603B02CC9}"/>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57" name="Freeform: Shape 456">
                      <a:extLst>
                        <a:ext uri="{FF2B5EF4-FFF2-40B4-BE49-F238E27FC236}">
                          <a16:creationId xmlns:a16="http://schemas.microsoft.com/office/drawing/2014/main" id="{830BF6D2-647C-45F9-9F88-A8DAB2855D87}"/>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58" name="Freeform: Shape 457">
                      <a:extLst>
                        <a:ext uri="{FF2B5EF4-FFF2-40B4-BE49-F238E27FC236}">
                          <a16:creationId xmlns:a16="http://schemas.microsoft.com/office/drawing/2014/main" id="{BF977E15-30D8-4EFD-8FB0-5339EE0E67D1}"/>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59" name="Freeform: Shape 458">
                      <a:extLst>
                        <a:ext uri="{FF2B5EF4-FFF2-40B4-BE49-F238E27FC236}">
                          <a16:creationId xmlns:a16="http://schemas.microsoft.com/office/drawing/2014/main" id="{C90332E9-CAD8-4009-B6E4-6C0893BFA26E}"/>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60" name="Freeform: Shape 459">
                      <a:extLst>
                        <a:ext uri="{FF2B5EF4-FFF2-40B4-BE49-F238E27FC236}">
                          <a16:creationId xmlns:a16="http://schemas.microsoft.com/office/drawing/2014/main" id="{16DCBC7A-7641-4206-B973-D218FC0742B5}"/>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61" name="Freeform: Shape 460">
                      <a:extLst>
                        <a:ext uri="{FF2B5EF4-FFF2-40B4-BE49-F238E27FC236}">
                          <a16:creationId xmlns:a16="http://schemas.microsoft.com/office/drawing/2014/main" id="{D4CF6D50-EFC1-441A-A248-D2E8AC80B305}"/>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62" name="Freeform: Shape 461">
                      <a:extLst>
                        <a:ext uri="{FF2B5EF4-FFF2-40B4-BE49-F238E27FC236}">
                          <a16:creationId xmlns:a16="http://schemas.microsoft.com/office/drawing/2014/main" id="{3922703B-F1F9-49AE-8261-CEBD37B0006B}"/>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63" name="Freeform: Shape 462">
                      <a:extLst>
                        <a:ext uri="{FF2B5EF4-FFF2-40B4-BE49-F238E27FC236}">
                          <a16:creationId xmlns:a16="http://schemas.microsoft.com/office/drawing/2014/main" id="{46C1AD83-70E5-4DFD-8700-5594EB53C537}"/>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64" name="Freeform: Shape 463">
                      <a:extLst>
                        <a:ext uri="{FF2B5EF4-FFF2-40B4-BE49-F238E27FC236}">
                          <a16:creationId xmlns:a16="http://schemas.microsoft.com/office/drawing/2014/main" id="{F3AB1D4B-D848-450C-9D7A-0C4DDDB38CF7}"/>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65" name="Freeform: Shape 464">
                      <a:extLst>
                        <a:ext uri="{FF2B5EF4-FFF2-40B4-BE49-F238E27FC236}">
                          <a16:creationId xmlns:a16="http://schemas.microsoft.com/office/drawing/2014/main" id="{2D502277-8874-4881-95FD-44A3D62D1348}"/>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66" name="Freeform: Shape 465">
                      <a:extLst>
                        <a:ext uri="{FF2B5EF4-FFF2-40B4-BE49-F238E27FC236}">
                          <a16:creationId xmlns:a16="http://schemas.microsoft.com/office/drawing/2014/main" id="{39F143E0-AC79-412F-A85D-7C3C6DC6AD1C}"/>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67" name="Freeform: Shape 466">
                      <a:extLst>
                        <a:ext uri="{FF2B5EF4-FFF2-40B4-BE49-F238E27FC236}">
                          <a16:creationId xmlns:a16="http://schemas.microsoft.com/office/drawing/2014/main" id="{8BA859D4-15E9-46E0-98D8-7F43E6822E4A}"/>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68" name="Freeform: Shape 467">
                      <a:extLst>
                        <a:ext uri="{FF2B5EF4-FFF2-40B4-BE49-F238E27FC236}">
                          <a16:creationId xmlns:a16="http://schemas.microsoft.com/office/drawing/2014/main" id="{2F822BC7-D21F-4A41-840E-AAE8D778DF57}"/>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grpSp>
          </p:grpSp>
        </p:grpSp>
        <p:grpSp>
          <p:nvGrpSpPr>
            <p:cNvPr id="354" name="Group 353">
              <a:extLst>
                <a:ext uri="{FF2B5EF4-FFF2-40B4-BE49-F238E27FC236}">
                  <a16:creationId xmlns:a16="http://schemas.microsoft.com/office/drawing/2014/main" id="{06DB13F5-4343-4223-A40D-33B06F7CEF85}"/>
                </a:ext>
              </a:extLst>
            </p:cNvPr>
            <p:cNvGrpSpPr/>
            <p:nvPr/>
          </p:nvGrpSpPr>
          <p:grpSpPr>
            <a:xfrm>
              <a:off x="3707709" y="454977"/>
              <a:ext cx="1535082" cy="1590020"/>
              <a:chOff x="1151876" y="336756"/>
              <a:chExt cx="1774162" cy="1837656"/>
            </a:xfrm>
            <a:solidFill>
              <a:schemeClr val="bg2"/>
            </a:solidFill>
          </p:grpSpPr>
          <p:sp>
            <p:nvSpPr>
              <p:cNvPr id="355" name="TextBox 354">
                <a:extLst>
                  <a:ext uri="{FF2B5EF4-FFF2-40B4-BE49-F238E27FC236}">
                    <a16:creationId xmlns:a16="http://schemas.microsoft.com/office/drawing/2014/main" id="{87865A55-3C33-4E09-85C2-FFE025AADD85}"/>
                  </a:ext>
                </a:extLst>
              </p:cNvPr>
              <p:cNvSpPr txBox="1"/>
              <p:nvPr/>
            </p:nvSpPr>
            <p:spPr>
              <a:xfrm>
                <a:off x="1354122" y="767394"/>
                <a:ext cx="1353480" cy="889277"/>
              </a:xfrm>
              <a:prstGeom prst="rect">
                <a:avLst/>
              </a:prstGeom>
              <a:noFill/>
            </p:spPr>
            <p:txBody>
              <a:bodyPr wrap="square" lIns="88900" tIns="38100" rIns="88900" bIns="38100" rtlCol="0">
                <a:noAutofit/>
              </a:bodyPr>
              <a:lstStyle/>
              <a:p>
                <a:pPr algn="ctr">
                  <a:defRPr/>
                </a:pPr>
                <a:r>
                  <a:rPr lang="en-US" sz="900">
                    <a:solidFill>
                      <a:schemeClr val="bg2"/>
                    </a:solidFill>
                    <a:latin typeface="CiscoSansTT Light" panose="020B0503020201020303" pitchFamily="34" charset="0"/>
                    <a:cs typeface="+mn-cs"/>
                  </a:rPr>
                  <a:t>Enterprise Network Firewall Magic Quadrant </a:t>
                </a:r>
                <a:br>
                  <a:rPr lang="en-US" sz="900">
                    <a:solidFill>
                      <a:schemeClr val="bg2"/>
                    </a:solidFill>
                    <a:latin typeface="CiscoSansTT Light" panose="020B0503020201020303" pitchFamily="34" charset="0"/>
                    <a:cs typeface="+mn-cs"/>
                  </a:rPr>
                </a:br>
                <a:r>
                  <a:rPr lang="en-US" sz="900">
                    <a:solidFill>
                      <a:schemeClr val="bg2"/>
                    </a:solidFill>
                    <a:latin typeface="CiscoSansTT Light" panose="020B0503020201020303" pitchFamily="34" charset="0"/>
                    <a:cs typeface="+mn-cs"/>
                  </a:rPr>
                  <a:t>2019</a:t>
                </a:r>
                <a:br>
                  <a:rPr lang="en-US" sz="900">
                    <a:solidFill>
                      <a:schemeClr val="bg2"/>
                    </a:solidFill>
                    <a:latin typeface="CiscoSansTT Light" panose="020B0503020201020303" pitchFamily="34" charset="0"/>
                    <a:cs typeface="+mn-cs"/>
                  </a:rPr>
                </a:br>
                <a:r>
                  <a:rPr lang="en-US" sz="900">
                    <a:solidFill>
                      <a:schemeClr val="bg2"/>
                    </a:solidFill>
                    <a:latin typeface="CiscoSansTT Light" panose="020B0503020201020303" pitchFamily="34" charset="0"/>
                    <a:cs typeface="+mn-cs"/>
                  </a:rPr>
                  <a:t>Leader</a:t>
                </a:r>
              </a:p>
            </p:txBody>
          </p:sp>
          <p:grpSp>
            <p:nvGrpSpPr>
              <p:cNvPr id="356" name="Group 355">
                <a:extLst>
                  <a:ext uri="{FF2B5EF4-FFF2-40B4-BE49-F238E27FC236}">
                    <a16:creationId xmlns:a16="http://schemas.microsoft.com/office/drawing/2014/main" id="{95227100-D8BA-4C90-9A10-EA26A626B093}"/>
                  </a:ext>
                </a:extLst>
              </p:cNvPr>
              <p:cNvGrpSpPr/>
              <p:nvPr/>
            </p:nvGrpSpPr>
            <p:grpSpPr>
              <a:xfrm>
                <a:off x="1151876" y="336756"/>
                <a:ext cx="1774162" cy="1837656"/>
                <a:chOff x="1250277" y="438678"/>
                <a:chExt cx="1577359" cy="1633811"/>
              </a:xfrm>
              <a:grpFill/>
            </p:grpSpPr>
            <p:grpSp>
              <p:nvGrpSpPr>
                <p:cNvPr id="357" name="Group 356">
                  <a:extLst>
                    <a:ext uri="{FF2B5EF4-FFF2-40B4-BE49-F238E27FC236}">
                      <a16:creationId xmlns:a16="http://schemas.microsoft.com/office/drawing/2014/main" id="{EB300757-0FEE-493A-BFB5-5723CCBA50CE}"/>
                    </a:ext>
                  </a:extLst>
                </p:cNvPr>
                <p:cNvGrpSpPr/>
                <p:nvPr/>
              </p:nvGrpSpPr>
              <p:grpSpPr>
                <a:xfrm>
                  <a:off x="1662409" y="438678"/>
                  <a:ext cx="744531" cy="259659"/>
                  <a:chOff x="3535801" y="164442"/>
                  <a:chExt cx="2077447" cy="724520"/>
                </a:xfrm>
                <a:grpFill/>
              </p:grpSpPr>
              <p:sp>
                <p:nvSpPr>
                  <p:cNvPr id="396" name="Freeform: Shape 395">
                    <a:extLst>
                      <a:ext uri="{FF2B5EF4-FFF2-40B4-BE49-F238E27FC236}">
                        <a16:creationId xmlns:a16="http://schemas.microsoft.com/office/drawing/2014/main" id="{4498F798-C6D7-491B-9630-9DAA1475BE9C}"/>
                      </a:ext>
                    </a:extLst>
                  </p:cNvPr>
                  <p:cNvSpPr/>
                  <p:nvPr/>
                </p:nvSpPr>
                <p:spPr>
                  <a:xfrm>
                    <a:off x="4271802" y="164442"/>
                    <a:ext cx="605444" cy="614092"/>
                  </a:xfrm>
                  <a:custGeom>
                    <a:avLst/>
                    <a:gdLst>
                      <a:gd name="connsiteX0" fmla="*/ 0 w 666750"/>
                      <a:gd name="connsiteY0" fmla="*/ 260128 h 676275"/>
                      <a:gd name="connsiteX1" fmla="*/ 256889 w 666750"/>
                      <a:gd name="connsiteY1" fmla="*/ 260128 h 676275"/>
                      <a:gd name="connsiteX2" fmla="*/ 336232 w 666750"/>
                      <a:gd name="connsiteY2" fmla="*/ 0 h 676275"/>
                      <a:gd name="connsiteX3" fmla="*/ 415576 w 666750"/>
                      <a:gd name="connsiteY3" fmla="*/ 260128 h 676275"/>
                      <a:gd name="connsiteX4" fmla="*/ 672370 w 666750"/>
                      <a:gd name="connsiteY4" fmla="*/ 260128 h 676275"/>
                      <a:gd name="connsiteX5" fmla="*/ 464630 w 666750"/>
                      <a:gd name="connsiteY5" fmla="*/ 420815 h 676275"/>
                      <a:gd name="connsiteX6" fmla="*/ 543973 w 666750"/>
                      <a:gd name="connsiteY6" fmla="*/ 680942 h 676275"/>
                      <a:gd name="connsiteX7" fmla="*/ 336232 w 666750"/>
                      <a:gd name="connsiteY7" fmla="*/ 520160 h 676275"/>
                      <a:gd name="connsiteX8" fmla="*/ 128397 w 666750"/>
                      <a:gd name="connsiteY8" fmla="*/ 680942 h 676275"/>
                      <a:gd name="connsiteX9" fmla="*/ 207836 w 666750"/>
                      <a:gd name="connsiteY9" fmla="*/ 420815 h 676275"/>
                      <a:gd name="connsiteX10" fmla="*/ 0 w 666750"/>
                      <a:gd name="connsiteY10" fmla="*/ 260128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0" h="676275">
                        <a:moveTo>
                          <a:pt x="0" y="260128"/>
                        </a:moveTo>
                        <a:lnTo>
                          <a:pt x="256889" y="260128"/>
                        </a:lnTo>
                        <a:lnTo>
                          <a:pt x="336232" y="0"/>
                        </a:lnTo>
                        <a:lnTo>
                          <a:pt x="415576" y="260128"/>
                        </a:lnTo>
                        <a:lnTo>
                          <a:pt x="672370" y="260128"/>
                        </a:lnTo>
                        <a:lnTo>
                          <a:pt x="464630" y="420815"/>
                        </a:lnTo>
                        <a:lnTo>
                          <a:pt x="543973" y="680942"/>
                        </a:lnTo>
                        <a:lnTo>
                          <a:pt x="336232" y="520160"/>
                        </a:lnTo>
                        <a:lnTo>
                          <a:pt x="128397" y="680942"/>
                        </a:lnTo>
                        <a:lnTo>
                          <a:pt x="207836" y="420815"/>
                        </a:lnTo>
                        <a:lnTo>
                          <a:pt x="0" y="260128"/>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97" name="Freeform: Shape 396">
                    <a:extLst>
                      <a:ext uri="{FF2B5EF4-FFF2-40B4-BE49-F238E27FC236}">
                        <a16:creationId xmlns:a16="http://schemas.microsoft.com/office/drawing/2014/main" id="{CC04CC6E-F08D-41F6-A199-F6EDD8DBF853}"/>
                      </a:ext>
                    </a:extLst>
                  </p:cNvPr>
                  <p:cNvSpPr/>
                  <p:nvPr/>
                </p:nvSpPr>
                <p:spPr>
                  <a:xfrm>
                    <a:off x="3535801" y="439204"/>
                    <a:ext cx="423812" cy="449758"/>
                  </a:xfrm>
                  <a:custGeom>
                    <a:avLst/>
                    <a:gdLst>
                      <a:gd name="connsiteX0" fmla="*/ 0 w 466725"/>
                      <a:gd name="connsiteY0" fmla="*/ 263843 h 495300"/>
                      <a:gd name="connsiteX1" fmla="*/ 168116 w 466725"/>
                      <a:gd name="connsiteY1" fmla="*/ 192405 h 495300"/>
                      <a:gd name="connsiteX2" fmla="*/ 147733 w 466725"/>
                      <a:gd name="connsiteY2" fmla="*/ 0 h 495300"/>
                      <a:gd name="connsiteX3" fmla="*/ 272034 w 466725"/>
                      <a:gd name="connsiteY3" fmla="*/ 148304 h 495300"/>
                      <a:gd name="connsiteX4" fmla="*/ 440245 w 466725"/>
                      <a:gd name="connsiteY4" fmla="*/ 76771 h 495300"/>
                      <a:gd name="connsiteX5" fmla="*/ 348901 w 466725"/>
                      <a:gd name="connsiteY5" fmla="*/ 239840 h 495300"/>
                      <a:gd name="connsiteX6" fmla="*/ 473202 w 466725"/>
                      <a:gd name="connsiteY6" fmla="*/ 388049 h 495300"/>
                      <a:gd name="connsiteX7" fmla="*/ 292417 w 466725"/>
                      <a:gd name="connsiteY7" fmla="*/ 340614 h 495300"/>
                      <a:gd name="connsiteX8" fmla="*/ 201073 w 466725"/>
                      <a:gd name="connsiteY8" fmla="*/ 503682 h 495300"/>
                      <a:gd name="connsiteX9" fmla="*/ 180689 w 466725"/>
                      <a:gd name="connsiteY9" fmla="*/ 311277 h 495300"/>
                      <a:gd name="connsiteX10" fmla="*/ 0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0" y="263843"/>
                        </a:moveTo>
                        <a:lnTo>
                          <a:pt x="168116" y="192405"/>
                        </a:lnTo>
                        <a:lnTo>
                          <a:pt x="147733" y="0"/>
                        </a:lnTo>
                        <a:lnTo>
                          <a:pt x="272034" y="148304"/>
                        </a:lnTo>
                        <a:lnTo>
                          <a:pt x="440245" y="76771"/>
                        </a:lnTo>
                        <a:lnTo>
                          <a:pt x="348901" y="239840"/>
                        </a:lnTo>
                        <a:lnTo>
                          <a:pt x="473202" y="388049"/>
                        </a:lnTo>
                        <a:lnTo>
                          <a:pt x="292417" y="340614"/>
                        </a:lnTo>
                        <a:lnTo>
                          <a:pt x="201073" y="503682"/>
                        </a:lnTo>
                        <a:lnTo>
                          <a:pt x="180689" y="311277"/>
                        </a:lnTo>
                        <a:lnTo>
                          <a:pt x="0" y="263843"/>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98" name="Freeform: Shape 397">
                    <a:extLst>
                      <a:ext uri="{FF2B5EF4-FFF2-40B4-BE49-F238E27FC236}">
                        <a16:creationId xmlns:a16="http://schemas.microsoft.com/office/drawing/2014/main" id="{F5482DCC-0DC6-450E-9222-9A387D33270A}"/>
                      </a:ext>
                    </a:extLst>
                  </p:cNvPr>
                  <p:cNvSpPr/>
                  <p:nvPr/>
                </p:nvSpPr>
                <p:spPr>
                  <a:xfrm>
                    <a:off x="5189436" y="439204"/>
                    <a:ext cx="423812" cy="449758"/>
                  </a:xfrm>
                  <a:custGeom>
                    <a:avLst/>
                    <a:gdLst>
                      <a:gd name="connsiteX0" fmla="*/ 473297 w 466725"/>
                      <a:gd name="connsiteY0" fmla="*/ 263843 h 495300"/>
                      <a:gd name="connsiteX1" fmla="*/ 305086 w 466725"/>
                      <a:gd name="connsiteY1" fmla="*/ 192405 h 495300"/>
                      <a:gd name="connsiteX2" fmla="*/ 325469 w 466725"/>
                      <a:gd name="connsiteY2" fmla="*/ 0 h 495300"/>
                      <a:gd name="connsiteX3" fmla="*/ 201168 w 466725"/>
                      <a:gd name="connsiteY3" fmla="*/ 148304 h 495300"/>
                      <a:gd name="connsiteX4" fmla="*/ 33052 w 466725"/>
                      <a:gd name="connsiteY4" fmla="*/ 76771 h 495300"/>
                      <a:gd name="connsiteX5" fmla="*/ 124396 w 466725"/>
                      <a:gd name="connsiteY5" fmla="*/ 239840 h 495300"/>
                      <a:gd name="connsiteX6" fmla="*/ 0 w 466725"/>
                      <a:gd name="connsiteY6" fmla="*/ 388049 h 495300"/>
                      <a:gd name="connsiteX7" fmla="*/ 180784 w 466725"/>
                      <a:gd name="connsiteY7" fmla="*/ 340614 h 495300"/>
                      <a:gd name="connsiteX8" fmla="*/ 272129 w 466725"/>
                      <a:gd name="connsiteY8" fmla="*/ 503682 h 495300"/>
                      <a:gd name="connsiteX9" fmla="*/ 292513 w 466725"/>
                      <a:gd name="connsiteY9" fmla="*/ 311277 h 495300"/>
                      <a:gd name="connsiteX10" fmla="*/ 473297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473297" y="263843"/>
                        </a:moveTo>
                        <a:lnTo>
                          <a:pt x="305086" y="192405"/>
                        </a:lnTo>
                        <a:lnTo>
                          <a:pt x="325469" y="0"/>
                        </a:lnTo>
                        <a:lnTo>
                          <a:pt x="201168" y="148304"/>
                        </a:lnTo>
                        <a:lnTo>
                          <a:pt x="33052" y="76771"/>
                        </a:lnTo>
                        <a:lnTo>
                          <a:pt x="124396" y="239840"/>
                        </a:lnTo>
                        <a:lnTo>
                          <a:pt x="0" y="388049"/>
                        </a:lnTo>
                        <a:lnTo>
                          <a:pt x="180784" y="340614"/>
                        </a:lnTo>
                        <a:lnTo>
                          <a:pt x="272129" y="503682"/>
                        </a:lnTo>
                        <a:lnTo>
                          <a:pt x="292513" y="311277"/>
                        </a:lnTo>
                        <a:lnTo>
                          <a:pt x="473297" y="263843"/>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sp>
              <p:nvSpPr>
                <p:cNvPr id="358" name="Freeform: Shape 357">
                  <a:extLst>
                    <a:ext uri="{FF2B5EF4-FFF2-40B4-BE49-F238E27FC236}">
                      <a16:creationId xmlns:a16="http://schemas.microsoft.com/office/drawing/2014/main" id="{4FECD47F-64FC-4106-93C4-0647C3826DEA}"/>
                    </a:ext>
                  </a:extLst>
                </p:cNvPr>
                <p:cNvSpPr/>
                <p:nvPr/>
              </p:nvSpPr>
              <p:spPr>
                <a:xfrm>
                  <a:off x="2004154" y="1893247"/>
                  <a:ext cx="61995" cy="61995"/>
                </a:xfrm>
                <a:custGeom>
                  <a:avLst/>
                  <a:gdLst>
                    <a:gd name="connsiteX0" fmla="*/ 197168 w 190500"/>
                    <a:gd name="connsiteY0" fmla="*/ 98584 h 190500"/>
                    <a:gd name="connsiteX1" fmla="*/ 98584 w 190500"/>
                    <a:gd name="connsiteY1" fmla="*/ 197167 h 190500"/>
                    <a:gd name="connsiteX2" fmla="*/ 0 w 190500"/>
                    <a:gd name="connsiteY2" fmla="*/ 98584 h 190500"/>
                    <a:gd name="connsiteX3" fmla="*/ 98584 w 190500"/>
                    <a:gd name="connsiteY3" fmla="*/ 0 h 190500"/>
                    <a:gd name="connsiteX4" fmla="*/ 197168 w 190500"/>
                    <a:gd name="connsiteY4" fmla="*/ 98584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7168" y="98584"/>
                      </a:moveTo>
                      <a:cubicBezTo>
                        <a:pt x="197168" y="153030"/>
                        <a:pt x="153030" y="197167"/>
                        <a:pt x="98584" y="197167"/>
                      </a:cubicBezTo>
                      <a:cubicBezTo>
                        <a:pt x="44137" y="197167"/>
                        <a:pt x="0" y="153030"/>
                        <a:pt x="0" y="98584"/>
                      </a:cubicBezTo>
                      <a:cubicBezTo>
                        <a:pt x="0" y="44137"/>
                        <a:pt x="44137" y="0"/>
                        <a:pt x="98584" y="0"/>
                      </a:cubicBezTo>
                      <a:cubicBezTo>
                        <a:pt x="153030" y="0"/>
                        <a:pt x="197168" y="44137"/>
                        <a:pt x="197168" y="9858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nvGrpSpPr>
                <p:cNvPr id="359" name="Group 358">
                  <a:extLst>
                    <a:ext uri="{FF2B5EF4-FFF2-40B4-BE49-F238E27FC236}">
                      <a16:creationId xmlns:a16="http://schemas.microsoft.com/office/drawing/2014/main" id="{038B9018-8B46-40CA-9129-8FF77E3EC4D0}"/>
                    </a:ext>
                  </a:extLst>
                </p:cNvPr>
                <p:cNvGrpSpPr/>
                <p:nvPr/>
              </p:nvGrpSpPr>
              <p:grpSpPr>
                <a:xfrm>
                  <a:off x="1250277" y="793047"/>
                  <a:ext cx="1577359" cy="1279442"/>
                  <a:chOff x="1250277" y="699247"/>
                  <a:chExt cx="1577359" cy="1373242"/>
                </a:xfrm>
                <a:grpFill/>
              </p:grpSpPr>
              <p:grpSp>
                <p:nvGrpSpPr>
                  <p:cNvPr id="360" name="Group 359">
                    <a:extLst>
                      <a:ext uri="{FF2B5EF4-FFF2-40B4-BE49-F238E27FC236}">
                        <a16:creationId xmlns:a16="http://schemas.microsoft.com/office/drawing/2014/main" id="{F7C45009-718A-46BD-A1FB-8E474C024C03}"/>
                      </a:ext>
                    </a:extLst>
                  </p:cNvPr>
                  <p:cNvGrpSpPr/>
                  <p:nvPr/>
                </p:nvGrpSpPr>
                <p:grpSpPr>
                  <a:xfrm rot="20997099">
                    <a:off x="1250277" y="699247"/>
                    <a:ext cx="607260" cy="1373242"/>
                    <a:chOff x="2046450" y="1157001"/>
                    <a:chExt cx="2314020" cy="3831727"/>
                  </a:xfrm>
                  <a:grpFill/>
                </p:grpSpPr>
                <p:sp>
                  <p:nvSpPr>
                    <p:cNvPr id="379" name="Freeform: Shape 378">
                      <a:extLst>
                        <a:ext uri="{FF2B5EF4-FFF2-40B4-BE49-F238E27FC236}">
                          <a16:creationId xmlns:a16="http://schemas.microsoft.com/office/drawing/2014/main" id="{0BE77548-974C-4A67-B4CD-96376227210E}"/>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80" name="Freeform: Shape 379">
                      <a:extLst>
                        <a:ext uri="{FF2B5EF4-FFF2-40B4-BE49-F238E27FC236}">
                          <a16:creationId xmlns:a16="http://schemas.microsoft.com/office/drawing/2014/main" id="{467B8227-3127-475F-BAA6-C17842E76561}"/>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81" name="Freeform: Shape 380">
                      <a:extLst>
                        <a:ext uri="{FF2B5EF4-FFF2-40B4-BE49-F238E27FC236}">
                          <a16:creationId xmlns:a16="http://schemas.microsoft.com/office/drawing/2014/main" id="{FBFDE57E-58C1-4D2C-A55B-2BD914413F5A}"/>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82" name="Freeform: Shape 381">
                      <a:extLst>
                        <a:ext uri="{FF2B5EF4-FFF2-40B4-BE49-F238E27FC236}">
                          <a16:creationId xmlns:a16="http://schemas.microsoft.com/office/drawing/2014/main" id="{198A6C74-3302-4D13-AA50-06228330588E}"/>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83" name="Freeform: Shape 382">
                      <a:extLst>
                        <a:ext uri="{FF2B5EF4-FFF2-40B4-BE49-F238E27FC236}">
                          <a16:creationId xmlns:a16="http://schemas.microsoft.com/office/drawing/2014/main" id="{94FFC9DA-2434-446A-9A64-AAC58630E3AA}"/>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84" name="Freeform: Shape 383">
                      <a:extLst>
                        <a:ext uri="{FF2B5EF4-FFF2-40B4-BE49-F238E27FC236}">
                          <a16:creationId xmlns:a16="http://schemas.microsoft.com/office/drawing/2014/main" id="{2DFB8D6A-4DEF-42B9-AE76-130366E607C2}"/>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85" name="Freeform: Shape 384">
                      <a:extLst>
                        <a:ext uri="{FF2B5EF4-FFF2-40B4-BE49-F238E27FC236}">
                          <a16:creationId xmlns:a16="http://schemas.microsoft.com/office/drawing/2014/main" id="{3C34EEBB-BACB-4398-9370-B4AA028C18E9}"/>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86" name="Freeform: Shape 385">
                      <a:extLst>
                        <a:ext uri="{FF2B5EF4-FFF2-40B4-BE49-F238E27FC236}">
                          <a16:creationId xmlns:a16="http://schemas.microsoft.com/office/drawing/2014/main" id="{38D972DF-25BE-4122-BFF6-A628BF51A0EE}"/>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87" name="Freeform: Shape 386">
                      <a:extLst>
                        <a:ext uri="{FF2B5EF4-FFF2-40B4-BE49-F238E27FC236}">
                          <a16:creationId xmlns:a16="http://schemas.microsoft.com/office/drawing/2014/main" id="{A9BB684E-5EFB-4494-A3E6-1329C0353EF9}"/>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88" name="Freeform: Shape 387">
                      <a:extLst>
                        <a:ext uri="{FF2B5EF4-FFF2-40B4-BE49-F238E27FC236}">
                          <a16:creationId xmlns:a16="http://schemas.microsoft.com/office/drawing/2014/main" id="{AB990F35-D993-4B6C-80D2-0A5357411A98}"/>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89" name="Freeform: Shape 388">
                      <a:extLst>
                        <a:ext uri="{FF2B5EF4-FFF2-40B4-BE49-F238E27FC236}">
                          <a16:creationId xmlns:a16="http://schemas.microsoft.com/office/drawing/2014/main" id="{8A8D6A57-51A1-4EF1-8589-30C49DE4077F}"/>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90" name="Freeform: Shape 389">
                      <a:extLst>
                        <a:ext uri="{FF2B5EF4-FFF2-40B4-BE49-F238E27FC236}">
                          <a16:creationId xmlns:a16="http://schemas.microsoft.com/office/drawing/2014/main" id="{AE61665F-84C2-4920-AAE1-90853D846D0F}"/>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91" name="Freeform: Shape 390">
                      <a:extLst>
                        <a:ext uri="{FF2B5EF4-FFF2-40B4-BE49-F238E27FC236}">
                          <a16:creationId xmlns:a16="http://schemas.microsoft.com/office/drawing/2014/main" id="{4C221111-09FE-4C0C-A686-3779856452B4}"/>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92" name="Freeform: Shape 391">
                      <a:extLst>
                        <a:ext uri="{FF2B5EF4-FFF2-40B4-BE49-F238E27FC236}">
                          <a16:creationId xmlns:a16="http://schemas.microsoft.com/office/drawing/2014/main" id="{9BAFB85D-8F12-4F8F-A6E8-46F4B8E34B38}"/>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93" name="Freeform: Shape 392">
                      <a:extLst>
                        <a:ext uri="{FF2B5EF4-FFF2-40B4-BE49-F238E27FC236}">
                          <a16:creationId xmlns:a16="http://schemas.microsoft.com/office/drawing/2014/main" id="{F1DDAFC6-BE36-40A2-804B-988EC7A17550}"/>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94" name="Freeform: Shape 393">
                      <a:extLst>
                        <a:ext uri="{FF2B5EF4-FFF2-40B4-BE49-F238E27FC236}">
                          <a16:creationId xmlns:a16="http://schemas.microsoft.com/office/drawing/2014/main" id="{7B53E37F-4405-4B39-BC5D-6CF57C7F3FBA}"/>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95" name="Freeform: Shape 394">
                      <a:extLst>
                        <a:ext uri="{FF2B5EF4-FFF2-40B4-BE49-F238E27FC236}">
                          <a16:creationId xmlns:a16="http://schemas.microsoft.com/office/drawing/2014/main" id="{75A1A4E9-2D2D-4D45-8E9D-96E2F7E9C26F}"/>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grpSp>
                <p:nvGrpSpPr>
                  <p:cNvPr id="361" name="Group 360">
                    <a:extLst>
                      <a:ext uri="{FF2B5EF4-FFF2-40B4-BE49-F238E27FC236}">
                        <a16:creationId xmlns:a16="http://schemas.microsoft.com/office/drawing/2014/main" id="{B6CAD6B7-4EA4-40FF-9A43-9B5162935D46}"/>
                      </a:ext>
                    </a:extLst>
                  </p:cNvPr>
                  <p:cNvGrpSpPr/>
                  <p:nvPr/>
                </p:nvGrpSpPr>
                <p:grpSpPr>
                  <a:xfrm rot="602901" flipH="1">
                    <a:off x="2220376" y="699247"/>
                    <a:ext cx="607260" cy="1373242"/>
                    <a:chOff x="2046450" y="1157001"/>
                    <a:chExt cx="2314020" cy="3831727"/>
                  </a:xfrm>
                  <a:grpFill/>
                </p:grpSpPr>
                <p:sp>
                  <p:nvSpPr>
                    <p:cNvPr id="362" name="Freeform: Shape 361">
                      <a:extLst>
                        <a:ext uri="{FF2B5EF4-FFF2-40B4-BE49-F238E27FC236}">
                          <a16:creationId xmlns:a16="http://schemas.microsoft.com/office/drawing/2014/main" id="{8ACBFBFD-1838-4F67-8DAC-524311543D46}"/>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63" name="Freeform: Shape 362">
                      <a:extLst>
                        <a:ext uri="{FF2B5EF4-FFF2-40B4-BE49-F238E27FC236}">
                          <a16:creationId xmlns:a16="http://schemas.microsoft.com/office/drawing/2014/main" id="{F00F051C-0190-49F4-A2DE-7694AA383AD8}"/>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64" name="Freeform: Shape 363">
                      <a:extLst>
                        <a:ext uri="{FF2B5EF4-FFF2-40B4-BE49-F238E27FC236}">
                          <a16:creationId xmlns:a16="http://schemas.microsoft.com/office/drawing/2014/main" id="{D6292712-0A7F-4C8C-B1CA-054FDA016CDA}"/>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65" name="Freeform: Shape 364">
                      <a:extLst>
                        <a:ext uri="{FF2B5EF4-FFF2-40B4-BE49-F238E27FC236}">
                          <a16:creationId xmlns:a16="http://schemas.microsoft.com/office/drawing/2014/main" id="{D7358234-5BC6-4C0A-8922-DA2ED3D8547B}"/>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66" name="Freeform: Shape 365">
                      <a:extLst>
                        <a:ext uri="{FF2B5EF4-FFF2-40B4-BE49-F238E27FC236}">
                          <a16:creationId xmlns:a16="http://schemas.microsoft.com/office/drawing/2014/main" id="{8D36456D-1950-433B-B93B-8C1605F0AC8D}"/>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67" name="Freeform: Shape 366">
                      <a:extLst>
                        <a:ext uri="{FF2B5EF4-FFF2-40B4-BE49-F238E27FC236}">
                          <a16:creationId xmlns:a16="http://schemas.microsoft.com/office/drawing/2014/main" id="{2871D546-3AD1-47E1-94FA-E95C98FA136E}"/>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68" name="Freeform: Shape 367">
                      <a:extLst>
                        <a:ext uri="{FF2B5EF4-FFF2-40B4-BE49-F238E27FC236}">
                          <a16:creationId xmlns:a16="http://schemas.microsoft.com/office/drawing/2014/main" id="{EFA91BDF-2B04-40B8-A657-74550B773D35}"/>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69" name="Freeform: Shape 368">
                      <a:extLst>
                        <a:ext uri="{FF2B5EF4-FFF2-40B4-BE49-F238E27FC236}">
                          <a16:creationId xmlns:a16="http://schemas.microsoft.com/office/drawing/2014/main" id="{EBB64450-2A4A-4D08-8FD0-91CAC0D95C32}"/>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70" name="Freeform: Shape 369">
                      <a:extLst>
                        <a:ext uri="{FF2B5EF4-FFF2-40B4-BE49-F238E27FC236}">
                          <a16:creationId xmlns:a16="http://schemas.microsoft.com/office/drawing/2014/main" id="{6C174B0C-0BB3-4FE5-9764-BAE2A418DFD6}"/>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71" name="Freeform: Shape 370">
                      <a:extLst>
                        <a:ext uri="{FF2B5EF4-FFF2-40B4-BE49-F238E27FC236}">
                          <a16:creationId xmlns:a16="http://schemas.microsoft.com/office/drawing/2014/main" id="{99FE5375-2FFF-4A71-A515-D1A93C11018F}"/>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72" name="Freeform: Shape 371">
                      <a:extLst>
                        <a:ext uri="{FF2B5EF4-FFF2-40B4-BE49-F238E27FC236}">
                          <a16:creationId xmlns:a16="http://schemas.microsoft.com/office/drawing/2014/main" id="{C5FDE482-A8D0-43B6-9050-7D4E9561C29B}"/>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73" name="Freeform: Shape 372">
                      <a:extLst>
                        <a:ext uri="{FF2B5EF4-FFF2-40B4-BE49-F238E27FC236}">
                          <a16:creationId xmlns:a16="http://schemas.microsoft.com/office/drawing/2014/main" id="{0AD098E2-96DC-45A7-953E-40FBFE59BEF4}"/>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74" name="Freeform: Shape 373">
                      <a:extLst>
                        <a:ext uri="{FF2B5EF4-FFF2-40B4-BE49-F238E27FC236}">
                          <a16:creationId xmlns:a16="http://schemas.microsoft.com/office/drawing/2014/main" id="{4612ED53-6AAC-4C4C-980F-24E22E19F991}"/>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75" name="Freeform: Shape 374">
                      <a:extLst>
                        <a:ext uri="{FF2B5EF4-FFF2-40B4-BE49-F238E27FC236}">
                          <a16:creationId xmlns:a16="http://schemas.microsoft.com/office/drawing/2014/main" id="{AA74966E-9367-472E-94CC-D5A6744132DE}"/>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76" name="Freeform: Shape 375">
                      <a:extLst>
                        <a:ext uri="{FF2B5EF4-FFF2-40B4-BE49-F238E27FC236}">
                          <a16:creationId xmlns:a16="http://schemas.microsoft.com/office/drawing/2014/main" id="{5F2C8766-62FD-4DAD-B521-F71CE58294F5}"/>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77" name="Freeform: Shape 376">
                      <a:extLst>
                        <a:ext uri="{FF2B5EF4-FFF2-40B4-BE49-F238E27FC236}">
                          <a16:creationId xmlns:a16="http://schemas.microsoft.com/office/drawing/2014/main" id="{1BA7D4DD-ADE9-45DF-BEB4-F1A0B5045120}"/>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378" name="Freeform: Shape 377">
                      <a:extLst>
                        <a:ext uri="{FF2B5EF4-FFF2-40B4-BE49-F238E27FC236}">
                          <a16:creationId xmlns:a16="http://schemas.microsoft.com/office/drawing/2014/main" id="{CBBA0C90-9E70-4C44-84B4-4E562D8C6013}"/>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grpSp>
          </p:grpSp>
        </p:grpSp>
        <p:grpSp>
          <p:nvGrpSpPr>
            <p:cNvPr id="399" name="Group 398">
              <a:extLst>
                <a:ext uri="{FF2B5EF4-FFF2-40B4-BE49-F238E27FC236}">
                  <a16:creationId xmlns:a16="http://schemas.microsoft.com/office/drawing/2014/main" id="{18A8929D-7A0F-4251-B269-3F230188EE62}"/>
                </a:ext>
              </a:extLst>
            </p:cNvPr>
            <p:cNvGrpSpPr/>
            <p:nvPr/>
          </p:nvGrpSpPr>
          <p:grpSpPr>
            <a:xfrm>
              <a:off x="6449165" y="454977"/>
              <a:ext cx="1535082" cy="1590020"/>
              <a:chOff x="1151876" y="336756"/>
              <a:chExt cx="1774162" cy="1837656"/>
            </a:xfrm>
            <a:solidFill>
              <a:schemeClr val="bg2"/>
            </a:solidFill>
          </p:grpSpPr>
          <p:sp>
            <p:nvSpPr>
              <p:cNvPr id="400" name="TextBox 399">
                <a:extLst>
                  <a:ext uri="{FF2B5EF4-FFF2-40B4-BE49-F238E27FC236}">
                    <a16:creationId xmlns:a16="http://schemas.microsoft.com/office/drawing/2014/main" id="{9F82D5E0-CF89-4AAC-9B1C-721000A3DDB1}"/>
                  </a:ext>
                </a:extLst>
              </p:cNvPr>
              <p:cNvSpPr txBox="1"/>
              <p:nvPr/>
            </p:nvSpPr>
            <p:spPr>
              <a:xfrm>
                <a:off x="1354122" y="767394"/>
                <a:ext cx="1353480" cy="889277"/>
              </a:xfrm>
              <a:prstGeom prst="rect">
                <a:avLst/>
              </a:prstGeom>
              <a:noFill/>
            </p:spPr>
            <p:txBody>
              <a:bodyPr wrap="square" lIns="88900" tIns="38100" rIns="88900" bIns="38100" rtlCol="0">
                <a:noAutofit/>
              </a:bodyPr>
              <a:lstStyle/>
              <a:p>
                <a:pPr algn="ctr">
                  <a:defRPr/>
                </a:pPr>
                <a:r>
                  <a:rPr lang="en-US" sz="900">
                    <a:solidFill>
                      <a:schemeClr val="bg2"/>
                    </a:solidFill>
                    <a:latin typeface="CiscoSansTT Light" panose="020B0503020201020303" pitchFamily="34" charset="0"/>
                    <a:cs typeface="+mn-cs"/>
                  </a:rPr>
                  <a:t>Secure Web Gateway </a:t>
                </a:r>
                <a:br>
                  <a:rPr lang="en-US" sz="900">
                    <a:solidFill>
                      <a:schemeClr val="bg2"/>
                    </a:solidFill>
                    <a:latin typeface="CiscoSansTT Light" panose="020B0503020201020303" pitchFamily="34" charset="0"/>
                    <a:cs typeface="+mn-cs"/>
                  </a:rPr>
                </a:br>
                <a:r>
                  <a:rPr lang="en-US" sz="900">
                    <a:solidFill>
                      <a:schemeClr val="bg2"/>
                    </a:solidFill>
                    <a:latin typeface="CiscoSansTT Light" panose="020B0503020201020303" pitchFamily="34" charset="0"/>
                    <a:cs typeface="+mn-cs"/>
                  </a:rPr>
                  <a:t>Magic Quadrant 2018</a:t>
                </a:r>
              </a:p>
              <a:p>
                <a:pPr algn="ctr">
                  <a:defRPr/>
                </a:pPr>
                <a:r>
                  <a:rPr lang="en-US" sz="900">
                    <a:solidFill>
                      <a:schemeClr val="bg2"/>
                    </a:solidFill>
                    <a:latin typeface="CiscoSansTT Light" panose="020B0503020201020303" pitchFamily="34" charset="0"/>
                    <a:cs typeface="+mn-cs"/>
                  </a:rPr>
                  <a:t>Challenger</a:t>
                </a:r>
              </a:p>
            </p:txBody>
          </p:sp>
          <p:grpSp>
            <p:nvGrpSpPr>
              <p:cNvPr id="401" name="Group 400">
                <a:extLst>
                  <a:ext uri="{FF2B5EF4-FFF2-40B4-BE49-F238E27FC236}">
                    <a16:creationId xmlns:a16="http://schemas.microsoft.com/office/drawing/2014/main" id="{16DB36ED-F3FD-4B94-9F9A-0FF3787315FE}"/>
                  </a:ext>
                </a:extLst>
              </p:cNvPr>
              <p:cNvGrpSpPr/>
              <p:nvPr/>
            </p:nvGrpSpPr>
            <p:grpSpPr>
              <a:xfrm>
                <a:off x="1151876" y="336756"/>
                <a:ext cx="1774162" cy="1837656"/>
                <a:chOff x="1250277" y="438678"/>
                <a:chExt cx="1577359" cy="1633811"/>
              </a:xfrm>
              <a:grpFill/>
            </p:grpSpPr>
            <p:grpSp>
              <p:nvGrpSpPr>
                <p:cNvPr id="402" name="Group 401">
                  <a:extLst>
                    <a:ext uri="{FF2B5EF4-FFF2-40B4-BE49-F238E27FC236}">
                      <a16:creationId xmlns:a16="http://schemas.microsoft.com/office/drawing/2014/main" id="{EBC56E75-E4C0-4099-B40B-8B78DA323ECD}"/>
                    </a:ext>
                  </a:extLst>
                </p:cNvPr>
                <p:cNvGrpSpPr/>
                <p:nvPr/>
              </p:nvGrpSpPr>
              <p:grpSpPr>
                <a:xfrm>
                  <a:off x="1662409" y="438678"/>
                  <a:ext cx="744531" cy="259659"/>
                  <a:chOff x="3535801" y="164442"/>
                  <a:chExt cx="2077447" cy="724520"/>
                </a:xfrm>
                <a:grpFill/>
              </p:grpSpPr>
              <p:sp>
                <p:nvSpPr>
                  <p:cNvPr id="441" name="Freeform: Shape 440">
                    <a:extLst>
                      <a:ext uri="{FF2B5EF4-FFF2-40B4-BE49-F238E27FC236}">
                        <a16:creationId xmlns:a16="http://schemas.microsoft.com/office/drawing/2014/main" id="{F3A262DE-CCD0-492A-A694-C7F039EFB643}"/>
                      </a:ext>
                    </a:extLst>
                  </p:cNvPr>
                  <p:cNvSpPr/>
                  <p:nvPr/>
                </p:nvSpPr>
                <p:spPr>
                  <a:xfrm>
                    <a:off x="4271802" y="164442"/>
                    <a:ext cx="605444" cy="614092"/>
                  </a:xfrm>
                  <a:custGeom>
                    <a:avLst/>
                    <a:gdLst>
                      <a:gd name="connsiteX0" fmla="*/ 0 w 666750"/>
                      <a:gd name="connsiteY0" fmla="*/ 260128 h 676275"/>
                      <a:gd name="connsiteX1" fmla="*/ 256889 w 666750"/>
                      <a:gd name="connsiteY1" fmla="*/ 260128 h 676275"/>
                      <a:gd name="connsiteX2" fmla="*/ 336232 w 666750"/>
                      <a:gd name="connsiteY2" fmla="*/ 0 h 676275"/>
                      <a:gd name="connsiteX3" fmla="*/ 415576 w 666750"/>
                      <a:gd name="connsiteY3" fmla="*/ 260128 h 676275"/>
                      <a:gd name="connsiteX4" fmla="*/ 672370 w 666750"/>
                      <a:gd name="connsiteY4" fmla="*/ 260128 h 676275"/>
                      <a:gd name="connsiteX5" fmla="*/ 464630 w 666750"/>
                      <a:gd name="connsiteY5" fmla="*/ 420815 h 676275"/>
                      <a:gd name="connsiteX6" fmla="*/ 543973 w 666750"/>
                      <a:gd name="connsiteY6" fmla="*/ 680942 h 676275"/>
                      <a:gd name="connsiteX7" fmla="*/ 336232 w 666750"/>
                      <a:gd name="connsiteY7" fmla="*/ 520160 h 676275"/>
                      <a:gd name="connsiteX8" fmla="*/ 128397 w 666750"/>
                      <a:gd name="connsiteY8" fmla="*/ 680942 h 676275"/>
                      <a:gd name="connsiteX9" fmla="*/ 207836 w 666750"/>
                      <a:gd name="connsiteY9" fmla="*/ 420815 h 676275"/>
                      <a:gd name="connsiteX10" fmla="*/ 0 w 666750"/>
                      <a:gd name="connsiteY10" fmla="*/ 260128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0" h="676275">
                        <a:moveTo>
                          <a:pt x="0" y="260128"/>
                        </a:moveTo>
                        <a:lnTo>
                          <a:pt x="256889" y="260128"/>
                        </a:lnTo>
                        <a:lnTo>
                          <a:pt x="336232" y="0"/>
                        </a:lnTo>
                        <a:lnTo>
                          <a:pt x="415576" y="260128"/>
                        </a:lnTo>
                        <a:lnTo>
                          <a:pt x="672370" y="260128"/>
                        </a:lnTo>
                        <a:lnTo>
                          <a:pt x="464630" y="420815"/>
                        </a:lnTo>
                        <a:lnTo>
                          <a:pt x="543973" y="680942"/>
                        </a:lnTo>
                        <a:lnTo>
                          <a:pt x="336232" y="520160"/>
                        </a:lnTo>
                        <a:lnTo>
                          <a:pt x="128397" y="680942"/>
                        </a:lnTo>
                        <a:lnTo>
                          <a:pt x="207836" y="420815"/>
                        </a:lnTo>
                        <a:lnTo>
                          <a:pt x="0" y="260128"/>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42" name="Freeform: Shape 441">
                    <a:extLst>
                      <a:ext uri="{FF2B5EF4-FFF2-40B4-BE49-F238E27FC236}">
                        <a16:creationId xmlns:a16="http://schemas.microsoft.com/office/drawing/2014/main" id="{6DFCB6A6-5FDA-493E-9D37-B707E62322C7}"/>
                      </a:ext>
                    </a:extLst>
                  </p:cNvPr>
                  <p:cNvSpPr/>
                  <p:nvPr/>
                </p:nvSpPr>
                <p:spPr>
                  <a:xfrm>
                    <a:off x="3535801" y="439204"/>
                    <a:ext cx="423812" cy="449758"/>
                  </a:xfrm>
                  <a:custGeom>
                    <a:avLst/>
                    <a:gdLst>
                      <a:gd name="connsiteX0" fmla="*/ 0 w 466725"/>
                      <a:gd name="connsiteY0" fmla="*/ 263843 h 495300"/>
                      <a:gd name="connsiteX1" fmla="*/ 168116 w 466725"/>
                      <a:gd name="connsiteY1" fmla="*/ 192405 h 495300"/>
                      <a:gd name="connsiteX2" fmla="*/ 147733 w 466725"/>
                      <a:gd name="connsiteY2" fmla="*/ 0 h 495300"/>
                      <a:gd name="connsiteX3" fmla="*/ 272034 w 466725"/>
                      <a:gd name="connsiteY3" fmla="*/ 148304 h 495300"/>
                      <a:gd name="connsiteX4" fmla="*/ 440245 w 466725"/>
                      <a:gd name="connsiteY4" fmla="*/ 76771 h 495300"/>
                      <a:gd name="connsiteX5" fmla="*/ 348901 w 466725"/>
                      <a:gd name="connsiteY5" fmla="*/ 239840 h 495300"/>
                      <a:gd name="connsiteX6" fmla="*/ 473202 w 466725"/>
                      <a:gd name="connsiteY6" fmla="*/ 388049 h 495300"/>
                      <a:gd name="connsiteX7" fmla="*/ 292417 w 466725"/>
                      <a:gd name="connsiteY7" fmla="*/ 340614 h 495300"/>
                      <a:gd name="connsiteX8" fmla="*/ 201073 w 466725"/>
                      <a:gd name="connsiteY8" fmla="*/ 503682 h 495300"/>
                      <a:gd name="connsiteX9" fmla="*/ 180689 w 466725"/>
                      <a:gd name="connsiteY9" fmla="*/ 311277 h 495300"/>
                      <a:gd name="connsiteX10" fmla="*/ 0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0" y="263843"/>
                        </a:moveTo>
                        <a:lnTo>
                          <a:pt x="168116" y="192405"/>
                        </a:lnTo>
                        <a:lnTo>
                          <a:pt x="147733" y="0"/>
                        </a:lnTo>
                        <a:lnTo>
                          <a:pt x="272034" y="148304"/>
                        </a:lnTo>
                        <a:lnTo>
                          <a:pt x="440245" y="76771"/>
                        </a:lnTo>
                        <a:lnTo>
                          <a:pt x="348901" y="239840"/>
                        </a:lnTo>
                        <a:lnTo>
                          <a:pt x="473202" y="388049"/>
                        </a:lnTo>
                        <a:lnTo>
                          <a:pt x="292417" y="340614"/>
                        </a:lnTo>
                        <a:lnTo>
                          <a:pt x="201073" y="503682"/>
                        </a:lnTo>
                        <a:lnTo>
                          <a:pt x="180689" y="311277"/>
                        </a:lnTo>
                        <a:lnTo>
                          <a:pt x="0" y="263843"/>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43" name="Freeform: Shape 442">
                    <a:extLst>
                      <a:ext uri="{FF2B5EF4-FFF2-40B4-BE49-F238E27FC236}">
                        <a16:creationId xmlns:a16="http://schemas.microsoft.com/office/drawing/2014/main" id="{830D3A63-05D3-4ADB-B9FD-711B0D139BEF}"/>
                      </a:ext>
                    </a:extLst>
                  </p:cNvPr>
                  <p:cNvSpPr/>
                  <p:nvPr/>
                </p:nvSpPr>
                <p:spPr>
                  <a:xfrm>
                    <a:off x="5189436" y="439204"/>
                    <a:ext cx="423812" cy="449758"/>
                  </a:xfrm>
                  <a:custGeom>
                    <a:avLst/>
                    <a:gdLst>
                      <a:gd name="connsiteX0" fmla="*/ 473297 w 466725"/>
                      <a:gd name="connsiteY0" fmla="*/ 263843 h 495300"/>
                      <a:gd name="connsiteX1" fmla="*/ 305086 w 466725"/>
                      <a:gd name="connsiteY1" fmla="*/ 192405 h 495300"/>
                      <a:gd name="connsiteX2" fmla="*/ 325469 w 466725"/>
                      <a:gd name="connsiteY2" fmla="*/ 0 h 495300"/>
                      <a:gd name="connsiteX3" fmla="*/ 201168 w 466725"/>
                      <a:gd name="connsiteY3" fmla="*/ 148304 h 495300"/>
                      <a:gd name="connsiteX4" fmla="*/ 33052 w 466725"/>
                      <a:gd name="connsiteY4" fmla="*/ 76771 h 495300"/>
                      <a:gd name="connsiteX5" fmla="*/ 124396 w 466725"/>
                      <a:gd name="connsiteY5" fmla="*/ 239840 h 495300"/>
                      <a:gd name="connsiteX6" fmla="*/ 0 w 466725"/>
                      <a:gd name="connsiteY6" fmla="*/ 388049 h 495300"/>
                      <a:gd name="connsiteX7" fmla="*/ 180784 w 466725"/>
                      <a:gd name="connsiteY7" fmla="*/ 340614 h 495300"/>
                      <a:gd name="connsiteX8" fmla="*/ 272129 w 466725"/>
                      <a:gd name="connsiteY8" fmla="*/ 503682 h 495300"/>
                      <a:gd name="connsiteX9" fmla="*/ 292513 w 466725"/>
                      <a:gd name="connsiteY9" fmla="*/ 311277 h 495300"/>
                      <a:gd name="connsiteX10" fmla="*/ 473297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473297" y="263843"/>
                        </a:moveTo>
                        <a:lnTo>
                          <a:pt x="305086" y="192405"/>
                        </a:lnTo>
                        <a:lnTo>
                          <a:pt x="325469" y="0"/>
                        </a:lnTo>
                        <a:lnTo>
                          <a:pt x="201168" y="148304"/>
                        </a:lnTo>
                        <a:lnTo>
                          <a:pt x="33052" y="76771"/>
                        </a:lnTo>
                        <a:lnTo>
                          <a:pt x="124396" y="239840"/>
                        </a:lnTo>
                        <a:lnTo>
                          <a:pt x="0" y="388049"/>
                        </a:lnTo>
                        <a:lnTo>
                          <a:pt x="180784" y="340614"/>
                        </a:lnTo>
                        <a:lnTo>
                          <a:pt x="272129" y="503682"/>
                        </a:lnTo>
                        <a:lnTo>
                          <a:pt x="292513" y="311277"/>
                        </a:lnTo>
                        <a:lnTo>
                          <a:pt x="473297" y="263843"/>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sp>
              <p:nvSpPr>
                <p:cNvPr id="403" name="Freeform: Shape 402">
                  <a:extLst>
                    <a:ext uri="{FF2B5EF4-FFF2-40B4-BE49-F238E27FC236}">
                      <a16:creationId xmlns:a16="http://schemas.microsoft.com/office/drawing/2014/main" id="{F5C291C2-D454-4BB9-8CEA-E3986528ECD8}"/>
                    </a:ext>
                  </a:extLst>
                </p:cNvPr>
                <p:cNvSpPr/>
                <p:nvPr/>
              </p:nvSpPr>
              <p:spPr>
                <a:xfrm>
                  <a:off x="2004154" y="1893247"/>
                  <a:ext cx="61995" cy="61995"/>
                </a:xfrm>
                <a:custGeom>
                  <a:avLst/>
                  <a:gdLst>
                    <a:gd name="connsiteX0" fmla="*/ 197168 w 190500"/>
                    <a:gd name="connsiteY0" fmla="*/ 98584 h 190500"/>
                    <a:gd name="connsiteX1" fmla="*/ 98584 w 190500"/>
                    <a:gd name="connsiteY1" fmla="*/ 197167 h 190500"/>
                    <a:gd name="connsiteX2" fmla="*/ 0 w 190500"/>
                    <a:gd name="connsiteY2" fmla="*/ 98584 h 190500"/>
                    <a:gd name="connsiteX3" fmla="*/ 98584 w 190500"/>
                    <a:gd name="connsiteY3" fmla="*/ 0 h 190500"/>
                    <a:gd name="connsiteX4" fmla="*/ 197168 w 190500"/>
                    <a:gd name="connsiteY4" fmla="*/ 98584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7168" y="98584"/>
                      </a:moveTo>
                      <a:cubicBezTo>
                        <a:pt x="197168" y="153030"/>
                        <a:pt x="153030" y="197167"/>
                        <a:pt x="98584" y="197167"/>
                      </a:cubicBezTo>
                      <a:cubicBezTo>
                        <a:pt x="44137" y="197167"/>
                        <a:pt x="0" y="153030"/>
                        <a:pt x="0" y="98584"/>
                      </a:cubicBezTo>
                      <a:cubicBezTo>
                        <a:pt x="0" y="44137"/>
                        <a:pt x="44137" y="0"/>
                        <a:pt x="98584" y="0"/>
                      </a:cubicBezTo>
                      <a:cubicBezTo>
                        <a:pt x="153030" y="0"/>
                        <a:pt x="197168" y="44137"/>
                        <a:pt x="197168" y="9858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nvGrpSpPr>
                <p:cNvPr id="404" name="Group 403">
                  <a:extLst>
                    <a:ext uri="{FF2B5EF4-FFF2-40B4-BE49-F238E27FC236}">
                      <a16:creationId xmlns:a16="http://schemas.microsoft.com/office/drawing/2014/main" id="{F2EB0012-F952-43F1-9646-5D1B0C95EACF}"/>
                    </a:ext>
                  </a:extLst>
                </p:cNvPr>
                <p:cNvGrpSpPr/>
                <p:nvPr/>
              </p:nvGrpSpPr>
              <p:grpSpPr>
                <a:xfrm>
                  <a:off x="1250277" y="793047"/>
                  <a:ext cx="1577359" cy="1279442"/>
                  <a:chOff x="1250277" y="699247"/>
                  <a:chExt cx="1577359" cy="1373242"/>
                </a:xfrm>
                <a:grpFill/>
              </p:grpSpPr>
              <p:grpSp>
                <p:nvGrpSpPr>
                  <p:cNvPr id="405" name="Group 404">
                    <a:extLst>
                      <a:ext uri="{FF2B5EF4-FFF2-40B4-BE49-F238E27FC236}">
                        <a16:creationId xmlns:a16="http://schemas.microsoft.com/office/drawing/2014/main" id="{F22B5E67-D8BD-4F5B-BB92-E05D54EFC4A2}"/>
                      </a:ext>
                    </a:extLst>
                  </p:cNvPr>
                  <p:cNvGrpSpPr/>
                  <p:nvPr/>
                </p:nvGrpSpPr>
                <p:grpSpPr>
                  <a:xfrm rot="20997099">
                    <a:off x="1250277" y="699247"/>
                    <a:ext cx="607260" cy="1373242"/>
                    <a:chOff x="2046450" y="1157001"/>
                    <a:chExt cx="2314020" cy="3831727"/>
                  </a:xfrm>
                  <a:grpFill/>
                </p:grpSpPr>
                <p:sp>
                  <p:nvSpPr>
                    <p:cNvPr id="424" name="Freeform: Shape 423">
                      <a:extLst>
                        <a:ext uri="{FF2B5EF4-FFF2-40B4-BE49-F238E27FC236}">
                          <a16:creationId xmlns:a16="http://schemas.microsoft.com/office/drawing/2014/main" id="{01310D82-93C3-479D-B333-86B2ACE018AF}"/>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25" name="Freeform: Shape 424">
                      <a:extLst>
                        <a:ext uri="{FF2B5EF4-FFF2-40B4-BE49-F238E27FC236}">
                          <a16:creationId xmlns:a16="http://schemas.microsoft.com/office/drawing/2014/main" id="{1A9A7233-866F-4EB8-9DFB-0C17B064E55E}"/>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26" name="Freeform: Shape 425">
                      <a:extLst>
                        <a:ext uri="{FF2B5EF4-FFF2-40B4-BE49-F238E27FC236}">
                          <a16:creationId xmlns:a16="http://schemas.microsoft.com/office/drawing/2014/main" id="{10820C56-74EF-4218-B75A-1EE85778BDA3}"/>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27" name="Freeform: Shape 426">
                      <a:extLst>
                        <a:ext uri="{FF2B5EF4-FFF2-40B4-BE49-F238E27FC236}">
                          <a16:creationId xmlns:a16="http://schemas.microsoft.com/office/drawing/2014/main" id="{32083C01-D430-4368-86ED-E63D2E9C59E6}"/>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28" name="Freeform: Shape 427">
                      <a:extLst>
                        <a:ext uri="{FF2B5EF4-FFF2-40B4-BE49-F238E27FC236}">
                          <a16:creationId xmlns:a16="http://schemas.microsoft.com/office/drawing/2014/main" id="{E0859C98-F177-45C4-BF55-30E5E68B1D32}"/>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29" name="Freeform: Shape 428">
                      <a:extLst>
                        <a:ext uri="{FF2B5EF4-FFF2-40B4-BE49-F238E27FC236}">
                          <a16:creationId xmlns:a16="http://schemas.microsoft.com/office/drawing/2014/main" id="{FF0A2953-3D5B-4C47-94A0-6EA0B620E863}"/>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30" name="Freeform: Shape 429">
                      <a:extLst>
                        <a:ext uri="{FF2B5EF4-FFF2-40B4-BE49-F238E27FC236}">
                          <a16:creationId xmlns:a16="http://schemas.microsoft.com/office/drawing/2014/main" id="{9C7608CA-8019-434F-9941-2BE36DE73C0E}"/>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31" name="Freeform: Shape 430">
                      <a:extLst>
                        <a:ext uri="{FF2B5EF4-FFF2-40B4-BE49-F238E27FC236}">
                          <a16:creationId xmlns:a16="http://schemas.microsoft.com/office/drawing/2014/main" id="{40A5BB58-49EE-4CB4-8F82-935CDB525A5F}"/>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32" name="Freeform: Shape 431">
                      <a:extLst>
                        <a:ext uri="{FF2B5EF4-FFF2-40B4-BE49-F238E27FC236}">
                          <a16:creationId xmlns:a16="http://schemas.microsoft.com/office/drawing/2014/main" id="{58E78416-31F2-417E-8CF3-1A8FDE1B78EE}"/>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33" name="Freeform: Shape 432">
                      <a:extLst>
                        <a:ext uri="{FF2B5EF4-FFF2-40B4-BE49-F238E27FC236}">
                          <a16:creationId xmlns:a16="http://schemas.microsoft.com/office/drawing/2014/main" id="{5ED9A608-C774-4F29-989A-BF3EA71F8DB5}"/>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34" name="Freeform: Shape 433">
                      <a:extLst>
                        <a:ext uri="{FF2B5EF4-FFF2-40B4-BE49-F238E27FC236}">
                          <a16:creationId xmlns:a16="http://schemas.microsoft.com/office/drawing/2014/main" id="{F5072DEF-F7D3-40C5-96F9-4B9A4526EDB2}"/>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35" name="Freeform: Shape 434">
                      <a:extLst>
                        <a:ext uri="{FF2B5EF4-FFF2-40B4-BE49-F238E27FC236}">
                          <a16:creationId xmlns:a16="http://schemas.microsoft.com/office/drawing/2014/main" id="{7FBE8B33-C93C-438F-B413-1FA416B4615D}"/>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36" name="Freeform: Shape 435">
                      <a:extLst>
                        <a:ext uri="{FF2B5EF4-FFF2-40B4-BE49-F238E27FC236}">
                          <a16:creationId xmlns:a16="http://schemas.microsoft.com/office/drawing/2014/main" id="{EB566BE0-838D-42DA-9A7A-E530249B72F6}"/>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37" name="Freeform: Shape 436">
                      <a:extLst>
                        <a:ext uri="{FF2B5EF4-FFF2-40B4-BE49-F238E27FC236}">
                          <a16:creationId xmlns:a16="http://schemas.microsoft.com/office/drawing/2014/main" id="{AC9E4725-5C16-4E72-9904-4C970456D622}"/>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38" name="Freeform: Shape 437">
                      <a:extLst>
                        <a:ext uri="{FF2B5EF4-FFF2-40B4-BE49-F238E27FC236}">
                          <a16:creationId xmlns:a16="http://schemas.microsoft.com/office/drawing/2014/main" id="{4E34CC05-C4E0-4D25-957A-A6081E25C7D9}"/>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39" name="Freeform: Shape 438">
                      <a:extLst>
                        <a:ext uri="{FF2B5EF4-FFF2-40B4-BE49-F238E27FC236}">
                          <a16:creationId xmlns:a16="http://schemas.microsoft.com/office/drawing/2014/main" id="{243DF40A-9ECE-43B8-A030-D2D8871D7F4B}"/>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40" name="Freeform: Shape 439">
                      <a:extLst>
                        <a:ext uri="{FF2B5EF4-FFF2-40B4-BE49-F238E27FC236}">
                          <a16:creationId xmlns:a16="http://schemas.microsoft.com/office/drawing/2014/main" id="{2DEA9ED9-2BF6-49EB-AB16-F415050B1839}"/>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grpSp>
                <p:nvGrpSpPr>
                  <p:cNvPr id="406" name="Group 405">
                    <a:extLst>
                      <a:ext uri="{FF2B5EF4-FFF2-40B4-BE49-F238E27FC236}">
                        <a16:creationId xmlns:a16="http://schemas.microsoft.com/office/drawing/2014/main" id="{B7A5CB1F-9B06-432E-8050-D4FBC26AAAE5}"/>
                      </a:ext>
                    </a:extLst>
                  </p:cNvPr>
                  <p:cNvGrpSpPr/>
                  <p:nvPr/>
                </p:nvGrpSpPr>
                <p:grpSpPr>
                  <a:xfrm rot="602901" flipH="1">
                    <a:off x="2220376" y="699247"/>
                    <a:ext cx="607260" cy="1373242"/>
                    <a:chOff x="2046450" y="1157001"/>
                    <a:chExt cx="2314020" cy="3831727"/>
                  </a:xfrm>
                  <a:grpFill/>
                </p:grpSpPr>
                <p:sp>
                  <p:nvSpPr>
                    <p:cNvPr id="407" name="Freeform: Shape 406">
                      <a:extLst>
                        <a:ext uri="{FF2B5EF4-FFF2-40B4-BE49-F238E27FC236}">
                          <a16:creationId xmlns:a16="http://schemas.microsoft.com/office/drawing/2014/main" id="{C6D16A83-652B-40DD-A1BF-C3E5DA2DF8EF}"/>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08" name="Freeform: Shape 407">
                      <a:extLst>
                        <a:ext uri="{FF2B5EF4-FFF2-40B4-BE49-F238E27FC236}">
                          <a16:creationId xmlns:a16="http://schemas.microsoft.com/office/drawing/2014/main" id="{0ABDF289-EC06-44E0-9664-4A116E0F40E1}"/>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09" name="Freeform: Shape 408">
                      <a:extLst>
                        <a:ext uri="{FF2B5EF4-FFF2-40B4-BE49-F238E27FC236}">
                          <a16:creationId xmlns:a16="http://schemas.microsoft.com/office/drawing/2014/main" id="{9903C484-A325-4486-A70C-8827D2A830C2}"/>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10" name="Freeform: Shape 409">
                      <a:extLst>
                        <a:ext uri="{FF2B5EF4-FFF2-40B4-BE49-F238E27FC236}">
                          <a16:creationId xmlns:a16="http://schemas.microsoft.com/office/drawing/2014/main" id="{C54D27CE-D16A-4A0D-8B4B-8767FE88ECF2}"/>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11" name="Freeform: Shape 410">
                      <a:extLst>
                        <a:ext uri="{FF2B5EF4-FFF2-40B4-BE49-F238E27FC236}">
                          <a16:creationId xmlns:a16="http://schemas.microsoft.com/office/drawing/2014/main" id="{7242525B-F7B7-4BEE-AFD5-281BE13E1877}"/>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12" name="Freeform: Shape 411">
                      <a:extLst>
                        <a:ext uri="{FF2B5EF4-FFF2-40B4-BE49-F238E27FC236}">
                          <a16:creationId xmlns:a16="http://schemas.microsoft.com/office/drawing/2014/main" id="{A88320D0-7D0C-4DDE-A145-BF74DBC1205C}"/>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13" name="Freeform: Shape 412">
                      <a:extLst>
                        <a:ext uri="{FF2B5EF4-FFF2-40B4-BE49-F238E27FC236}">
                          <a16:creationId xmlns:a16="http://schemas.microsoft.com/office/drawing/2014/main" id="{0864D974-90A3-4659-9CAB-DFF27CB24618}"/>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14" name="Freeform: Shape 413">
                      <a:extLst>
                        <a:ext uri="{FF2B5EF4-FFF2-40B4-BE49-F238E27FC236}">
                          <a16:creationId xmlns:a16="http://schemas.microsoft.com/office/drawing/2014/main" id="{88169C6A-E535-4EE6-AF91-6DC2073F80AF}"/>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15" name="Freeform: Shape 414">
                      <a:extLst>
                        <a:ext uri="{FF2B5EF4-FFF2-40B4-BE49-F238E27FC236}">
                          <a16:creationId xmlns:a16="http://schemas.microsoft.com/office/drawing/2014/main" id="{5BA373AA-9FB4-4375-B74A-3163BCA2B7F9}"/>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16" name="Freeform: Shape 415">
                      <a:extLst>
                        <a:ext uri="{FF2B5EF4-FFF2-40B4-BE49-F238E27FC236}">
                          <a16:creationId xmlns:a16="http://schemas.microsoft.com/office/drawing/2014/main" id="{0997B159-B827-4D43-9133-5F710EFA244E}"/>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17" name="Freeform: Shape 416">
                      <a:extLst>
                        <a:ext uri="{FF2B5EF4-FFF2-40B4-BE49-F238E27FC236}">
                          <a16:creationId xmlns:a16="http://schemas.microsoft.com/office/drawing/2014/main" id="{382D36FA-80B8-4C72-BFF6-56D10609067D}"/>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18" name="Freeform: Shape 417">
                      <a:extLst>
                        <a:ext uri="{FF2B5EF4-FFF2-40B4-BE49-F238E27FC236}">
                          <a16:creationId xmlns:a16="http://schemas.microsoft.com/office/drawing/2014/main" id="{FACF0EBF-25CC-4D35-979D-D239C91BE021}"/>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19" name="Freeform: Shape 418">
                      <a:extLst>
                        <a:ext uri="{FF2B5EF4-FFF2-40B4-BE49-F238E27FC236}">
                          <a16:creationId xmlns:a16="http://schemas.microsoft.com/office/drawing/2014/main" id="{D554F57D-F5BB-4884-84AC-7D2FC23D69AC}"/>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20" name="Freeform: Shape 419">
                      <a:extLst>
                        <a:ext uri="{FF2B5EF4-FFF2-40B4-BE49-F238E27FC236}">
                          <a16:creationId xmlns:a16="http://schemas.microsoft.com/office/drawing/2014/main" id="{96C1AAEE-3A64-4978-A6E7-F28BBE170064}"/>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21" name="Freeform: Shape 420">
                      <a:extLst>
                        <a:ext uri="{FF2B5EF4-FFF2-40B4-BE49-F238E27FC236}">
                          <a16:creationId xmlns:a16="http://schemas.microsoft.com/office/drawing/2014/main" id="{17AD8494-36F0-4F0B-BE30-652EB2D5E1C6}"/>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22" name="Freeform: Shape 421">
                      <a:extLst>
                        <a:ext uri="{FF2B5EF4-FFF2-40B4-BE49-F238E27FC236}">
                          <a16:creationId xmlns:a16="http://schemas.microsoft.com/office/drawing/2014/main" id="{299DE33F-47E4-4B4E-A88E-8E6B747F8E7C}"/>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23" name="Freeform: Shape 422">
                      <a:extLst>
                        <a:ext uri="{FF2B5EF4-FFF2-40B4-BE49-F238E27FC236}">
                          <a16:creationId xmlns:a16="http://schemas.microsoft.com/office/drawing/2014/main" id="{A2ABBCEA-CECD-4E8F-994E-95376FAF3417}"/>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grpSp>
          </p:grpSp>
        </p:grpSp>
        <p:grpSp>
          <p:nvGrpSpPr>
            <p:cNvPr id="583" name="Group 582">
              <a:extLst>
                <a:ext uri="{FF2B5EF4-FFF2-40B4-BE49-F238E27FC236}">
                  <a16:creationId xmlns:a16="http://schemas.microsoft.com/office/drawing/2014/main" id="{3004BF10-1819-4606-8CA0-44B6F3A8D652}"/>
                </a:ext>
              </a:extLst>
            </p:cNvPr>
            <p:cNvGrpSpPr/>
            <p:nvPr/>
          </p:nvGrpSpPr>
          <p:grpSpPr>
            <a:xfrm>
              <a:off x="3707709" y="3112996"/>
              <a:ext cx="4276538" cy="1590020"/>
              <a:chOff x="3707709" y="3112996"/>
              <a:chExt cx="4276538" cy="1590020"/>
            </a:xfrm>
          </p:grpSpPr>
          <p:grpSp>
            <p:nvGrpSpPr>
              <p:cNvPr id="489" name="Group 488">
                <a:extLst>
                  <a:ext uri="{FF2B5EF4-FFF2-40B4-BE49-F238E27FC236}">
                    <a16:creationId xmlns:a16="http://schemas.microsoft.com/office/drawing/2014/main" id="{1A4F3AC3-0635-4A9E-8D54-57B46A2FC55A}"/>
                  </a:ext>
                </a:extLst>
              </p:cNvPr>
              <p:cNvGrpSpPr/>
              <p:nvPr/>
            </p:nvGrpSpPr>
            <p:grpSpPr>
              <a:xfrm>
                <a:off x="3707709" y="3112996"/>
                <a:ext cx="1535082" cy="1590020"/>
                <a:chOff x="1151876" y="336756"/>
                <a:chExt cx="1774162" cy="1837656"/>
              </a:xfrm>
              <a:solidFill>
                <a:schemeClr val="bg2"/>
              </a:solidFill>
            </p:grpSpPr>
            <p:sp>
              <p:nvSpPr>
                <p:cNvPr id="490" name="TextBox 489">
                  <a:extLst>
                    <a:ext uri="{FF2B5EF4-FFF2-40B4-BE49-F238E27FC236}">
                      <a16:creationId xmlns:a16="http://schemas.microsoft.com/office/drawing/2014/main" id="{4BF955E3-2D57-43C6-B07E-10BC408E3157}"/>
                    </a:ext>
                  </a:extLst>
                </p:cNvPr>
                <p:cNvSpPr txBox="1"/>
                <p:nvPr/>
              </p:nvSpPr>
              <p:spPr>
                <a:xfrm>
                  <a:off x="1354122" y="767394"/>
                  <a:ext cx="1353480" cy="910146"/>
                </a:xfrm>
                <a:prstGeom prst="rect">
                  <a:avLst/>
                </a:prstGeom>
                <a:noFill/>
              </p:spPr>
              <p:txBody>
                <a:bodyPr wrap="square" lIns="88900" tIns="38100" rIns="88900" bIns="38100" rtlCol="0" anchor="ctr">
                  <a:noAutofit/>
                </a:bodyPr>
                <a:lstStyle/>
                <a:p>
                  <a:pPr algn="ctr">
                    <a:defRPr/>
                  </a:pPr>
                  <a:r>
                    <a:rPr lang="en-US" sz="900">
                      <a:solidFill>
                        <a:schemeClr val="bg2"/>
                      </a:solidFill>
                      <a:latin typeface="CiscoSansTT Light" panose="020B0503020201020303" pitchFamily="34" charset="0"/>
                      <a:cs typeface="+mn-cs"/>
                    </a:rPr>
                    <a:t>Email Security </a:t>
                  </a:r>
                  <a:br>
                    <a:rPr lang="en-US" sz="900">
                      <a:solidFill>
                        <a:schemeClr val="bg2"/>
                      </a:solidFill>
                      <a:latin typeface="CiscoSansTT Light" panose="020B0503020201020303" pitchFamily="34" charset="0"/>
                      <a:cs typeface="+mn-cs"/>
                    </a:rPr>
                  </a:br>
                  <a:r>
                    <a:rPr lang="en-US" sz="900">
                      <a:solidFill>
                        <a:schemeClr val="bg2"/>
                      </a:solidFill>
                      <a:latin typeface="CiscoSansTT Light" panose="020B0503020201020303" pitchFamily="34" charset="0"/>
                      <a:cs typeface="+mn-cs"/>
                    </a:rPr>
                    <a:t>Forrester Wave</a:t>
                  </a:r>
                </a:p>
                <a:p>
                  <a:pPr algn="ctr">
                    <a:defRPr/>
                  </a:pPr>
                  <a:r>
                    <a:rPr lang="en-US" sz="900">
                      <a:solidFill>
                        <a:schemeClr val="bg2"/>
                      </a:solidFill>
                      <a:latin typeface="CiscoSansTT Light" panose="020B0503020201020303" pitchFamily="34" charset="0"/>
                      <a:cs typeface="+mn-cs"/>
                    </a:rPr>
                    <a:t>2019</a:t>
                  </a:r>
                </a:p>
                <a:p>
                  <a:pPr algn="ctr">
                    <a:defRPr/>
                  </a:pPr>
                  <a:r>
                    <a:rPr lang="en-US" sz="900">
                      <a:solidFill>
                        <a:schemeClr val="bg2"/>
                      </a:solidFill>
                      <a:latin typeface="CiscoSansTT Light" panose="020B0503020201020303" pitchFamily="34" charset="0"/>
                      <a:cs typeface="+mn-cs"/>
                    </a:rPr>
                    <a:t>Leader</a:t>
                  </a:r>
                </a:p>
              </p:txBody>
            </p:sp>
            <p:grpSp>
              <p:nvGrpSpPr>
                <p:cNvPr id="491" name="Group 490">
                  <a:extLst>
                    <a:ext uri="{FF2B5EF4-FFF2-40B4-BE49-F238E27FC236}">
                      <a16:creationId xmlns:a16="http://schemas.microsoft.com/office/drawing/2014/main" id="{DEA92C17-BFEE-4A08-AC66-01A21A5C5B19}"/>
                    </a:ext>
                  </a:extLst>
                </p:cNvPr>
                <p:cNvGrpSpPr/>
                <p:nvPr/>
              </p:nvGrpSpPr>
              <p:grpSpPr>
                <a:xfrm>
                  <a:off x="1151876" y="336756"/>
                  <a:ext cx="1774162" cy="1837656"/>
                  <a:chOff x="1250277" y="438678"/>
                  <a:chExt cx="1577359" cy="1633811"/>
                </a:xfrm>
                <a:grpFill/>
              </p:grpSpPr>
              <p:grpSp>
                <p:nvGrpSpPr>
                  <p:cNvPr id="492" name="Group 491">
                    <a:extLst>
                      <a:ext uri="{FF2B5EF4-FFF2-40B4-BE49-F238E27FC236}">
                        <a16:creationId xmlns:a16="http://schemas.microsoft.com/office/drawing/2014/main" id="{8F5AA93D-4C8C-4F98-9C19-F561667FF64E}"/>
                      </a:ext>
                    </a:extLst>
                  </p:cNvPr>
                  <p:cNvGrpSpPr/>
                  <p:nvPr/>
                </p:nvGrpSpPr>
                <p:grpSpPr>
                  <a:xfrm>
                    <a:off x="1662409" y="438678"/>
                    <a:ext cx="744531" cy="259659"/>
                    <a:chOff x="3535801" y="164442"/>
                    <a:chExt cx="2077447" cy="724520"/>
                  </a:xfrm>
                  <a:grpFill/>
                </p:grpSpPr>
                <p:sp>
                  <p:nvSpPr>
                    <p:cNvPr id="531" name="Freeform: Shape 530">
                      <a:extLst>
                        <a:ext uri="{FF2B5EF4-FFF2-40B4-BE49-F238E27FC236}">
                          <a16:creationId xmlns:a16="http://schemas.microsoft.com/office/drawing/2014/main" id="{116DFEAE-21C5-430C-9B50-37171DF1F92E}"/>
                        </a:ext>
                      </a:extLst>
                    </p:cNvPr>
                    <p:cNvSpPr/>
                    <p:nvPr/>
                  </p:nvSpPr>
                  <p:spPr>
                    <a:xfrm>
                      <a:off x="4271802" y="164442"/>
                      <a:ext cx="605444" cy="614092"/>
                    </a:xfrm>
                    <a:custGeom>
                      <a:avLst/>
                      <a:gdLst>
                        <a:gd name="connsiteX0" fmla="*/ 0 w 666750"/>
                        <a:gd name="connsiteY0" fmla="*/ 260128 h 676275"/>
                        <a:gd name="connsiteX1" fmla="*/ 256889 w 666750"/>
                        <a:gd name="connsiteY1" fmla="*/ 260128 h 676275"/>
                        <a:gd name="connsiteX2" fmla="*/ 336232 w 666750"/>
                        <a:gd name="connsiteY2" fmla="*/ 0 h 676275"/>
                        <a:gd name="connsiteX3" fmla="*/ 415576 w 666750"/>
                        <a:gd name="connsiteY3" fmla="*/ 260128 h 676275"/>
                        <a:gd name="connsiteX4" fmla="*/ 672370 w 666750"/>
                        <a:gd name="connsiteY4" fmla="*/ 260128 h 676275"/>
                        <a:gd name="connsiteX5" fmla="*/ 464630 w 666750"/>
                        <a:gd name="connsiteY5" fmla="*/ 420815 h 676275"/>
                        <a:gd name="connsiteX6" fmla="*/ 543973 w 666750"/>
                        <a:gd name="connsiteY6" fmla="*/ 680942 h 676275"/>
                        <a:gd name="connsiteX7" fmla="*/ 336232 w 666750"/>
                        <a:gd name="connsiteY7" fmla="*/ 520160 h 676275"/>
                        <a:gd name="connsiteX8" fmla="*/ 128397 w 666750"/>
                        <a:gd name="connsiteY8" fmla="*/ 680942 h 676275"/>
                        <a:gd name="connsiteX9" fmla="*/ 207836 w 666750"/>
                        <a:gd name="connsiteY9" fmla="*/ 420815 h 676275"/>
                        <a:gd name="connsiteX10" fmla="*/ 0 w 666750"/>
                        <a:gd name="connsiteY10" fmla="*/ 260128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0" h="676275">
                          <a:moveTo>
                            <a:pt x="0" y="260128"/>
                          </a:moveTo>
                          <a:lnTo>
                            <a:pt x="256889" y="260128"/>
                          </a:lnTo>
                          <a:lnTo>
                            <a:pt x="336232" y="0"/>
                          </a:lnTo>
                          <a:lnTo>
                            <a:pt x="415576" y="260128"/>
                          </a:lnTo>
                          <a:lnTo>
                            <a:pt x="672370" y="260128"/>
                          </a:lnTo>
                          <a:lnTo>
                            <a:pt x="464630" y="420815"/>
                          </a:lnTo>
                          <a:lnTo>
                            <a:pt x="543973" y="680942"/>
                          </a:lnTo>
                          <a:lnTo>
                            <a:pt x="336232" y="520160"/>
                          </a:lnTo>
                          <a:lnTo>
                            <a:pt x="128397" y="680942"/>
                          </a:lnTo>
                          <a:lnTo>
                            <a:pt x="207836" y="420815"/>
                          </a:lnTo>
                          <a:lnTo>
                            <a:pt x="0" y="260128"/>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32" name="Freeform: Shape 531">
                      <a:extLst>
                        <a:ext uri="{FF2B5EF4-FFF2-40B4-BE49-F238E27FC236}">
                          <a16:creationId xmlns:a16="http://schemas.microsoft.com/office/drawing/2014/main" id="{1663E5F5-B73B-4CE2-ACA2-4CD9503B4CF5}"/>
                        </a:ext>
                      </a:extLst>
                    </p:cNvPr>
                    <p:cNvSpPr/>
                    <p:nvPr/>
                  </p:nvSpPr>
                  <p:spPr>
                    <a:xfrm>
                      <a:off x="3535801" y="439204"/>
                      <a:ext cx="423812" cy="449758"/>
                    </a:xfrm>
                    <a:custGeom>
                      <a:avLst/>
                      <a:gdLst>
                        <a:gd name="connsiteX0" fmla="*/ 0 w 466725"/>
                        <a:gd name="connsiteY0" fmla="*/ 263843 h 495300"/>
                        <a:gd name="connsiteX1" fmla="*/ 168116 w 466725"/>
                        <a:gd name="connsiteY1" fmla="*/ 192405 h 495300"/>
                        <a:gd name="connsiteX2" fmla="*/ 147733 w 466725"/>
                        <a:gd name="connsiteY2" fmla="*/ 0 h 495300"/>
                        <a:gd name="connsiteX3" fmla="*/ 272034 w 466725"/>
                        <a:gd name="connsiteY3" fmla="*/ 148304 h 495300"/>
                        <a:gd name="connsiteX4" fmla="*/ 440245 w 466725"/>
                        <a:gd name="connsiteY4" fmla="*/ 76771 h 495300"/>
                        <a:gd name="connsiteX5" fmla="*/ 348901 w 466725"/>
                        <a:gd name="connsiteY5" fmla="*/ 239840 h 495300"/>
                        <a:gd name="connsiteX6" fmla="*/ 473202 w 466725"/>
                        <a:gd name="connsiteY6" fmla="*/ 388049 h 495300"/>
                        <a:gd name="connsiteX7" fmla="*/ 292417 w 466725"/>
                        <a:gd name="connsiteY7" fmla="*/ 340614 h 495300"/>
                        <a:gd name="connsiteX8" fmla="*/ 201073 w 466725"/>
                        <a:gd name="connsiteY8" fmla="*/ 503682 h 495300"/>
                        <a:gd name="connsiteX9" fmla="*/ 180689 w 466725"/>
                        <a:gd name="connsiteY9" fmla="*/ 311277 h 495300"/>
                        <a:gd name="connsiteX10" fmla="*/ 0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0" y="263843"/>
                          </a:moveTo>
                          <a:lnTo>
                            <a:pt x="168116" y="192405"/>
                          </a:lnTo>
                          <a:lnTo>
                            <a:pt x="147733" y="0"/>
                          </a:lnTo>
                          <a:lnTo>
                            <a:pt x="272034" y="148304"/>
                          </a:lnTo>
                          <a:lnTo>
                            <a:pt x="440245" y="76771"/>
                          </a:lnTo>
                          <a:lnTo>
                            <a:pt x="348901" y="239840"/>
                          </a:lnTo>
                          <a:lnTo>
                            <a:pt x="473202" y="388049"/>
                          </a:lnTo>
                          <a:lnTo>
                            <a:pt x="292417" y="340614"/>
                          </a:lnTo>
                          <a:lnTo>
                            <a:pt x="201073" y="503682"/>
                          </a:lnTo>
                          <a:lnTo>
                            <a:pt x="180689" y="311277"/>
                          </a:lnTo>
                          <a:lnTo>
                            <a:pt x="0" y="263843"/>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33" name="Freeform: Shape 532">
                      <a:extLst>
                        <a:ext uri="{FF2B5EF4-FFF2-40B4-BE49-F238E27FC236}">
                          <a16:creationId xmlns:a16="http://schemas.microsoft.com/office/drawing/2014/main" id="{6C66EA69-164C-4476-8280-A0B0DDEE99CE}"/>
                        </a:ext>
                      </a:extLst>
                    </p:cNvPr>
                    <p:cNvSpPr/>
                    <p:nvPr/>
                  </p:nvSpPr>
                  <p:spPr>
                    <a:xfrm>
                      <a:off x="5189436" y="439204"/>
                      <a:ext cx="423812" cy="449758"/>
                    </a:xfrm>
                    <a:custGeom>
                      <a:avLst/>
                      <a:gdLst>
                        <a:gd name="connsiteX0" fmla="*/ 473297 w 466725"/>
                        <a:gd name="connsiteY0" fmla="*/ 263843 h 495300"/>
                        <a:gd name="connsiteX1" fmla="*/ 305086 w 466725"/>
                        <a:gd name="connsiteY1" fmla="*/ 192405 h 495300"/>
                        <a:gd name="connsiteX2" fmla="*/ 325469 w 466725"/>
                        <a:gd name="connsiteY2" fmla="*/ 0 h 495300"/>
                        <a:gd name="connsiteX3" fmla="*/ 201168 w 466725"/>
                        <a:gd name="connsiteY3" fmla="*/ 148304 h 495300"/>
                        <a:gd name="connsiteX4" fmla="*/ 33052 w 466725"/>
                        <a:gd name="connsiteY4" fmla="*/ 76771 h 495300"/>
                        <a:gd name="connsiteX5" fmla="*/ 124396 w 466725"/>
                        <a:gd name="connsiteY5" fmla="*/ 239840 h 495300"/>
                        <a:gd name="connsiteX6" fmla="*/ 0 w 466725"/>
                        <a:gd name="connsiteY6" fmla="*/ 388049 h 495300"/>
                        <a:gd name="connsiteX7" fmla="*/ 180784 w 466725"/>
                        <a:gd name="connsiteY7" fmla="*/ 340614 h 495300"/>
                        <a:gd name="connsiteX8" fmla="*/ 272129 w 466725"/>
                        <a:gd name="connsiteY8" fmla="*/ 503682 h 495300"/>
                        <a:gd name="connsiteX9" fmla="*/ 292513 w 466725"/>
                        <a:gd name="connsiteY9" fmla="*/ 311277 h 495300"/>
                        <a:gd name="connsiteX10" fmla="*/ 473297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473297" y="263843"/>
                          </a:moveTo>
                          <a:lnTo>
                            <a:pt x="305086" y="192405"/>
                          </a:lnTo>
                          <a:lnTo>
                            <a:pt x="325469" y="0"/>
                          </a:lnTo>
                          <a:lnTo>
                            <a:pt x="201168" y="148304"/>
                          </a:lnTo>
                          <a:lnTo>
                            <a:pt x="33052" y="76771"/>
                          </a:lnTo>
                          <a:lnTo>
                            <a:pt x="124396" y="239840"/>
                          </a:lnTo>
                          <a:lnTo>
                            <a:pt x="0" y="388049"/>
                          </a:lnTo>
                          <a:lnTo>
                            <a:pt x="180784" y="340614"/>
                          </a:lnTo>
                          <a:lnTo>
                            <a:pt x="272129" y="503682"/>
                          </a:lnTo>
                          <a:lnTo>
                            <a:pt x="292513" y="311277"/>
                          </a:lnTo>
                          <a:lnTo>
                            <a:pt x="473297" y="263843"/>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sp>
                <p:nvSpPr>
                  <p:cNvPr id="493" name="Freeform: Shape 492">
                    <a:extLst>
                      <a:ext uri="{FF2B5EF4-FFF2-40B4-BE49-F238E27FC236}">
                        <a16:creationId xmlns:a16="http://schemas.microsoft.com/office/drawing/2014/main" id="{1E8F6243-2F34-4B81-86F3-CFB6BE8C19CE}"/>
                      </a:ext>
                    </a:extLst>
                  </p:cNvPr>
                  <p:cNvSpPr/>
                  <p:nvPr/>
                </p:nvSpPr>
                <p:spPr>
                  <a:xfrm>
                    <a:off x="2004154" y="1893247"/>
                    <a:ext cx="61995" cy="61995"/>
                  </a:xfrm>
                  <a:custGeom>
                    <a:avLst/>
                    <a:gdLst>
                      <a:gd name="connsiteX0" fmla="*/ 197168 w 190500"/>
                      <a:gd name="connsiteY0" fmla="*/ 98584 h 190500"/>
                      <a:gd name="connsiteX1" fmla="*/ 98584 w 190500"/>
                      <a:gd name="connsiteY1" fmla="*/ 197167 h 190500"/>
                      <a:gd name="connsiteX2" fmla="*/ 0 w 190500"/>
                      <a:gd name="connsiteY2" fmla="*/ 98584 h 190500"/>
                      <a:gd name="connsiteX3" fmla="*/ 98584 w 190500"/>
                      <a:gd name="connsiteY3" fmla="*/ 0 h 190500"/>
                      <a:gd name="connsiteX4" fmla="*/ 197168 w 190500"/>
                      <a:gd name="connsiteY4" fmla="*/ 98584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7168" y="98584"/>
                        </a:moveTo>
                        <a:cubicBezTo>
                          <a:pt x="197168" y="153030"/>
                          <a:pt x="153030" y="197167"/>
                          <a:pt x="98584" y="197167"/>
                        </a:cubicBezTo>
                        <a:cubicBezTo>
                          <a:pt x="44137" y="197167"/>
                          <a:pt x="0" y="153030"/>
                          <a:pt x="0" y="98584"/>
                        </a:cubicBezTo>
                        <a:cubicBezTo>
                          <a:pt x="0" y="44137"/>
                          <a:pt x="44137" y="0"/>
                          <a:pt x="98584" y="0"/>
                        </a:cubicBezTo>
                        <a:cubicBezTo>
                          <a:pt x="153030" y="0"/>
                          <a:pt x="197168" y="44137"/>
                          <a:pt x="197168" y="9858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nvGrpSpPr>
                  <p:cNvPr id="494" name="Group 493">
                    <a:extLst>
                      <a:ext uri="{FF2B5EF4-FFF2-40B4-BE49-F238E27FC236}">
                        <a16:creationId xmlns:a16="http://schemas.microsoft.com/office/drawing/2014/main" id="{AE28F014-E974-4A59-9D92-DFAD0BCF29CC}"/>
                      </a:ext>
                    </a:extLst>
                  </p:cNvPr>
                  <p:cNvGrpSpPr/>
                  <p:nvPr/>
                </p:nvGrpSpPr>
                <p:grpSpPr>
                  <a:xfrm>
                    <a:off x="1250277" y="793047"/>
                    <a:ext cx="1577359" cy="1279442"/>
                    <a:chOff x="1250277" y="699247"/>
                    <a:chExt cx="1577359" cy="1373242"/>
                  </a:xfrm>
                  <a:grpFill/>
                </p:grpSpPr>
                <p:grpSp>
                  <p:nvGrpSpPr>
                    <p:cNvPr id="495" name="Group 494">
                      <a:extLst>
                        <a:ext uri="{FF2B5EF4-FFF2-40B4-BE49-F238E27FC236}">
                          <a16:creationId xmlns:a16="http://schemas.microsoft.com/office/drawing/2014/main" id="{7EDFAEB2-06D5-46EC-9F9D-0F9A7B80ADA3}"/>
                        </a:ext>
                      </a:extLst>
                    </p:cNvPr>
                    <p:cNvGrpSpPr/>
                    <p:nvPr/>
                  </p:nvGrpSpPr>
                  <p:grpSpPr>
                    <a:xfrm rot="20997099">
                      <a:off x="1250277" y="699247"/>
                      <a:ext cx="607260" cy="1373242"/>
                      <a:chOff x="2046450" y="1157001"/>
                      <a:chExt cx="2314020" cy="3831727"/>
                    </a:xfrm>
                    <a:grpFill/>
                  </p:grpSpPr>
                  <p:sp>
                    <p:nvSpPr>
                      <p:cNvPr id="514" name="Freeform: Shape 513">
                        <a:extLst>
                          <a:ext uri="{FF2B5EF4-FFF2-40B4-BE49-F238E27FC236}">
                            <a16:creationId xmlns:a16="http://schemas.microsoft.com/office/drawing/2014/main" id="{1EECB3A9-CC5F-46E7-A418-C03D2886BCB0}"/>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15" name="Freeform: Shape 514">
                        <a:extLst>
                          <a:ext uri="{FF2B5EF4-FFF2-40B4-BE49-F238E27FC236}">
                            <a16:creationId xmlns:a16="http://schemas.microsoft.com/office/drawing/2014/main" id="{86A57ACC-3FBC-4691-8EDD-C3AE1580315D}"/>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16" name="Freeform: Shape 515">
                        <a:extLst>
                          <a:ext uri="{FF2B5EF4-FFF2-40B4-BE49-F238E27FC236}">
                            <a16:creationId xmlns:a16="http://schemas.microsoft.com/office/drawing/2014/main" id="{77C63F27-9084-436A-A80F-D52C6818AB3D}"/>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17" name="Freeform: Shape 516">
                        <a:extLst>
                          <a:ext uri="{FF2B5EF4-FFF2-40B4-BE49-F238E27FC236}">
                            <a16:creationId xmlns:a16="http://schemas.microsoft.com/office/drawing/2014/main" id="{60A691D1-4B90-495D-A798-069A63B73DAB}"/>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18" name="Freeform: Shape 517">
                        <a:extLst>
                          <a:ext uri="{FF2B5EF4-FFF2-40B4-BE49-F238E27FC236}">
                            <a16:creationId xmlns:a16="http://schemas.microsoft.com/office/drawing/2014/main" id="{EC81DFA3-0569-419A-8CC9-BEDEC564DBD0}"/>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19" name="Freeform: Shape 518">
                        <a:extLst>
                          <a:ext uri="{FF2B5EF4-FFF2-40B4-BE49-F238E27FC236}">
                            <a16:creationId xmlns:a16="http://schemas.microsoft.com/office/drawing/2014/main" id="{9ECF5CB7-4D09-4E9F-ADDB-BD0735FDF206}"/>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20" name="Freeform: Shape 519">
                        <a:extLst>
                          <a:ext uri="{FF2B5EF4-FFF2-40B4-BE49-F238E27FC236}">
                            <a16:creationId xmlns:a16="http://schemas.microsoft.com/office/drawing/2014/main" id="{23A33DCA-ED03-4868-82B6-5DCEC702311E}"/>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21" name="Freeform: Shape 520">
                        <a:extLst>
                          <a:ext uri="{FF2B5EF4-FFF2-40B4-BE49-F238E27FC236}">
                            <a16:creationId xmlns:a16="http://schemas.microsoft.com/office/drawing/2014/main" id="{9C118317-0A57-477C-AED4-9D85E0CD27BD}"/>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22" name="Freeform: Shape 521">
                        <a:extLst>
                          <a:ext uri="{FF2B5EF4-FFF2-40B4-BE49-F238E27FC236}">
                            <a16:creationId xmlns:a16="http://schemas.microsoft.com/office/drawing/2014/main" id="{D7B2FB7A-1585-4AC0-A042-D20F41CC4D66}"/>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23" name="Freeform: Shape 522">
                        <a:extLst>
                          <a:ext uri="{FF2B5EF4-FFF2-40B4-BE49-F238E27FC236}">
                            <a16:creationId xmlns:a16="http://schemas.microsoft.com/office/drawing/2014/main" id="{C11C869E-0533-4959-8116-4CD0D2E5A700}"/>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24" name="Freeform: Shape 523">
                        <a:extLst>
                          <a:ext uri="{FF2B5EF4-FFF2-40B4-BE49-F238E27FC236}">
                            <a16:creationId xmlns:a16="http://schemas.microsoft.com/office/drawing/2014/main" id="{E4C690B7-7465-4F7B-BFFD-DA274EC20A66}"/>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25" name="Freeform: Shape 524">
                        <a:extLst>
                          <a:ext uri="{FF2B5EF4-FFF2-40B4-BE49-F238E27FC236}">
                            <a16:creationId xmlns:a16="http://schemas.microsoft.com/office/drawing/2014/main" id="{96384EBD-55CF-4797-BF0F-94DCB72C5D75}"/>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26" name="Freeform: Shape 525">
                        <a:extLst>
                          <a:ext uri="{FF2B5EF4-FFF2-40B4-BE49-F238E27FC236}">
                            <a16:creationId xmlns:a16="http://schemas.microsoft.com/office/drawing/2014/main" id="{131ECEB0-45E3-4A64-AEFD-753477165EC4}"/>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27" name="Freeform: Shape 526">
                        <a:extLst>
                          <a:ext uri="{FF2B5EF4-FFF2-40B4-BE49-F238E27FC236}">
                            <a16:creationId xmlns:a16="http://schemas.microsoft.com/office/drawing/2014/main" id="{556BA336-5928-4814-8A83-EE322BDC375C}"/>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28" name="Freeform: Shape 527">
                        <a:extLst>
                          <a:ext uri="{FF2B5EF4-FFF2-40B4-BE49-F238E27FC236}">
                            <a16:creationId xmlns:a16="http://schemas.microsoft.com/office/drawing/2014/main" id="{13D0F879-91B5-47EE-813A-1C1080CEC741}"/>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29" name="Freeform: Shape 528">
                        <a:extLst>
                          <a:ext uri="{FF2B5EF4-FFF2-40B4-BE49-F238E27FC236}">
                            <a16:creationId xmlns:a16="http://schemas.microsoft.com/office/drawing/2014/main" id="{CF2898A6-D5A1-440E-BF7B-1656FCCDFE02}"/>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30" name="Freeform: Shape 529">
                        <a:extLst>
                          <a:ext uri="{FF2B5EF4-FFF2-40B4-BE49-F238E27FC236}">
                            <a16:creationId xmlns:a16="http://schemas.microsoft.com/office/drawing/2014/main" id="{67DA0C14-8B60-4232-B00C-84F2485E820C}"/>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grpSp>
                  <p:nvGrpSpPr>
                    <p:cNvPr id="496" name="Group 495">
                      <a:extLst>
                        <a:ext uri="{FF2B5EF4-FFF2-40B4-BE49-F238E27FC236}">
                          <a16:creationId xmlns:a16="http://schemas.microsoft.com/office/drawing/2014/main" id="{496622E3-F734-4734-8230-FEA3F5FA8A23}"/>
                        </a:ext>
                      </a:extLst>
                    </p:cNvPr>
                    <p:cNvGrpSpPr/>
                    <p:nvPr/>
                  </p:nvGrpSpPr>
                  <p:grpSpPr>
                    <a:xfrm rot="602901" flipH="1">
                      <a:off x="2220376" y="699247"/>
                      <a:ext cx="607260" cy="1373242"/>
                      <a:chOff x="2046450" y="1157001"/>
                      <a:chExt cx="2314020" cy="3831727"/>
                    </a:xfrm>
                    <a:grpFill/>
                  </p:grpSpPr>
                  <p:sp>
                    <p:nvSpPr>
                      <p:cNvPr id="497" name="Freeform: Shape 496">
                        <a:extLst>
                          <a:ext uri="{FF2B5EF4-FFF2-40B4-BE49-F238E27FC236}">
                            <a16:creationId xmlns:a16="http://schemas.microsoft.com/office/drawing/2014/main" id="{119A4AB2-ABA4-4F65-9AFD-04C38B61238D}"/>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98" name="Freeform: Shape 497">
                        <a:extLst>
                          <a:ext uri="{FF2B5EF4-FFF2-40B4-BE49-F238E27FC236}">
                            <a16:creationId xmlns:a16="http://schemas.microsoft.com/office/drawing/2014/main" id="{E1FDE2E2-50EA-47AE-A3AA-B66F55E28538}"/>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499" name="Freeform: Shape 498">
                        <a:extLst>
                          <a:ext uri="{FF2B5EF4-FFF2-40B4-BE49-F238E27FC236}">
                            <a16:creationId xmlns:a16="http://schemas.microsoft.com/office/drawing/2014/main" id="{0480B031-A2B4-4431-BBD5-E7DD89CA2D91}"/>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00" name="Freeform: Shape 499">
                        <a:extLst>
                          <a:ext uri="{FF2B5EF4-FFF2-40B4-BE49-F238E27FC236}">
                            <a16:creationId xmlns:a16="http://schemas.microsoft.com/office/drawing/2014/main" id="{A814B644-31AD-48F2-AB0A-ED6FFF0D9950}"/>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01" name="Freeform: Shape 500">
                        <a:extLst>
                          <a:ext uri="{FF2B5EF4-FFF2-40B4-BE49-F238E27FC236}">
                            <a16:creationId xmlns:a16="http://schemas.microsoft.com/office/drawing/2014/main" id="{9937D629-10F4-4419-B69C-9B77695DB1A9}"/>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02" name="Freeform: Shape 501">
                        <a:extLst>
                          <a:ext uri="{FF2B5EF4-FFF2-40B4-BE49-F238E27FC236}">
                            <a16:creationId xmlns:a16="http://schemas.microsoft.com/office/drawing/2014/main" id="{D1E263F3-2BB3-4EAF-8B06-CADEC54A6EEC}"/>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03" name="Freeform: Shape 502">
                        <a:extLst>
                          <a:ext uri="{FF2B5EF4-FFF2-40B4-BE49-F238E27FC236}">
                            <a16:creationId xmlns:a16="http://schemas.microsoft.com/office/drawing/2014/main" id="{843332A2-F0E7-45D4-A867-18FE12880134}"/>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04" name="Freeform: Shape 503">
                        <a:extLst>
                          <a:ext uri="{FF2B5EF4-FFF2-40B4-BE49-F238E27FC236}">
                            <a16:creationId xmlns:a16="http://schemas.microsoft.com/office/drawing/2014/main" id="{4A5E4EF5-5959-4489-8EBF-96895CFC0F6F}"/>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05" name="Freeform: Shape 504">
                        <a:extLst>
                          <a:ext uri="{FF2B5EF4-FFF2-40B4-BE49-F238E27FC236}">
                            <a16:creationId xmlns:a16="http://schemas.microsoft.com/office/drawing/2014/main" id="{BBBCBF28-68A4-436A-979F-C817ED87121F}"/>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06" name="Freeform: Shape 505">
                        <a:extLst>
                          <a:ext uri="{FF2B5EF4-FFF2-40B4-BE49-F238E27FC236}">
                            <a16:creationId xmlns:a16="http://schemas.microsoft.com/office/drawing/2014/main" id="{7A76F831-97B5-430B-853D-B4DB6AD6106A}"/>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07" name="Freeform: Shape 506">
                        <a:extLst>
                          <a:ext uri="{FF2B5EF4-FFF2-40B4-BE49-F238E27FC236}">
                            <a16:creationId xmlns:a16="http://schemas.microsoft.com/office/drawing/2014/main" id="{20841E0A-06DF-4A9E-9EDA-416A9310A260}"/>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08" name="Freeform: Shape 507">
                        <a:extLst>
                          <a:ext uri="{FF2B5EF4-FFF2-40B4-BE49-F238E27FC236}">
                            <a16:creationId xmlns:a16="http://schemas.microsoft.com/office/drawing/2014/main" id="{371E3BBE-96F3-4EFD-B7B1-263B798BE2D0}"/>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09" name="Freeform: Shape 508">
                        <a:extLst>
                          <a:ext uri="{FF2B5EF4-FFF2-40B4-BE49-F238E27FC236}">
                            <a16:creationId xmlns:a16="http://schemas.microsoft.com/office/drawing/2014/main" id="{C6825672-CED1-4FF9-9B6A-2584AF43F690}"/>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10" name="Freeform: Shape 509">
                        <a:extLst>
                          <a:ext uri="{FF2B5EF4-FFF2-40B4-BE49-F238E27FC236}">
                            <a16:creationId xmlns:a16="http://schemas.microsoft.com/office/drawing/2014/main" id="{01F8753D-E0DF-4902-93D9-BC635EF20BEE}"/>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11" name="Freeform: Shape 510">
                        <a:extLst>
                          <a:ext uri="{FF2B5EF4-FFF2-40B4-BE49-F238E27FC236}">
                            <a16:creationId xmlns:a16="http://schemas.microsoft.com/office/drawing/2014/main" id="{6089EE18-593F-45EF-87E6-7021C29093D3}"/>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12" name="Freeform: Shape 511">
                        <a:extLst>
                          <a:ext uri="{FF2B5EF4-FFF2-40B4-BE49-F238E27FC236}">
                            <a16:creationId xmlns:a16="http://schemas.microsoft.com/office/drawing/2014/main" id="{DF9C4436-2A36-45F0-B592-EAD7923BB915}"/>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13" name="Freeform: Shape 512">
                        <a:extLst>
                          <a:ext uri="{FF2B5EF4-FFF2-40B4-BE49-F238E27FC236}">
                            <a16:creationId xmlns:a16="http://schemas.microsoft.com/office/drawing/2014/main" id="{A65D15A0-CD78-421C-BFCE-D4E00E7ADF6B}"/>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grpSp>
            </p:grpSp>
          </p:grpSp>
          <p:grpSp>
            <p:nvGrpSpPr>
              <p:cNvPr id="534" name="Group 533">
                <a:extLst>
                  <a:ext uri="{FF2B5EF4-FFF2-40B4-BE49-F238E27FC236}">
                    <a16:creationId xmlns:a16="http://schemas.microsoft.com/office/drawing/2014/main" id="{CFD119EC-4788-4386-9B20-DE4788B6FD57}"/>
                  </a:ext>
                </a:extLst>
              </p:cNvPr>
              <p:cNvGrpSpPr/>
              <p:nvPr/>
            </p:nvGrpSpPr>
            <p:grpSpPr>
              <a:xfrm>
                <a:off x="6449165" y="3112996"/>
                <a:ext cx="1535082" cy="1590020"/>
                <a:chOff x="1151876" y="336756"/>
                <a:chExt cx="1774162" cy="1837656"/>
              </a:xfrm>
              <a:solidFill>
                <a:schemeClr val="bg2"/>
              </a:solidFill>
            </p:grpSpPr>
            <p:sp>
              <p:nvSpPr>
                <p:cNvPr id="535" name="TextBox 534">
                  <a:extLst>
                    <a:ext uri="{FF2B5EF4-FFF2-40B4-BE49-F238E27FC236}">
                      <a16:creationId xmlns:a16="http://schemas.microsoft.com/office/drawing/2014/main" id="{0E0E2449-A979-4AA3-A147-08C92F97336C}"/>
                    </a:ext>
                  </a:extLst>
                </p:cNvPr>
                <p:cNvSpPr txBox="1"/>
                <p:nvPr/>
              </p:nvSpPr>
              <p:spPr>
                <a:xfrm>
                  <a:off x="1354122" y="767393"/>
                  <a:ext cx="1353480" cy="926099"/>
                </a:xfrm>
                <a:prstGeom prst="rect">
                  <a:avLst/>
                </a:prstGeom>
                <a:noFill/>
              </p:spPr>
              <p:txBody>
                <a:bodyPr wrap="square" lIns="88900" tIns="38100" rIns="88900" bIns="38100" rtlCol="0" anchor="ctr">
                  <a:noAutofit/>
                </a:bodyPr>
                <a:lstStyle/>
                <a:p>
                  <a:pPr algn="ctr">
                    <a:defRPr/>
                  </a:pPr>
                  <a:r>
                    <a:rPr lang="en-US" sz="900">
                      <a:solidFill>
                        <a:schemeClr val="bg2"/>
                      </a:solidFill>
                      <a:latin typeface="CiscoSansTT Light" panose="020B0503020201020303" pitchFamily="34" charset="0"/>
                      <a:cs typeface="+mn-cs"/>
                    </a:rPr>
                    <a:t>Endpoint Security</a:t>
                  </a:r>
                  <a:br>
                    <a:rPr lang="en-US" sz="900">
                      <a:solidFill>
                        <a:schemeClr val="bg2"/>
                      </a:solidFill>
                      <a:latin typeface="CiscoSansTT Light" panose="020B0503020201020303" pitchFamily="34" charset="0"/>
                      <a:cs typeface="+mn-cs"/>
                    </a:rPr>
                  </a:br>
                  <a:r>
                    <a:rPr lang="en-US" sz="900">
                      <a:solidFill>
                        <a:schemeClr val="bg2"/>
                      </a:solidFill>
                      <a:latin typeface="CiscoSansTT Light" panose="020B0503020201020303" pitchFamily="34" charset="0"/>
                      <a:cs typeface="+mn-cs"/>
                    </a:rPr>
                    <a:t>Suites Forrester</a:t>
                  </a:r>
                </a:p>
                <a:p>
                  <a:pPr algn="ctr">
                    <a:defRPr/>
                  </a:pPr>
                  <a:r>
                    <a:rPr lang="en-US" sz="900">
                      <a:solidFill>
                        <a:schemeClr val="bg2"/>
                      </a:solidFill>
                      <a:latin typeface="CiscoSansTT Light" panose="020B0503020201020303" pitchFamily="34" charset="0"/>
                      <a:cs typeface="+mn-cs"/>
                    </a:rPr>
                    <a:t>Wave 2018</a:t>
                  </a:r>
                </a:p>
                <a:p>
                  <a:pPr algn="ctr">
                    <a:defRPr/>
                  </a:pPr>
                  <a:r>
                    <a:rPr lang="en-US" sz="900">
                      <a:solidFill>
                        <a:schemeClr val="bg2"/>
                      </a:solidFill>
                      <a:latin typeface="CiscoSansTT Light" panose="020B0503020201020303" pitchFamily="34" charset="0"/>
                      <a:cs typeface="+mn-cs"/>
                    </a:rPr>
                    <a:t>Visionary</a:t>
                  </a:r>
                </a:p>
              </p:txBody>
            </p:sp>
            <p:grpSp>
              <p:nvGrpSpPr>
                <p:cNvPr id="536" name="Group 535">
                  <a:extLst>
                    <a:ext uri="{FF2B5EF4-FFF2-40B4-BE49-F238E27FC236}">
                      <a16:creationId xmlns:a16="http://schemas.microsoft.com/office/drawing/2014/main" id="{D0B0DF5E-6799-4C1A-8C37-3427F9232DE4}"/>
                    </a:ext>
                  </a:extLst>
                </p:cNvPr>
                <p:cNvGrpSpPr/>
                <p:nvPr/>
              </p:nvGrpSpPr>
              <p:grpSpPr>
                <a:xfrm>
                  <a:off x="1151876" y="336756"/>
                  <a:ext cx="1774162" cy="1837656"/>
                  <a:chOff x="1250277" y="438678"/>
                  <a:chExt cx="1577359" cy="1633811"/>
                </a:xfrm>
                <a:grpFill/>
              </p:grpSpPr>
              <p:grpSp>
                <p:nvGrpSpPr>
                  <p:cNvPr id="537" name="Group 536">
                    <a:extLst>
                      <a:ext uri="{FF2B5EF4-FFF2-40B4-BE49-F238E27FC236}">
                        <a16:creationId xmlns:a16="http://schemas.microsoft.com/office/drawing/2014/main" id="{83C16541-3303-4782-8B6F-CA439F2B105F}"/>
                      </a:ext>
                    </a:extLst>
                  </p:cNvPr>
                  <p:cNvGrpSpPr/>
                  <p:nvPr/>
                </p:nvGrpSpPr>
                <p:grpSpPr>
                  <a:xfrm>
                    <a:off x="1662409" y="438678"/>
                    <a:ext cx="744531" cy="259659"/>
                    <a:chOff x="3535801" y="164442"/>
                    <a:chExt cx="2077447" cy="724520"/>
                  </a:xfrm>
                  <a:grpFill/>
                </p:grpSpPr>
                <p:sp>
                  <p:nvSpPr>
                    <p:cNvPr id="576" name="Freeform: Shape 575">
                      <a:extLst>
                        <a:ext uri="{FF2B5EF4-FFF2-40B4-BE49-F238E27FC236}">
                          <a16:creationId xmlns:a16="http://schemas.microsoft.com/office/drawing/2014/main" id="{E5F03A63-021B-4198-866C-75B08DCBAD05}"/>
                        </a:ext>
                      </a:extLst>
                    </p:cNvPr>
                    <p:cNvSpPr/>
                    <p:nvPr/>
                  </p:nvSpPr>
                  <p:spPr>
                    <a:xfrm>
                      <a:off x="4271802" y="164442"/>
                      <a:ext cx="605444" cy="614092"/>
                    </a:xfrm>
                    <a:custGeom>
                      <a:avLst/>
                      <a:gdLst>
                        <a:gd name="connsiteX0" fmla="*/ 0 w 666750"/>
                        <a:gd name="connsiteY0" fmla="*/ 260128 h 676275"/>
                        <a:gd name="connsiteX1" fmla="*/ 256889 w 666750"/>
                        <a:gd name="connsiteY1" fmla="*/ 260128 h 676275"/>
                        <a:gd name="connsiteX2" fmla="*/ 336232 w 666750"/>
                        <a:gd name="connsiteY2" fmla="*/ 0 h 676275"/>
                        <a:gd name="connsiteX3" fmla="*/ 415576 w 666750"/>
                        <a:gd name="connsiteY3" fmla="*/ 260128 h 676275"/>
                        <a:gd name="connsiteX4" fmla="*/ 672370 w 666750"/>
                        <a:gd name="connsiteY4" fmla="*/ 260128 h 676275"/>
                        <a:gd name="connsiteX5" fmla="*/ 464630 w 666750"/>
                        <a:gd name="connsiteY5" fmla="*/ 420815 h 676275"/>
                        <a:gd name="connsiteX6" fmla="*/ 543973 w 666750"/>
                        <a:gd name="connsiteY6" fmla="*/ 680942 h 676275"/>
                        <a:gd name="connsiteX7" fmla="*/ 336232 w 666750"/>
                        <a:gd name="connsiteY7" fmla="*/ 520160 h 676275"/>
                        <a:gd name="connsiteX8" fmla="*/ 128397 w 666750"/>
                        <a:gd name="connsiteY8" fmla="*/ 680942 h 676275"/>
                        <a:gd name="connsiteX9" fmla="*/ 207836 w 666750"/>
                        <a:gd name="connsiteY9" fmla="*/ 420815 h 676275"/>
                        <a:gd name="connsiteX10" fmla="*/ 0 w 666750"/>
                        <a:gd name="connsiteY10" fmla="*/ 260128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0" h="676275">
                          <a:moveTo>
                            <a:pt x="0" y="260128"/>
                          </a:moveTo>
                          <a:lnTo>
                            <a:pt x="256889" y="260128"/>
                          </a:lnTo>
                          <a:lnTo>
                            <a:pt x="336232" y="0"/>
                          </a:lnTo>
                          <a:lnTo>
                            <a:pt x="415576" y="260128"/>
                          </a:lnTo>
                          <a:lnTo>
                            <a:pt x="672370" y="260128"/>
                          </a:lnTo>
                          <a:lnTo>
                            <a:pt x="464630" y="420815"/>
                          </a:lnTo>
                          <a:lnTo>
                            <a:pt x="543973" y="680942"/>
                          </a:lnTo>
                          <a:lnTo>
                            <a:pt x="336232" y="520160"/>
                          </a:lnTo>
                          <a:lnTo>
                            <a:pt x="128397" y="680942"/>
                          </a:lnTo>
                          <a:lnTo>
                            <a:pt x="207836" y="420815"/>
                          </a:lnTo>
                          <a:lnTo>
                            <a:pt x="0" y="260128"/>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77" name="Freeform: Shape 576">
                      <a:extLst>
                        <a:ext uri="{FF2B5EF4-FFF2-40B4-BE49-F238E27FC236}">
                          <a16:creationId xmlns:a16="http://schemas.microsoft.com/office/drawing/2014/main" id="{D12AEE4C-E6D8-4195-BF78-9A50D77B4BCD}"/>
                        </a:ext>
                      </a:extLst>
                    </p:cNvPr>
                    <p:cNvSpPr/>
                    <p:nvPr/>
                  </p:nvSpPr>
                  <p:spPr>
                    <a:xfrm>
                      <a:off x="3535801" y="439204"/>
                      <a:ext cx="423812" cy="449758"/>
                    </a:xfrm>
                    <a:custGeom>
                      <a:avLst/>
                      <a:gdLst>
                        <a:gd name="connsiteX0" fmla="*/ 0 w 466725"/>
                        <a:gd name="connsiteY0" fmla="*/ 263843 h 495300"/>
                        <a:gd name="connsiteX1" fmla="*/ 168116 w 466725"/>
                        <a:gd name="connsiteY1" fmla="*/ 192405 h 495300"/>
                        <a:gd name="connsiteX2" fmla="*/ 147733 w 466725"/>
                        <a:gd name="connsiteY2" fmla="*/ 0 h 495300"/>
                        <a:gd name="connsiteX3" fmla="*/ 272034 w 466725"/>
                        <a:gd name="connsiteY3" fmla="*/ 148304 h 495300"/>
                        <a:gd name="connsiteX4" fmla="*/ 440245 w 466725"/>
                        <a:gd name="connsiteY4" fmla="*/ 76771 h 495300"/>
                        <a:gd name="connsiteX5" fmla="*/ 348901 w 466725"/>
                        <a:gd name="connsiteY5" fmla="*/ 239840 h 495300"/>
                        <a:gd name="connsiteX6" fmla="*/ 473202 w 466725"/>
                        <a:gd name="connsiteY6" fmla="*/ 388049 h 495300"/>
                        <a:gd name="connsiteX7" fmla="*/ 292417 w 466725"/>
                        <a:gd name="connsiteY7" fmla="*/ 340614 h 495300"/>
                        <a:gd name="connsiteX8" fmla="*/ 201073 w 466725"/>
                        <a:gd name="connsiteY8" fmla="*/ 503682 h 495300"/>
                        <a:gd name="connsiteX9" fmla="*/ 180689 w 466725"/>
                        <a:gd name="connsiteY9" fmla="*/ 311277 h 495300"/>
                        <a:gd name="connsiteX10" fmla="*/ 0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0" y="263843"/>
                          </a:moveTo>
                          <a:lnTo>
                            <a:pt x="168116" y="192405"/>
                          </a:lnTo>
                          <a:lnTo>
                            <a:pt x="147733" y="0"/>
                          </a:lnTo>
                          <a:lnTo>
                            <a:pt x="272034" y="148304"/>
                          </a:lnTo>
                          <a:lnTo>
                            <a:pt x="440245" y="76771"/>
                          </a:lnTo>
                          <a:lnTo>
                            <a:pt x="348901" y="239840"/>
                          </a:lnTo>
                          <a:lnTo>
                            <a:pt x="473202" y="388049"/>
                          </a:lnTo>
                          <a:lnTo>
                            <a:pt x="292417" y="340614"/>
                          </a:lnTo>
                          <a:lnTo>
                            <a:pt x="201073" y="503682"/>
                          </a:lnTo>
                          <a:lnTo>
                            <a:pt x="180689" y="311277"/>
                          </a:lnTo>
                          <a:lnTo>
                            <a:pt x="0" y="263843"/>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78" name="Freeform: Shape 577">
                      <a:extLst>
                        <a:ext uri="{FF2B5EF4-FFF2-40B4-BE49-F238E27FC236}">
                          <a16:creationId xmlns:a16="http://schemas.microsoft.com/office/drawing/2014/main" id="{2F5BCC75-D61F-4059-A999-D74923C8DB55}"/>
                        </a:ext>
                      </a:extLst>
                    </p:cNvPr>
                    <p:cNvSpPr/>
                    <p:nvPr/>
                  </p:nvSpPr>
                  <p:spPr>
                    <a:xfrm>
                      <a:off x="5189436" y="439204"/>
                      <a:ext cx="423812" cy="449758"/>
                    </a:xfrm>
                    <a:custGeom>
                      <a:avLst/>
                      <a:gdLst>
                        <a:gd name="connsiteX0" fmla="*/ 473297 w 466725"/>
                        <a:gd name="connsiteY0" fmla="*/ 263843 h 495300"/>
                        <a:gd name="connsiteX1" fmla="*/ 305086 w 466725"/>
                        <a:gd name="connsiteY1" fmla="*/ 192405 h 495300"/>
                        <a:gd name="connsiteX2" fmla="*/ 325469 w 466725"/>
                        <a:gd name="connsiteY2" fmla="*/ 0 h 495300"/>
                        <a:gd name="connsiteX3" fmla="*/ 201168 w 466725"/>
                        <a:gd name="connsiteY3" fmla="*/ 148304 h 495300"/>
                        <a:gd name="connsiteX4" fmla="*/ 33052 w 466725"/>
                        <a:gd name="connsiteY4" fmla="*/ 76771 h 495300"/>
                        <a:gd name="connsiteX5" fmla="*/ 124396 w 466725"/>
                        <a:gd name="connsiteY5" fmla="*/ 239840 h 495300"/>
                        <a:gd name="connsiteX6" fmla="*/ 0 w 466725"/>
                        <a:gd name="connsiteY6" fmla="*/ 388049 h 495300"/>
                        <a:gd name="connsiteX7" fmla="*/ 180784 w 466725"/>
                        <a:gd name="connsiteY7" fmla="*/ 340614 h 495300"/>
                        <a:gd name="connsiteX8" fmla="*/ 272129 w 466725"/>
                        <a:gd name="connsiteY8" fmla="*/ 503682 h 495300"/>
                        <a:gd name="connsiteX9" fmla="*/ 292513 w 466725"/>
                        <a:gd name="connsiteY9" fmla="*/ 311277 h 495300"/>
                        <a:gd name="connsiteX10" fmla="*/ 473297 w 466725"/>
                        <a:gd name="connsiteY10" fmla="*/ 26384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725" h="495300">
                          <a:moveTo>
                            <a:pt x="473297" y="263843"/>
                          </a:moveTo>
                          <a:lnTo>
                            <a:pt x="305086" y="192405"/>
                          </a:lnTo>
                          <a:lnTo>
                            <a:pt x="325469" y="0"/>
                          </a:lnTo>
                          <a:lnTo>
                            <a:pt x="201168" y="148304"/>
                          </a:lnTo>
                          <a:lnTo>
                            <a:pt x="33052" y="76771"/>
                          </a:lnTo>
                          <a:lnTo>
                            <a:pt x="124396" y="239840"/>
                          </a:lnTo>
                          <a:lnTo>
                            <a:pt x="0" y="388049"/>
                          </a:lnTo>
                          <a:lnTo>
                            <a:pt x="180784" y="340614"/>
                          </a:lnTo>
                          <a:lnTo>
                            <a:pt x="272129" y="503682"/>
                          </a:lnTo>
                          <a:lnTo>
                            <a:pt x="292513" y="311277"/>
                          </a:lnTo>
                          <a:lnTo>
                            <a:pt x="473297" y="263843"/>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sp>
                <p:nvSpPr>
                  <p:cNvPr id="538" name="Freeform: Shape 537">
                    <a:extLst>
                      <a:ext uri="{FF2B5EF4-FFF2-40B4-BE49-F238E27FC236}">
                        <a16:creationId xmlns:a16="http://schemas.microsoft.com/office/drawing/2014/main" id="{9C72F46A-1DBA-4FDE-A730-5C405F6FDCB9}"/>
                      </a:ext>
                    </a:extLst>
                  </p:cNvPr>
                  <p:cNvSpPr/>
                  <p:nvPr/>
                </p:nvSpPr>
                <p:spPr>
                  <a:xfrm>
                    <a:off x="2004154" y="1893247"/>
                    <a:ext cx="61995" cy="61995"/>
                  </a:xfrm>
                  <a:custGeom>
                    <a:avLst/>
                    <a:gdLst>
                      <a:gd name="connsiteX0" fmla="*/ 197168 w 190500"/>
                      <a:gd name="connsiteY0" fmla="*/ 98584 h 190500"/>
                      <a:gd name="connsiteX1" fmla="*/ 98584 w 190500"/>
                      <a:gd name="connsiteY1" fmla="*/ 197167 h 190500"/>
                      <a:gd name="connsiteX2" fmla="*/ 0 w 190500"/>
                      <a:gd name="connsiteY2" fmla="*/ 98584 h 190500"/>
                      <a:gd name="connsiteX3" fmla="*/ 98584 w 190500"/>
                      <a:gd name="connsiteY3" fmla="*/ 0 h 190500"/>
                      <a:gd name="connsiteX4" fmla="*/ 197168 w 190500"/>
                      <a:gd name="connsiteY4" fmla="*/ 98584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0" h="190500">
                        <a:moveTo>
                          <a:pt x="197168" y="98584"/>
                        </a:moveTo>
                        <a:cubicBezTo>
                          <a:pt x="197168" y="153030"/>
                          <a:pt x="153030" y="197167"/>
                          <a:pt x="98584" y="197167"/>
                        </a:cubicBezTo>
                        <a:cubicBezTo>
                          <a:pt x="44137" y="197167"/>
                          <a:pt x="0" y="153030"/>
                          <a:pt x="0" y="98584"/>
                        </a:cubicBezTo>
                        <a:cubicBezTo>
                          <a:pt x="0" y="44137"/>
                          <a:pt x="44137" y="0"/>
                          <a:pt x="98584" y="0"/>
                        </a:cubicBezTo>
                        <a:cubicBezTo>
                          <a:pt x="153030" y="0"/>
                          <a:pt x="197168" y="44137"/>
                          <a:pt x="197168" y="9858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nvGrpSpPr>
                  <p:cNvPr id="539" name="Group 538">
                    <a:extLst>
                      <a:ext uri="{FF2B5EF4-FFF2-40B4-BE49-F238E27FC236}">
                        <a16:creationId xmlns:a16="http://schemas.microsoft.com/office/drawing/2014/main" id="{867C324A-A25B-4F86-98E1-A5364A0372FE}"/>
                      </a:ext>
                    </a:extLst>
                  </p:cNvPr>
                  <p:cNvGrpSpPr/>
                  <p:nvPr/>
                </p:nvGrpSpPr>
                <p:grpSpPr>
                  <a:xfrm>
                    <a:off x="1250277" y="793047"/>
                    <a:ext cx="1577359" cy="1279442"/>
                    <a:chOff x="1250277" y="699247"/>
                    <a:chExt cx="1577359" cy="1373242"/>
                  </a:xfrm>
                  <a:grpFill/>
                </p:grpSpPr>
                <p:grpSp>
                  <p:nvGrpSpPr>
                    <p:cNvPr id="540" name="Group 539">
                      <a:extLst>
                        <a:ext uri="{FF2B5EF4-FFF2-40B4-BE49-F238E27FC236}">
                          <a16:creationId xmlns:a16="http://schemas.microsoft.com/office/drawing/2014/main" id="{F564F3EB-52EB-4DFC-97EE-22C2CE4D9B68}"/>
                        </a:ext>
                      </a:extLst>
                    </p:cNvPr>
                    <p:cNvGrpSpPr/>
                    <p:nvPr/>
                  </p:nvGrpSpPr>
                  <p:grpSpPr>
                    <a:xfrm rot="20997099">
                      <a:off x="1250277" y="699247"/>
                      <a:ext cx="607260" cy="1373242"/>
                      <a:chOff x="2046450" y="1157001"/>
                      <a:chExt cx="2314020" cy="3831727"/>
                    </a:xfrm>
                    <a:grpFill/>
                  </p:grpSpPr>
                  <p:sp>
                    <p:nvSpPr>
                      <p:cNvPr id="559" name="Freeform: Shape 558">
                        <a:extLst>
                          <a:ext uri="{FF2B5EF4-FFF2-40B4-BE49-F238E27FC236}">
                            <a16:creationId xmlns:a16="http://schemas.microsoft.com/office/drawing/2014/main" id="{6A18F236-0C0A-442D-BF55-DA64040169B2}"/>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60" name="Freeform: Shape 559">
                        <a:extLst>
                          <a:ext uri="{FF2B5EF4-FFF2-40B4-BE49-F238E27FC236}">
                            <a16:creationId xmlns:a16="http://schemas.microsoft.com/office/drawing/2014/main" id="{1023ED52-5BAE-48FC-9577-2F03456B4DAF}"/>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61" name="Freeform: Shape 560">
                        <a:extLst>
                          <a:ext uri="{FF2B5EF4-FFF2-40B4-BE49-F238E27FC236}">
                            <a16:creationId xmlns:a16="http://schemas.microsoft.com/office/drawing/2014/main" id="{5354152F-4A58-4FBD-9DEF-B2EBC60E4209}"/>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62" name="Freeform: Shape 561">
                        <a:extLst>
                          <a:ext uri="{FF2B5EF4-FFF2-40B4-BE49-F238E27FC236}">
                            <a16:creationId xmlns:a16="http://schemas.microsoft.com/office/drawing/2014/main" id="{1CA745F8-6246-497D-A78F-93B9C30E7D8A}"/>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63" name="Freeform: Shape 562">
                        <a:extLst>
                          <a:ext uri="{FF2B5EF4-FFF2-40B4-BE49-F238E27FC236}">
                            <a16:creationId xmlns:a16="http://schemas.microsoft.com/office/drawing/2014/main" id="{2329F45D-DE20-42CE-BDD6-7F733795F6DE}"/>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64" name="Freeform: Shape 563">
                        <a:extLst>
                          <a:ext uri="{FF2B5EF4-FFF2-40B4-BE49-F238E27FC236}">
                            <a16:creationId xmlns:a16="http://schemas.microsoft.com/office/drawing/2014/main" id="{3B4828BD-334E-4ADD-947C-39248F2D79C9}"/>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65" name="Freeform: Shape 564">
                        <a:extLst>
                          <a:ext uri="{FF2B5EF4-FFF2-40B4-BE49-F238E27FC236}">
                            <a16:creationId xmlns:a16="http://schemas.microsoft.com/office/drawing/2014/main" id="{DF527839-B62B-4260-8BF7-9897C1E0C7B8}"/>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66" name="Freeform: Shape 565">
                        <a:extLst>
                          <a:ext uri="{FF2B5EF4-FFF2-40B4-BE49-F238E27FC236}">
                            <a16:creationId xmlns:a16="http://schemas.microsoft.com/office/drawing/2014/main" id="{E951F919-E6F1-46B6-9417-3035B35498A1}"/>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67" name="Freeform: Shape 566">
                        <a:extLst>
                          <a:ext uri="{FF2B5EF4-FFF2-40B4-BE49-F238E27FC236}">
                            <a16:creationId xmlns:a16="http://schemas.microsoft.com/office/drawing/2014/main" id="{C30CE8C6-5083-4F04-B3D2-718BC59F25E7}"/>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68" name="Freeform: Shape 567">
                        <a:extLst>
                          <a:ext uri="{FF2B5EF4-FFF2-40B4-BE49-F238E27FC236}">
                            <a16:creationId xmlns:a16="http://schemas.microsoft.com/office/drawing/2014/main" id="{C7F798C9-245D-449E-B5B8-B07A09035188}"/>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69" name="Freeform: Shape 568">
                        <a:extLst>
                          <a:ext uri="{FF2B5EF4-FFF2-40B4-BE49-F238E27FC236}">
                            <a16:creationId xmlns:a16="http://schemas.microsoft.com/office/drawing/2014/main" id="{1574812C-BDEB-44C1-879A-846584BF63B7}"/>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70" name="Freeform: Shape 569">
                        <a:extLst>
                          <a:ext uri="{FF2B5EF4-FFF2-40B4-BE49-F238E27FC236}">
                            <a16:creationId xmlns:a16="http://schemas.microsoft.com/office/drawing/2014/main" id="{C101B013-30C0-4DA8-A971-C01CD98E66A6}"/>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71" name="Freeform: Shape 570">
                        <a:extLst>
                          <a:ext uri="{FF2B5EF4-FFF2-40B4-BE49-F238E27FC236}">
                            <a16:creationId xmlns:a16="http://schemas.microsoft.com/office/drawing/2014/main" id="{EE8DE46A-EFFD-4E33-BADB-11F0C35428DC}"/>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72" name="Freeform: Shape 571">
                        <a:extLst>
                          <a:ext uri="{FF2B5EF4-FFF2-40B4-BE49-F238E27FC236}">
                            <a16:creationId xmlns:a16="http://schemas.microsoft.com/office/drawing/2014/main" id="{E3A06490-F36F-4B71-B268-0F8FCD457724}"/>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73" name="Freeform: Shape 572">
                        <a:extLst>
                          <a:ext uri="{FF2B5EF4-FFF2-40B4-BE49-F238E27FC236}">
                            <a16:creationId xmlns:a16="http://schemas.microsoft.com/office/drawing/2014/main" id="{98BE4CB9-7C7F-4F33-8982-167518CE2B1D}"/>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74" name="Freeform: Shape 573">
                        <a:extLst>
                          <a:ext uri="{FF2B5EF4-FFF2-40B4-BE49-F238E27FC236}">
                            <a16:creationId xmlns:a16="http://schemas.microsoft.com/office/drawing/2014/main" id="{9F4EF97A-8A59-4338-9E6E-9481A3FEB246}"/>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75" name="Freeform: Shape 574">
                        <a:extLst>
                          <a:ext uri="{FF2B5EF4-FFF2-40B4-BE49-F238E27FC236}">
                            <a16:creationId xmlns:a16="http://schemas.microsoft.com/office/drawing/2014/main" id="{024574D5-50B1-40BA-9DAC-E500A5C23302}"/>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grpSp>
                  <p:nvGrpSpPr>
                    <p:cNvPr id="541" name="Group 540">
                      <a:extLst>
                        <a:ext uri="{FF2B5EF4-FFF2-40B4-BE49-F238E27FC236}">
                          <a16:creationId xmlns:a16="http://schemas.microsoft.com/office/drawing/2014/main" id="{31D2BD99-05E2-4097-9DCF-DA858BFC37B1}"/>
                        </a:ext>
                      </a:extLst>
                    </p:cNvPr>
                    <p:cNvGrpSpPr/>
                    <p:nvPr/>
                  </p:nvGrpSpPr>
                  <p:grpSpPr>
                    <a:xfrm rot="602901" flipH="1">
                      <a:off x="2220376" y="699247"/>
                      <a:ext cx="607260" cy="1373242"/>
                      <a:chOff x="2046450" y="1157001"/>
                      <a:chExt cx="2314020" cy="3831727"/>
                    </a:xfrm>
                    <a:grpFill/>
                  </p:grpSpPr>
                  <p:sp>
                    <p:nvSpPr>
                      <p:cNvPr id="542" name="Freeform: Shape 541">
                        <a:extLst>
                          <a:ext uri="{FF2B5EF4-FFF2-40B4-BE49-F238E27FC236}">
                            <a16:creationId xmlns:a16="http://schemas.microsoft.com/office/drawing/2014/main" id="{2F43806F-4FFB-447D-8620-C643989ADF19}"/>
                          </a:ext>
                        </a:extLst>
                      </p:cNvPr>
                      <p:cNvSpPr/>
                      <p:nvPr/>
                    </p:nvSpPr>
                    <p:spPr>
                      <a:xfrm>
                        <a:off x="3789913" y="4160577"/>
                        <a:ext cx="501654" cy="449758"/>
                      </a:xfrm>
                      <a:custGeom>
                        <a:avLst/>
                        <a:gdLst>
                          <a:gd name="connsiteX0" fmla="*/ 556927 w 552450"/>
                          <a:gd name="connsiteY0" fmla="*/ 498538 h 495300"/>
                          <a:gd name="connsiteX1" fmla="*/ 0 w 552450"/>
                          <a:gd name="connsiteY1" fmla="*/ 0 h 495300"/>
                          <a:gd name="connsiteX2" fmla="*/ 556927 w 552450"/>
                          <a:gd name="connsiteY2" fmla="*/ 498538 h 495300"/>
                        </a:gdLst>
                        <a:ahLst/>
                        <a:cxnLst>
                          <a:cxn ang="0">
                            <a:pos x="connsiteX0" y="connsiteY0"/>
                          </a:cxn>
                          <a:cxn ang="0">
                            <a:pos x="connsiteX1" y="connsiteY1"/>
                          </a:cxn>
                          <a:cxn ang="0">
                            <a:pos x="connsiteX2" y="connsiteY2"/>
                          </a:cxn>
                        </a:cxnLst>
                        <a:rect l="l" t="t" r="r" b="b"/>
                        <a:pathLst>
                          <a:path w="552450" h="495300">
                            <a:moveTo>
                              <a:pt x="556927" y="498538"/>
                            </a:moveTo>
                            <a:cubicBezTo>
                              <a:pt x="556927" y="498538"/>
                              <a:pt x="632270" y="92393"/>
                              <a:pt x="0" y="0"/>
                            </a:cubicBezTo>
                            <a:cubicBezTo>
                              <a:pt x="0" y="0"/>
                              <a:pt x="116776" y="552069"/>
                              <a:pt x="556927" y="498538"/>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43" name="Freeform: Shape 542">
                        <a:extLst>
                          <a:ext uri="{FF2B5EF4-FFF2-40B4-BE49-F238E27FC236}">
                            <a16:creationId xmlns:a16="http://schemas.microsoft.com/office/drawing/2014/main" id="{30A5B45E-4545-48D1-AE2F-1571626ECB8A}"/>
                          </a:ext>
                        </a:extLst>
                      </p:cNvPr>
                      <p:cNvSpPr/>
                      <p:nvPr/>
                    </p:nvSpPr>
                    <p:spPr>
                      <a:xfrm>
                        <a:off x="3385445" y="3800926"/>
                        <a:ext cx="311372" cy="640042"/>
                      </a:xfrm>
                      <a:custGeom>
                        <a:avLst/>
                        <a:gdLst>
                          <a:gd name="connsiteX0" fmla="*/ 277962 w 342900"/>
                          <a:gd name="connsiteY0" fmla="*/ 706183 h 704850"/>
                          <a:gd name="connsiteX1" fmla="*/ 33170 w 342900"/>
                          <a:gd name="connsiteY1" fmla="*/ 0 h 704850"/>
                          <a:gd name="connsiteX2" fmla="*/ 277962 w 342900"/>
                          <a:gd name="connsiteY2" fmla="*/ 706183 h 704850"/>
                        </a:gdLst>
                        <a:ahLst/>
                        <a:cxnLst>
                          <a:cxn ang="0">
                            <a:pos x="connsiteX0" y="connsiteY0"/>
                          </a:cxn>
                          <a:cxn ang="0">
                            <a:pos x="connsiteX1" y="connsiteY1"/>
                          </a:cxn>
                          <a:cxn ang="0">
                            <a:pos x="connsiteX2" y="connsiteY2"/>
                          </a:cxn>
                        </a:cxnLst>
                        <a:rect l="l" t="t" r="r" b="b"/>
                        <a:pathLst>
                          <a:path w="342900" h="704850">
                            <a:moveTo>
                              <a:pt x="277962" y="706183"/>
                            </a:moveTo>
                            <a:cubicBezTo>
                              <a:pt x="277962" y="706183"/>
                              <a:pt x="541043" y="387763"/>
                              <a:pt x="33170" y="0"/>
                            </a:cubicBezTo>
                            <a:cubicBezTo>
                              <a:pt x="33170" y="-95"/>
                              <a:pt x="-132851" y="539210"/>
                              <a:pt x="277962" y="70618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44" name="Freeform: Shape 543">
                        <a:extLst>
                          <a:ext uri="{FF2B5EF4-FFF2-40B4-BE49-F238E27FC236}">
                            <a16:creationId xmlns:a16="http://schemas.microsoft.com/office/drawing/2014/main" id="{9C61EA12-6002-495F-AD06-A95E2A35A0C3}"/>
                          </a:ext>
                        </a:extLst>
                      </p:cNvPr>
                      <p:cNvSpPr/>
                      <p:nvPr/>
                    </p:nvSpPr>
                    <p:spPr>
                      <a:xfrm>
                        <a:off x="3033353" y="3509690"/>
                        <a:ext cx="276774" cy="674636"/>
                      </a:xfrm>
                      <a:custGeom>
                        <a:avLst/>
                        <a:gdLst>
                          <a:gd name="connsiteX0" fmla="*/ 147195 w 304800"/>
                          <a:gd name="connsiteY0" fmla="*/ 747427 h 742950"/>
                          <a:gd name="connsiteX1" fmla="*/ 149481 w 304800"/>
                          <a:gd name="connsiteY1" fmla="*/ 0 h 742950"/>
                          <a:gd name="connsiteX2" fmla="*/ 147195 w 304800"/>
                          <a:gd name="connsiteY2" fmla="*/ 747427 h 742950"/>
                        </a:gdLst>
                        <a:ahLst/>
                        <a:cxnLst>
                          <a:cxn ang="0">
                            <a:pos x="connsiteX0" y="connsiteY0"/>
                          </a:cxn>
                          <a:cxn ang="0">
                            <a:pos x="connsiteX1" y="connsiteY1"/>
                          </a:cxn>
                          <a:cxn ang="0">
                            <a:pos x="connsiteX2" y="connsiteY2"/>
                          </a:cxn>
                        </a:cxnLst>
                        <a:rect l="l" t="t" r="r" b="b"/>
                        <a:pathLst>
                          <a:path w="304800" h="742950">
                            <a:moveTo>
                              <a:pt x="147195" y="747427"/>
                            </a:moveTo>
                            <a:cubicBezTo>
                              <a:pt x="147195" y="747427"/>
                              <a:pt x="500763" y="533781"/>
                              <a:pt x="149481" y="0"/>
                            </a:cubicBezTo>
                            <a:cubicBezTo>
                              <a:pt x="149481" y="0"/>
                              <a:pt x="-185322" y="454152"/>
                              <a:pt x="147195"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45" name="Freeform: Shape 544">
                        <a:extLst>
                          <a:ext uri="{FF2B5EF4-FFF2-40B4-BE49-F238E27FC236}">
                            <a16:creationId xmlns:a16="http://schemas.microsoft.com/office/drawing/2014/main" id="{7A3C2123-C792-42FF-B33E-C1D858E343EA}"/>
                          </a:ext>
                        </a:extLst>
                      </p:cNvPr>
                      <p:cNvSpPr/>
                      <p:nvPr/>
                    </p:nvSpPr>
                    <p:spPr>
                      <a:xfrm>
                        <a:off x="2748364" y="3201500"/>
                        <a:ext cx="285424" cy="665986"/>
                      </a:xfrm>
                      <a:custGeom>
                        <a:avLst/>
                        <a:gdLst>
                          <a:gd name="connsiteX0" fmla="*/ 93056 w 314325"/>
                          <a:gd name="connsiteY0" fmla="*/ 734092 h 733425"/>
                          <a:gd name="connsiteX1" fmla="*/ 233645 w 314325"/>
                          <a:gd name="connsiteY1" fmla="*/ 0 h 733425"/>
                          <a:gd name="connsiteX2" fmla="*/ 93056 w 314325"/>
                          <a:gd name="connsiteY2" fmla="*/ 734092 h 733425"/>
                        </a:gdLst>
                        <a:ahLst/>
                        <a:cxnLst>
                          <a:cxn ang="0">
                            <a:pos x="connsiteX0" y="connsiteY0"/>
                          </a:cxn>
                          <a:cxn ang="0">
                            <a:pos x="connsiteX1" y="connsiteY1"/>
                          </a:cxn>
                          <a:cxn ang="0">
                            <a:pos x="connsiteX2" y="connsiteY2"/>
                          </a:cxn>
                        </a:cxnLst>
                        <a:rect l="l" t="t" r="r" b="b"/>
                        <a:pathLst>
                          <a:path w="314325" h="733425">
                            <a:moveTo>
                              <a:pt x="93056" y="734092"/>
                            </a:moveTo>
                            <a:cubicBezTo>
                              <a:pt x="93056" y="734092"/>
                              <a:pt x="480057" y="589597"/>
                              <a:pt x="233645" y="0"/>
                            </a:cubicBezTo>
                            <a:cubicBezTo>
                              <a:pt x="233550" y="0"/>
                              <a:pt x="-179549" y="384334"/>
                              <a:pt x="93056" y="73409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46" name="Freeform: Shape 545">
                        <a:extLst>
                          <a:ext uri="{FF2B5EF4-FFF2-40B4-BE49-F238E27FC236}">
                            <a16:creationId xmlns:a16="http://schemas.microsoft.com/office/drawing/2014/main" id="{63F30774-BF09-4362-828F-C2FAD5B21A4D}"/>
                          </a:ext>
                        </a:extLst>
                      </p:cNvPr>
                      <p:cNvSpPr/>
                      <p:nvPr/>
                    </p:nvSpPr>
                    <p:spPr>
                      <a:xfrm>
                        <a:off x="2588417" y="2697930"/>
                        <a:ext cx="302724" cy="640044"/>
                      </a:xfrm>
                      <a:custGeom>
                        <a:avLst/>
                        <a:gdLst>
                          <a:gd name="connsiteX0" fmla="*/ 63283 w 333375"/>
                          <a:gd name="connsiteY0" fmla="*/ 711041 h 704850"/>
                          <a:gd name="connsiteX1" fmla="*/ 293597 w 333375"/>
                          <a:gd name="connsiteY1" fmla="*/ 0 h 704850"/>
                          <a:gd name="connsiteX2" fmla="*/ 63283 w 333375"/>
                          <a:gd name="connsiteY2" fmla="*/ 711041 h 704850"/>
                        </a:gdLst>
                        <a:ahLst/>
                        <a:cxnLst>
                          <a:cxn ang="0">
                            <a:pos x="connsiteX0" y="connsiteY0"/>
                          </a:cxn>
                          <a:cxn ang="0">
                            <a:pos x="connsiteX1" y="connsiteY1"/>
                          </a:cxn>
                          <a:cxn ang="0">
                            <a:pos x="connsiteX2" y="connsiteY2"/>
                          </a:cxn>
                        </a:cxnLst>
                        <a:rect l="l" t="t" r="r" b="b"/>
                        <a:pathLst>
                          <a:path w="333375" h="704850">
                            <a:moveTo>
                              <a:pt x="63283" y="711041"/>
                            </a:moveTo>
                            <a:cubicBezTo>
                              <a:pt x="63283" y="711041"/>
                              <a:pt x="465142" y="615506"/>
                              <a:pt x="293597" y="0"/>
                            </a:cubicBezTo>
                            <a:cubicBezTo>
                              <a:pt x="293597" y="-95"/>
                              <a:pt x="-163889" y="330232"/>
                              <a:pt x="63283" y="71104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47" name="Freeform: Shape 546">
                        <a:extLst>
                          <a:ext uri="{FF2B5EF4-FFF2-40B4-BE49-F238E27FC236}">
                            <a16:creationId xmlns:a16="http://schemas.microsoft.com/office/drawing/2014/main" id="{5799A0E1-6F46-4BBF-AD9C-E38E1F577D1C}"/>
                          </a:ext>
                        </a:extLst>
                      </p:cNvPr>
                      <p:cNvSpPr/>
                      <p:nvPr/>
                    </p:nvSpPr>
                    <p:spPr>
                      <a:xfrm>
                        <a:off x="2513987" y="2188288"/>
                        <a:ext cx="354618" cy="588146"/>
                      </a:xfrm>
                      <a:custGeom>
                        <a:avLst/>
                        <a:gdLst>
                          <a:gd name="connsiteX0" fmla="*/ 26898 w 390525"/>
                          <a:gd name="connsiteY0" fmla="*/ 652272 h 647700"/>
                          <a:gd name="connsiteX1" fmla="*/ 391896 w 390525"/>
                          <a:gd name="connsiteY1" fmla="*/ 0 h 647700"/>
                          <a:gd name="connsiteX2" fmla="*/ 26898 w 390525"/>
                          <a:gd name="connsiteY2" fmla="*/ 652272 h 647700"/>
                        </a:gdLst>
                        <a:ahLst/>
                        <a:cxnLst>
                          <a:cxn ang="0">
                            <a:pos x="connsiteX0" y="connsiteY0"/>
                          </a:cxn>
                          <a:cxn ang="0">
                            <a:pos x="connsiteX1" y="connsiteY1"/>
                          </a:cxn>
                          <a:cxn ang="0">
                            <a:pos x="connsiteX2" y="connsiteY2"/>
                          </a:cxn>
                        </a:cxnLst>
                        <a:rect l="l" t="t" r="r" b="b"/>
                        <a:pathLst>
                          <a:path w="390525" h="647700">
                            <a:moveTo>
                              <a:pt x="26898" y="652272"/>
                            </a:moveTo>
                            <a:cubicBezTo>
                              <a:pt x="26898" y="652272"/>
                              <a:pt x="439712" y="637223"/>
                              <a:pt x="391896" y="0"/>
                            </a:cubicBezTo>
                            <a:cubicBezTo>
                              <a:pt x="391896" y="-95"/>
                              <a:pt x="-121406" y="234315"/>
                              <a:pt x="26898" y="65227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48" name="Freeform: Shape 547">
                        <a:extLst>
                          <a:ext uri="{FF2B5EF4-FFF2-40B4-BE49-F238E27FC236}">
                            <a16:creationId xmlns:a16="http://schemas.microsoft.com/office/drawing/2014/main" id="{D17FE6DD-50EB-4BE6-9C25-B80392F6B86B}"/>
                          </a:ext>
                        </a:extLst>
                      </p:cNvPr>
                      <p:cNvSpPr/>
                      <p:nvPr/>
                    </p:nvSpPr>
                    <p:spPr>
                      <a:xfrm>
                        <a:off x="2662975" y="1675446"/>
                        <a:ext cx="467058" cy="484356"/>
                      </a:xfrm>
                      <a:custGeom>
                        <a:avLst/>
                        <a:gdLst>
                          <a:gd name="connsiteX0" fmla="*/ 1522 w 514350"/>
                          <a:gd name="connsiteY0" fmla="*/ 534734 h 533400"/>
                          <a:gd name="connsiteX1" fmla="*/ 523778 w 514350"/>
                          <a:gd name="connsiteY1" fmla="*/ 0 h 533400"/>
                          <a:gd name="connsiteX2" fmla="*/ 1522 w 514350"/>
                          <a:gd name="connsiteY2" fmla="*/ 534734 h 533400"/>
                        </a:gdLst>
                        <a:ahLst/>
                        <a:cxnLst>
                          <a:cxn ang="0">
                            <a:pos x="connsiteX0" y="connsiteY0"/>
                          </a:cxn>
                          <a:cxn ang="0">
                            <a:pos x="connsiteX1" y="connsiteY1"/>
                          </a:cxn>
                          <a:cxn ang="0">
                            <a:pos x="connsiteX2" y="connsiteY2"/>
                          </a:cxn>
                        </a:cxnLst>
                        <a:rect l="l" t="t" r="r" b="b"/>
                        <a:pathLst>
                          <a:path w="514350" h="533400">
                            <a:moveTo>
                              <a:pt x="1522" y="534734"/>
                            </a:moveTo>
                            <a:cubicBezTo>
                              <a:pt x="1522" y="534734"/>
                              <a:pt x="403953" y="627697"/>
                              <a:pt x="523778" y="0"/>
                            </a:cubicBezTo>
                            <a:cubicBezTo>
                              <a:pt x="523778" y="0"/>
                              <a:pt x="-32768" y="92678"/>
                              <a:pt x="1522" y="534734"/>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49" name="Freeform: Shape 548">
                        <a:extLst>
                          <a:ext uri="{FF2B5EF4-FFF2-40B4-BE49-F238E27FC236}">
                            <a16:creationId xmlns:a16="http://schemas.microsoft.com/office/drawing/2014/main" id="{ADDD50D7-9682-4F39-BC72-F18A3031AFDB}"/>
                          </a:ext>
                        </a:extLst>
                      </p:cNvPr>
                      <p:cNvSpPr/>
                      <p:nvPr/>
                    </p:nvSpPr>
                    <p:spPr>
                      <a:xfrm>
                        <a:off x="2803589" y="1157001"/>
                        <a:ext cx="423812" cy="527600"/>
                      </a:xfrm>
                      <a:custGeom>
                        <a:avLst/>
                        <a:gdLst>
                          <a:gd name="connsiteX0" fmla="*/ 8166 w 466725"/>
                          <a:gd name="connsiteY0" fmla="*/ 586740 h 581025"/>
                          <a:gd name="connsiteX1" fmla="*/ 471271 w 466725"/>
                          <a:gd name="connsiteY1" fmla="*/ 0 h 581025"/>
                          <a:gd name="connsiteX2" fmla="*/ 8166 w 466725"/>
                          <a:gd name="connsiteY2" fmla="*/ 586740 h 581025"/>
                        </a:gdLst>
                        <a:ahLst/>
                        <a:cxnLst>
                          <a:cxn ang="0">
                            <a:pos x="connsiteX0" y="connsiteY0"/>
                          </a:cxn>
                          <a:cxn ang="0">
                            <a:pos x="connsiteX1" y="connsiteY1"/>
                          </a:cxn>
                          <a:cxn ang="0">
                            <a:pos x="connsiteX2" y="connsiteY2"/>
                          </a:cxn>
                        </a:cxnLst>
                        <a:rect l="l" t="t" r="r" b="b"/>
                        <a:pathLst>
                          <a:path w="466725" h="581025">
                            <a:moveTo>
                              <a:pt x="8166" y="586740"/>
                            </a:moveTo>
                            <a:cubicBezTo>
                              <a:pt x="8166" y="586740"/>
                              <a:pt x="418217" y="636842"/>
                              <a:pt x="471271" y="0"/>
                            </a:cubicBezTo>
                            <a:cubicBezTo>
                              <a:pt x="471176" y="0"/>
                              <a:pt x="-72511" y="150686"/>
                              <a:pt x="8166" y="5867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50" name="Freeform: Shape 549">
                        <a:extLst>
                          <a:ext uri="{FF2B5EF4-FFF2-40B4-BE49-F238E27FC236}">
                            <a16:creationId xmlns:a16="http://schemas.microsoft.com/office/drawing/2014/main" id="{7860FBB0-9A30-4E05-ADA3-D358001A6DC5}"/>
                          </a:ext>
                        </a:extLst>
                      </p:cNvPr>
                      <p:cNvSpPr/>
                      <p:nvPr/>
                    </p:nvSpPr>
                    <p:spPr>
                      <a:xfrm>
                        <a:off x="2123029" y="3476679"/>
                        <a:ext cx="579498" cy="363266"/>
                      </a:xfrm>
                      <a:custGeom>
                        <a:avLst/>
                        <a:gdLst>
                          <a:gd name="connsiteX0" fmla="*/ 645033 w 638175"/>
                          <a:gd name="connsiteY0" fmla="*/ 379811 h 400050"/>
                          <a:gd name="connsiteX1" fmla="*/ 0 w 638175"/>
                          <a:gd name="connsiteY1" fmla="*/ 2145 h 400050"/>
                          <a:gd name="connsiteX2" fmla="*/ 645033 w 638175"/>
                          <a:gd name="connsiteY2" fmla="*/ 379811 h 400050"/>
                        </a:gdLst>
                        <a:ahLst/>
                        <a:cxnLst>
                          <a:cxn ang="0">
                            <a:pos x="connsiteX0" y="connsiteY0"/>
                          </a:cxn>
                          <a:cxn ang="0">
                            <a:pos x="connsiteX1" y="connsiteY1"/>
                          </a:cxn>
                          <a:cxn ang="0">
                            <a:pos x="connsiteX2" y="connsiteY2"/>
                          </a:cxn>
                        </a:cxnLst>
                        <a:rect l="l" t="t" r="r" b="b"/>
                        <a:pathLst>
                          <a:path w="638175" h="400050">
                            <a:moveTo>
                              <a:pt x="645033" y="379811"/>
                            </a:moveTo>
                            <a:cubicBezTo>
                              <a:pt x="645033" y="379811"/>
                              <a:pt x="637985" y="-33193"/>
                              <a:pt x="0" y="2145"/>
                            </a:cubicBezTo>
                            <a:cubicBezTo>
                              <a:pt x="0" y="2145"/>
                              <a:pt x="224314" y="519924"/>
                              <a:pt x="645033" y="379811"/>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51" name="Freeform: Shape 550">
                        <a:extLst>
                          <a:ext uri="{FF2B5EF4-FFF2-40B4-BE49-F238E27FC236}">
                            <a16:creationId xmlns:a16="http://schemas.microsoft.com/office/drawing/2014/main" id="{5C388EF4-33D1-4D56-A9F4-90A760E0490B}"/>
                          </a:ext>
                        </a:extLst>
                      </p:cNvPr>
                      <p:cNvSpPr/>
                      <p:nvPr/>
                    </p:nvSpPr>
                    <p:spPr>
                      <a:xfrm>
                        <a:off x="2046450" y="3029776"/>
                        <a:ext cx="536250" cy="415162"/>
                      </a:xfrm>
                      <a:custGeom>
                        <a:avLst/>
                        <a:gdLst>
                          <a:gd name="connsiteX0" fmla="*/ 596456 w 590550"/>
                          <a:gd name="connsiteY0" fmla="*/ 450532 h 457200"/>
                          <a:gd name="connsiteX1" fmla="*/ 0 w 590550"/>
                          <a:gd name="connsiteY1" fmla="*/ 0 h 457200"/>
                          <a:gd name="connsiteX2" fmla="*/ 596456 w 590550"/>
                          <a:gd name="connsiteY2" fmla="*/ 450532 h 457200"/>
                        </a:gdLst>
                        <a:ahLst/>
                        <a:cxnLst>
                          <a:cxn ang="0">
                            <a:pos x="connsiteX0" y="connsiteY0"/>
                          </a:cxn>
                          <a:cxn ang="0">
                            <a:pos x="connsiteX1" y="connsiteY1"/>
                          </a:cxn>
                          <a:cxn ang="0">
                            <a:pos x="connsiteX2" y="connsiteY2"/>
                          </a:cxn>
                        </a:cxnLst>
                        <a:rect l="l" t="t" r="r" b="b"/>
                        <a:pathLst>
                          <a:path w="590550" h="457200">
                            <a:moveTo>
                              <a:pt x="596456" y="450532"/>
                            </a:moveTo>
                            <a:cubicBezTo>
                              <a:pt x="596456" y="450532"/>
                              <a:pt x="637794" y="39529"/>
                              <a:pt x="0" y="0"/>
                            </a:cubicBezTo>
                            <a:cubicBezTo>
                              <a:pt x="0" y="0"/>
                              <a:pt x="162211" y="540448"/>
                              <a:pt x="596456" y="450532"/>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52" name="Freeform: Shape 551">
                        <a:extLst>
                          <a:ext uri="{FF2B5EF4-FFF2-40B4-BE49-F238E27FC236}">
                            <a16:creationId xmlns:a16="http://schemas.microsoft.com/office/drawing/2014/main" id="{FC233A5C-F9EF-4C96-8F7F-C448D74014C9}"/>
                          </a:ext>
                        </a:extLst>
                      </p:cNvPr>
                      <p:cNvSpPr/>
                      <p:nvPr/>
                    </p:nvSpPr>
                    <p:spPr>
                      <a:xfrm>
                        <a:off x="2098369" y="2433298"/>
                        <a:ext cx="380564" cy="570846"/>
                      </a:xfrm>
                      <a:custGeom>
                        <a:avLst/>
                        <a:gdLst>
                          <a:gd name="connsiteX0" fmla="*/ 392542 w 419100"/>
                          <a:gd name="connsiteY0" fmla="*/ 636937 h 628650"/>
                          <a:gd name="connsiteX1" fmla="*/ 1350 w 419100"/>
                          <a:gd name="connsiteY1" fmla="*/ 0 h 628650"/>
                          <a:gd name="connsiteX2" fmla="*/ 392542 w 419100"/>
                          <a:gd name="connsiteY2" fmla="*/ 636937 h 628650"/>
                        </a:gdLst>
                        <a:ahLst/>
                        <a:cxnLst>
                          <a:cxn ang="0">
                            <a:pos x="connsiteX0" y="connsiteY0"/>
                          </a:cxn>
                          <a:cxn ang="0">
                            <a:pos x="connsiteX1" y="connsiteY1"/>
                          </a:cxn>
                          <a:cxn ang="0">
                            <a:pos x="connsiteX2" y="connsiteY2"/>
                          </a:cxn>
                        </a:cxnLst>
                        <a:rect l="l" t="t" r="r" b="b"/>
                        <a:pathLst>
                          <a:path w="419100" h="628650">
                            <a:moveTo>
                              <a:pt x="392542" y="636937"/>
                            </a:moveTo>
                            <a:cubicBezTo>
                              <a:pt x="392542" y="636937"/>
                              <a:pt x="580851" y="269272"/>
                              <a:pt x="1350" y="0"/>
                            </a:cubicBezTo>
                            <a:cubicBezTo>
                              <a:pt x="1445" y="0"/>
                              <a:pt x="-44561" y="562451"/>
                              <a:pt x="392542" y="63693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53" name="Freeform: Shape 552">
                        <a:extLst>
                          <a:ext uri="{FF2B5EF4-FFF2-40B4-BE49-F238E27FC236}">
                            <a16:creationId xmlns:a16="http://schemas.microsoft.com/office/drawing/2014/main" id="{1C1C9897-DE8C-4EC5-AF0F-AD37794B61DF}"/>
                          </a:ext>
                        </a:extLst>
                      </p:cNvPr>
                      <p:cNvSpPr/>
                      <p:nvPr/>
                    </p:nvSpPr>
                    <p:spPr>
                      <a:xfrm>
                        <a:off x="2247366" y="1836649"/>
                        <a:ext cx="285424" cy="657338"/>
                      </a:xfrm>
                      <a:custGeom>
                        <a:avLst/>
                        <a:gdLst>
                          <a:gd name="connsiteX0" fmla="*/ 219296 w 314325"/>
                          <a:gd name="connsiteY0" fmla="*/ 732949 h 723900"/>
                          <a:gd name="connsiteX1" fmla="*/ 72706 w 314325"/>
                          <a:gd name="connsiteY1" fmla="*/ 0 h 723900"/>
                          <a:gd name="connsiteX2" fmla="*/ 219296 w 314325"/>
                          <a:gd name="connsiteY2" fmla="*/ 732949 h 723900"/>
                        </a:gdLst>
                        <a:ahLst/>
                        <a:cxnLst>
                          <a:cxn ang="0">
                            <a:pos x="connsiteX0" y="connsiteY0"/>
                          </a:cxn>
                          <a:cxn ang="0">
                            <a:pos x="connsiteX1" y="connsiteY1"/>
                          </a:cxn>
                          <a:cxn ang="0">
                            <a:pos x="connsiteX2" y="connsiteY2"/>
                          </a:cxn>
                        </a:cxnLst>
                        <a:rect l="l" t="t" r="r" b="b"/>
                        <a:pathLst>
                          <a:path w="314325" h="723900">
                            <a:moveTo>
                              <a:pt x="219296" y="732949"/>
                            </a:moveTo>
                            <a:cubicBezTo>
                              <a:pt x="219296" y="732949"/>
                              <a:pt x="523239" y="453200"/>
                              <a:pt x="72706" y="0"/>
                            </a:cubicBezTo>
                            <a:cubicBezTo>
                              <a:pt x="72706" y="95"/>
                              <a:pt x="-165038" y="511778"/>
                              <a:pt x="219296" y="73294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54" name="Freeform: Shape 553">
                        <a:extLst>
                          <a:ext uri="{FF2B5EF4-FFF2-40B4-BE49-F238E27FC236}">
                            <a16:creationId xmlns:a16="http://schemas.microsoft.com/office/drawing/2014/main" id="{1D0DFF89-5B8E-40CF-98EA-9DC930A3351F}"/>
                          </a:ext>
                        </a:extLst>
                      </p:cNvPr>
                      <p:cNvSpPr/>
                      <p:nvPr/>
                    </p:nvSpPr>
                    <p:spPr>
                      <a:xfrm>
                        <a:off x="2462702" y="1272693"/>
                        <a:ext cx="276774" cy="674636"/>
                      </a:xfrm>
                      <a:custGeom>
                        <a:avLst/>
                        <a:gdLst>
                          <a:gd name="connsiteX0" fmla="*/ 150112 w 304800"/>
                          <a:gd name="connsiteY0" fmla="*/ 747427 h 742950"/>
                          <a:gd name="connsiteX1" fmla="*/ 145826 w 304800"/>
                          <a:gd name="connsiteY1" fmla="*/ 0 h 742950"/>
                          <a:gd name="connsiteX2" fmla="*/ 150112 w 304800"/>
                          <a:gd name="connsiteY2" fmla="*/ 747427 h 742950"/>
                        </a:gdLst>
                        <a:ahLst/>
                        <a:cxnLst>
                          <a:cxn ang="0">
                            <a:pos x="connsiteX0" y="connsiteY0"/>
                          </a:cxn>
                          <a:cxn ang="0">
                            <a:pos x="connsiteX1" y="connsiteY1"/>
                          </a:cxn>
                          <a:cxn ang="0">
                            <a:pos x="connsiteX2" y="connsiteY2"/>
                          </a:cxn>
                        </a:cxnLst>
                        <a:rect l="l" t="t" r="r" b="b"/>
                        <a:pathLst>
                          <a:path w="304800" h="742950">
                            <a:moveTo>
                              <a:pt x="150112" y="747427"/>
                            </a:moveTo>
                            <a:cubicBezTo>
                              <a:pt x="150112" y="747427"/>
                              <a:pt x="501775" y="530638"/>
                              <a:pt x="145826" y="0"/>
                            </a:cubicBezTo>
                            <a:cubicBezTo>
                              <a:pt x="145730" y="-95"/>
                              <a:pt x="-185073" y="457009"/>
                              <a:pt x="150112" y="7474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55" name="Freeform: Shape 554">
                        <a:extLst>
                          <a:ext uri="{FF2B5EF4-FFF2-40B4-BE49-F238E27FC236}">
                            <a16:creationId xmlns:a16="http://schemas.microsoft.com/office/drawing/2014/main" id="{CC5B0944-61AA-4468-8BDA-64C8EB70D61E}"/>
                          </a:ext>
                        </a:extLst>
                      </p:cNvPr>
                      <p:cNvSpPr/>
                      <p:nvPr/>
                    </p:nvSpPr>
                    <p:spPr>
                      <a:xfrm>
                        <a:off x="2764916" y="4253799"/>
                        <a:ext cx="665990" cy="276774"/>
                      </a:xfrm>
                      <a:custGeom>
                        <a:avLst/>
                        <a:gdLst>
                          <a:gd name="connsiteX0" fmla="*/ 740378 w 733425"/>
                          <a:gd name="connsiteY0" fmla="*/ 203627 h 304800"/>
                          <a:gd name="connsiteX1" fmla="*/ 0 w 733425"/>
                          <a:gd name="connsiteY1" fmla="*/ 100852 h 304800"/>
                          <a:gd name="connsiteX2" fmla="*/ 740378 w 733425"/>
                          <a:gd name="connsiteY2" fmla="*/ 203627 h 304800"/>
                        </a:gdLst>
                        <a:ahLst/>
                        <a:cxnLst>
                          <a:cxn ang="0">
                            <a:pos x="connsiteX0" y="connsiteY0"/>
                          </a:cxn>
                          <a:cxn ang="0">
                            <a:pos x="connsiteX1" y="connsiteY1"/>
                          </a:cxn>
                          <a:cxn ang="0">
                            <a:pos x="connsiteX2" y="connsiteY2"/>
                          </a:cxn>
                        </a:cxnLst>
                        <a:rect l="l" t="t" r="r" b="b"/>
                        <a:pathLst>
                          <a:path w="733425" h="304800">
                            <a:moveTo>
                              <a:pt x="740378" y="203627"/>
                            </a:moveTo>
                            <a:cubicBezTo>
                              <a:pt x="740378" y="203627"/>
                              <a:pt x="576263" y="-175468"/>
                              <a:pt x="0" y="100852"/>
                            </a:cubicBezTo>
                            <a:cubicBezTo>
                              <a:pt x="0" y="100852"/>
                              <a:pt x="405098" y="493758"/>
                              <a:pt x="740378" y="20362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56" name="Freeform: Shape 555">
                        <a:extLst>
                          <a:ext uri="{FF2B5EF4-FFF2-40B4-BE49-F238E27FC236}">
                            <a16:creationId xmlns:a16="http://schemas.microsoft.com/office/drawing/2014/main" id="{91187D7E-785D-4262-9733-AF397E931DA7}"/>
                          </a:ext>
                        </a:extLst>
                      </p:cNvPr>
                      <p:cNvSpPr/>
                      <p:nvPr/>
                    </p:nvSpPr>
                    <p:spPr>
                      <a:xfrm>
                        <a:off x="2393652" y="3919196"/>
                        <a:ext cx="640042" cy="302722"/>
                      </a:xfrm>
                      <a:custGeom>
                        <a:avLst/>
                        <a:gdLst>
                          <a:gd name="connsiteX0" fmla="*/ 708946 w 704850"/>
                          <a:gd name="connsiteY0" fmla="*/ 276940 h 333375"/>
                          <a:gd name="connsiteX1" fmla="*/ 0 w 704850"/>
                          <a:gd name="connsiteY1" fmla="*/ 40053 h 333375"/>
                          <a:gd name="connsiteX2" fmla="*/ 708946 w 704850"/>
                          <a:gd name="connsiteY2" fmla="*/ 276940 h 333375"/>
                        </a:gdLst>
                        <a:ahLst/>
                        <a:cxnLst>
                          <a:cxn ang="0">
                            <a:pos x="connsiteX0" y="connsiteY0"/>
                          </a:cxn>
                          <a:cxn ang="0">
                            <a:pos x="connsiteX1" y="connsiteY1"/>
                          </a:cxn>
                          <a:cxn ang="0">
                            <a:pos x="connsiteX2" y="connsiteY2"/>
                          </a:cxn>
                        </a:cxnLst>
                        <a:rect l="l" t="t" r="r" b="b"/>
                        <a:pathLst>
                          <a:path w="704850" h="333375">
                            <a:moveTo>
                              <a:pt x="708946" y="276940"/>
                            </a:moveTo>
                            <a:cubicBezTo>
                              <a:pt x="708946" y="276940"/>
                              <a:pt x="617125" y="-125777"/>
                              <a:pt x="0" y="40053"/>
                            </a:cubicBezTo>
                            <a:cubicBezTo>
                              <a:pt x="0" y="40053"/>
                              <a:pt x="326041" y="500587"/>
                              <a:pt x="708946" y="276940"/>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57" name="Freeform: Shape 556">
                        <a:extLst>
                          <a:ext uri="{FF2B5EF4-FFF2-40B4-BE49-F238E27FC236}">
                            <a16:creationId xmlns:a16="http://schemas.microsoft.com/office/drawing/2014/main" id="{073BD977-E9C3-4C53-BA01-5F5AEFC4F400}"/>
                          </a:ext>
                        </a:extLst>
                      </p:cNvPr>
                      <p:cNvSpPr/>
                      <p:nvPr/>
                    </p:nvSpPr>
                    <p:spPr>
                      <a:xfrm>
                        <a:off x="3203123" y="4507720"/>
                        <a:ext cx="674638" cy="276774"/>
                      </a:xfrm>
                      <a:custGeom>
                        <a:avLst/>
                        <a:gdLst>
                          <a:gd name="connsiteX0" fmla="*/ 743331 w 742950"/>
                          <a:gd name="connsiteY0" fmla="*/ 125157 h 304800"/>
                          <a:gd name="connsiteX1" fmla="*/ 0 w 742950"/>
                          <a:gd name="connsiteY1" fmla="*/ 203738 h 304800"/>
                          <a:gd name="connsiteX2" fmla="*/ 743331 w 742950"/>
                          <a:gd name="connsiteY2" fmla="*/ 125157 h 304800"/>
                        </a:gdLst>
                        <a:ahLst/>
                        <a:cxnLst>
                          <a:cxn ang="0">
                            <a:pos x="connsiteX0" y="connsiteY0"/>
                          </a:cxn>
                          <a:cxn ang="0">
                            <a:pos x="connsiteX1" y="connsiteY1"/>
                          </a:cxn>
                          <a:cxn ang="0">
                            <a:pos x="connsiteX2" y="connsiteY2"/>
                          </a:cxn>
                        </a:cxnLst>
                        <a:rect l="l" t="t" r="r" b="b"/>
                        <a:pathLst>
                          <a:path w="742950" h="304800">
                            <a:moveTo>
                              <a:pt x="743331" y="125157"/>
                            </a:moveTo>
                            <a:cubicBezTo>
                              <a:pt x="743331" y="125157"/>
                              <a:pt x="492728" y="-203170"/>
                              <a:pt x="0" y="203738"/>
                            </a:cubicBezTo>
                            <a:cubicBezTo>
                              <a:pt x="95" y="203738"/>
                              <a:pt x="487775" y="487487"/>
                              <a:pt x="743331" y="125157"/>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sp>
                    <p:nvSpPr>
                      <p:cNvPr id="558" name="Freeform: Shape 557">
                        <a:extLst>
                          <a:ext uri="{FF2B5EF4-FFF2-40B4-BE49-F238E27FC236}">
                            <a16:creationId xmlns:a16="http://schemas.microsoft.com/office/drawing/2014/main" id="{A6042A4F-A6F5-404D-B592-BE95810EBB09}"/>
                          </a:ext>
                        </a:extLst>
                      </p:cNvPr>
                      <p:cNvSpPr/>
                      <p:nvPr/>
                    </p:nvSpPr>
                    <p:spPr>
                      <a:xfrm>
                        <a:off x="3711778" y="4694654"/>
                        <a:ext cx="648692" cy="294074"/>
                      </a:xfrm>
                      <a:custGeom>
                        <a:avLst/>
                        <a:gdLst>
                          <a:gd name="connsiteX0" fmla="*/ 723805 w 714375"/>
                          <a:gd name="connsiteY0" fmla="*/ 86639 h 323850"/>
                          <a:gd name="connsiteX1" fmla="*/ 0 w 714375"/>
                          <a:gd name="connsiteY1" fmla="*/ 273138 h 323850"/>
                          <a:gd name="connsiteX2" fmla="*/ 723805 w 714375"/>
                          <a:gd name="connsiteY2" fmla="*/ 86639 h 323850"/>
                        </a:gdLst>
                        <a:ahLst/>
                        <a:cxnLst>
                          <a:cxn ang="0">
                            <a:pos x="connsiteX0" y="connsiteY0"/>
                          </a:cxn>
                          <a:cxn ang="0">
                            <a:pos x="connsiteX1" y="connsiteY1"/>
                          </a:cxn>
                          <a:cxn ang="0">
                            <a:pos x="connsiteX2" y="connsiteY2"/>
                          </a:cxn>
                        </a:cxnLst>
                        <a:rect l="l" t="t" r="r" b="b"/>
                        <a:pathLst>
                          <a:path w="714375" h="323850">
                            <a:moveTo>
                              <a:pt x="723805" y="86639"/>
                            </a:moveTo>
                            <a:cubicBezTo>
                              <a:pt x="723805" y="86639"/>
                              <a:pt x="427863" y="-201492"/>
                              <a:pt x="0" y="273138"/>
                            </a:cubicBezTo>
                            <a:cubicBezTo>
                              <a:pt x="0" y="273234"/>
                              <a:pt x="523970" y="482498"/>
                              <a:pt x="723805" y="86639"/>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chemeClr val="bg2"/>
                          </a:solidFill>
                          <a:effectLst/>
                          <a:uLnTx/>
                          <a:uFillTx/>
                        </a:endParaRPr>
                      </a:p>
                    </p:txBody>
                  </p:sp>
                </p:grpSp>
              </p:grpSp>
            </p:grpSp>
          </p:grpSp>
        </p:grpSp>
      </p:grpSp>
      <p:grpSp>
        <p:nvGrpSpPr>
          <p:cNvPr id="2" name="Group 1">
            <a:extLst>
              <a:ext uri="{FF2B5EF4-FFF2-40B4-BE49-F238E27FC236}">
                <a16:creationId xmlns:a16="http://schemas.microsoft.com/office/drawing/2014/main" id="{BD6C6141-906A-4901-89D6-A724DE01B049}"/>
              </a:ext>
            </a:extLst>
          </p:cNvPr>
          <p:cNvGrpSpPr/>
          <p:nvPr/>
        </p:nvGrpSpPr>
        <p:grpSpPr>
          <a:xfrm>
            <a:off x="3690235" y="709571"/>
            <a:ext cx="81775" cy="3663203"/>
            <a:chOff x="3690235" y="709571"/>
            <a:chExt cx="81775" cy="3663203"/>
          </a:xfrm>
        </p:grpSpPr>
        <p:cxnSp>
          <p:nvCxnSpPr>
            <p:cNvPr id="581" name="Straight Connector 580">
              <a:extLst>
                <a:ext uri="{FF2B5EF4-FFF2-40B4-BE49-F238E27FC236}">
                  <a16:creationId xmlns:a16="http://schemas.microsoft.com/office/drawing/2014/main" id="{207C2EBB-8BE4-4FFC-948A-E8BC831F7414}"/>
                </a:ext>
              </a:extLst>
            </p:cNvPr>
            <p:cNvCxnSpPr>
              <a:cxnSpLocks/>
            </p:cNvCxnSpPr>
            <p:nvPr/>
          </p:nvCxnSpPr>
          <p:spPr>
            <a:xfrm>
              <a:off x="3690235" y="709571"/>
              <a:ext cx="0" cy="3192871"/>
            </a:xfrm>
            <a:prstGeom prst="line">
              <a:avLst/>
            </a:prstGeom>
            <a:ln>
              <a:solidFill>
                <a:schemeClr val="accent3"/>
              </a:solidFill>
              <a:miter lim="800000"/>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C02A4D54-2DC5-4590-9BFD-DF3D85113808}"/>
                </a:ext>
              </a:extLst>
            </p:cNvPr>
            <p:cNvCxnSpPr>
              <a:cxnSpLocks/>
            </p:cNvCxnSpPr>
            <p:nvPr/>
          </p:nvCxnSpPr>
          <p:spPr>
            <a:xfrm>
              <a:off x="3772010" y="1179903"/>
              <a:ext cx="0" cy="3192871"/>
            </a:xfrm>
            <a:prstGeom prst="line">
              <a:avLst/>
            </a:prstGeom>
            <a:ln>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565119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6" name="TextBox 45">
            <a:extLst>
              <a:ext uri="{FF2B5EF4-FFF2-40B4-BE49-F238E27FC236}">
                <a16:creationId xmlns:a16="http://schemas.microsoft.com/office/drawing/2014/main" id="{E18FC56C-238C-4ED6-A6B4-B731516863B1}"/>
              </a:ext>
            </a:extLst>
          </p:cNvPr>
          <p:cNvSpPr txBox="1"/>
          <p:nvPr/>
        </p:nvSpPr>
        <p:spPr>
          <a:xfrm>
            <a:off x="0" y="2372652"/>
            <a:ext cx="9144000" cy="984885"/>
          </a:xfrm>
          <a:prstGeom prst="rect">
            <a:avLst/>
          </a:prstGeom>
          <a:noFill/>
          <a:effectLst>
            <a:outerShdw sx="0" sy="0" rotWithShape="0">
              <a:scrgbClr r="0" g="0" b="0"/>
            </a:outerShdw>
          </a:effectLst>
          <a:extLst>
            <a:ext uri="{E45631CC-5BF2-4c18-A39C-3461C7D3F71A}">
              <a14:hiddenSp3d xmlns="" xmlns:a14="http://schemas.microsoft.com/office/drawing/2010/main"/>
            </a:ext>
          </a:extLst>
        </p:spPr>
        <p:txBody>
          <a:bodyPr wrap="square" lIns="0" tIns="0" rIns="0" bIns="0" rtlCol="0" anchor="ctr">
            <a:spAutoFit/>
          </a:bodyPr>
          <a:lstStyle/>
          <a:p>
            <a:pPr algn="ctr" defTabSz="609585">
              <a:defRPr/>
            </a:pPr>
            <a:r>
              <a:rPr lang="en-US" sz="3200">
                <a:solidFill>
                  <a:schemeClr val="tx2"/>
                </a:solidFill>
                <a:latin typeface="CiscoSansTT ExtraLight"/>
              </a:rPr>
              <a:t>Defending 100% of Fortune 100 </a:t>
            </a:r>
          </a:p>
          <a:p>
            <a:pPr algn="ctr" defTabSz="609585">
              <a:defRPr/>
            </a:pPr>
            <a:r>
              <a:rPr lang="en-US" sz="3200">
                <a:solidFill>
                  <a:schemeClr val="tx2"/>
                </a:solidFill>
                <a:latin typeface="CiscoSansTT ExtraLight"/>
              </a:rPr>
              <a:t>companies every day</a:t>
            </a:r>
          </a:p>
        </p:txBody>
      </p:sp>
      <p:sp>
        <p:nvSpPr>
          <p:cNvPr id="47" name="Freeform 6">
            <a:extLst>
              <a:ext uri="{FF2B5EF4-FFF2-40B4-BE49-F238E27FC236}">
                <a16:creationId xmlns:a16="http://schemas.microsoft.com/office/drawing/2014/main" id="{DA1CC027-FD52-45D6-8232-5B71ACAC17BF}"/>
              </a:ext>
            </a:extLst>
          </p:cNvPr>
          <p:cNvSpPr>
            <a:spLocks noChangeAspect="1" noEditPoints="1"/>
          </p:cNvSpPr>
          <p:nvPr/>
        </p:nvSpPr>
        <p:spPr bwMode="auto">
          <a:xfrm>
            <a:off x="3907941" y="1493732"/>
            <a:ext cx="1328119" cy="70556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E4471"/>
              </a:solidFill>
              <a:effectLst/>
              <a:uLnTx/>
              <a:uFillTx/>
            </a:endParaRPr>
          </a:p>
        </p:txBody>
      </p:sp>
      <p:cxnSp>
        <p:nvCxnSpPr>
          <p:cNvPr id="71" name="Straight Connector 70">
            <a:extLst>
              <a:ext uri="{FF2B5EF4-FFF2-40B4-BE49-F238E27FC236}">
                <a16:creationId xmlns:a16="http://schemas.microsoft.com/office/drawing/2014/main" id="{3ACDD7FF-0B58-481B-8040-6D063D2DBE01}"/>
              </a:ext>
            </a:extLst>
          </p:cNvPr>
          <p:cNvCxnSpPr>
            <a:cxnSpLocks/>
          </p:cNvCxnSpPr>
          <p:nvPr/>
        </p:nvCxnSpPr>
        <p:spPr>
          <a:xfrm flipV="1">
            <a:off x="0" y="4097443"/>
            <a:ext cx="8434388" cy="38100"/>
          </a:xfrm>
          <a:prstGeom prst="line">
            <a:avLst/>
          </a:prstGeom>
          <a:ln w="12700">
            <a:solidFill>
              <a:schemeClr val="bg2"/>
            </a:solidFill>
            <a:tailEnd type="ova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CDB10794-2824-42B5-9636-8B07AA7A7BD7}"/>
              </a:ext>
            </a:extLst>
          </p:cNvPr>
          <p:cNvCxnSpPr>
            <a:cxnSpLocks/>
          </p:cNvCxnSpPr>
          <p:nvPr/>
        </p:nvCxnSpPr>
        <p:spPr>
          <a:xfrm>
            <a:off x="0" y="3998383"/>
            <a:ext cx="17907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E5F3734-D23C-47B4-9A3D-5A4BDA05A32F}"/>
              </a:ext>
            </a:extLst>
          </p:cNvPr>
          <p:cNvCxnSpPr>
            <a:cxnSpLocks/>
          </p:cNvCxnSpPr>
          <p:nvPr/>
        </p:nvCxnSpPr>
        <p:spPr>
          <a:xfrm>
            <a:off x="0" y="4272703"/>
            <a:ext cx="17907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33014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665ABC-DB96-44A9-B23C-3542A82FF71C}"/>
              </a:ext>
            </a:extLst>
          </p:cNvPr>
          <p:cNvSpPr>
            <a:spLocks noGrp="1"/>
          </p:cNvSpPr>
          <p:nvPr>
            <p:ph type="title"/>
          </p:nvPr>
        </p:nvSpPr>
        <p:spPr/>
        <p:txBody>
          <a:bodyPr/>
          <a:lstStyle/>
          <a:p>
            <a:r>
              <a:rPr lang="en-US"/>
              <a:t>There are increasing demands on security teams</a:t>
            </a:r>
          </a:p>
        </p:txBody>
      </p:sp>
      <p:sp>
        <p:nvSpPr>
          <p:cNvPr id="4" name="Rectangle: Rounded Corners 3">
            <a:extLst>
              <a:ext uri="{FF2B5EF4-FFF2-40B4-BE49-F238E27FC236}">
                <a16:creationId xmlns:a16="http://schemas.microsoft.com/office/drawing/2014/main" id="{39DFAFEF-4CE7-4A34-9359-C1EB727D3AC5}"/>
              </a:ext>
            </a:extLst>
          </p:cNvPr>
          <p:cNvSpPr/>
          <p:nvPr/>
        </p:nvSpPr>
        <p:spPr>
          <a:xfrm>
            <a:off x="4155275" y="2496435"/>
            <a:ext cx="273850" cy="246144"/>
          </a:xfrm>
          <a:prstGeom prst="roundRect">
            <a:avLst>
              <a:gd name="adj" fmla="val 15982"/>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 name="Isosceles Triangle 49">
            <a:extLst>
              <a:ext uri="{FF2B5EF4-FFF2-40B4-BE49-F238E27FC236}">
                <a16:creationId xmlns:a16="http://schemas.microsoft.com/office/drawing/2014/main" id="{9BA682FB-6B6D-4362-B653-5AD67E85AAEE}"/>
              </a:ext>
            </a:extLst>
          </p:cNvPr>
          <p:cNvSpPr/>
          <p:nvPr/>
        </p:nvSpPr>
        <p:spPr>
          <a:xfrm rot="5400000">
            <a:off x="4252544" y="3629774"/>
            <a:ext cx="433586" cy="37816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2"/>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cxnSp>
        <p:nvCxnSpPr>
          <p:cNvPr id="27" name="Straight Connector 26">
            <a:extLst>
              <a:ext uri="{FF2B5EF4-FFF2-40B4-BE49-F238E27FC236}">
                <a16:creationId xmlns:a16="http://schemas.microsoft.com/office/drawing/2014/main" id="{943072D0-C09B-428B-A6F6-6803D52F9929}"/>
              </a:ext>
            </a:extLst>
          </p:cNvPr>
          <p:cNvCxnSpPr>
            <a:cxnSpLocks/>
          </p:cNvCxnSpPr>
          <p:nvPr/>
        </p:nvCxnSpPr>
        <p:spPr>
          <a:xfrm>
            <a:off x="4344582" y="2329822"/>
            <a:ext cx="0" cy="17955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Isosceles Triangle 49">
            <a:extLst>
              <a:ext uri="{FF2B5EF4-FFF2-40B4-BE49-F238E27FC236}">
                <a16:creationId xmlns:a16="http://schemas.microsoft.com/office/drawing/2014/main" id="{7C87B556-76FD-4750-A343-36B3CAEE323F}"/>
              </a:ext>
            </a:extLst>
          </p:cNvPr>
          <p:cNvSpPr/>
          <p:nvPr/>
        </p:nvSpPr>
        <p:spPr>
          <a:xfrm rot="5400000">
            <a:off x="4156923" y="4053186"/>
            <a:ext cx="281469" cy="24549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a:solidFill>
              <a:schemeClr val="tx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cxnSp>
        <p:nvCxnSpPr>
          <p:cNvPr id="608" name="Straight Connector 607">
            <a:extLst>
              <a:ext uri="{FF2B5EF4-FFF2-40B4-BE49-F238E27FC236}">
                <a16:creationId xmlns:a16="http://schemas.microsoft.com/office/drawing/2014/main" id="{A626F2AB-4831-444F-B222-1636DC43806F}"/>
              </a:ext>
            </a:extLst>
          </p:cNvPr>
          <p:cNvCxnSpPr>
            <a:cxnSpLocks/>
          </p:cNvCxnSpPr>
          <p:nvPr/>
        </p:nvCxnSpPr>
        <p:spPr>
          <a:xfrm>
            <a:off x="4288363" y="1885301"/>
            <a:ext cx="0" cy="122612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1DF756C1-7C45-4E4E-9895-82AE986838FB}"/>
              </a:ext>
            </a:extLst>
          </p:cNvPr>
          <p:cNvSpPr/>
          <p:nvPr/>
        </p:nvSpPr>
        <p:spPr>
          <a:xfrm>
            <a:off x="5058283" y="2391133"/>
            <a:ext cx="1477230" cy="553998"/>
          </a:xfrm>
          <a:prstGeom prst="rect">
            <a:avLst/>
          </a:prstGeom>
          <a:noFill/>
          <a:ln w="25400" cap="flat" cmpd="sng" algn="ctr">
            <a:noFill/>
            <a:prstDash val="solid"/>
          </a:ln>
          <a:effectLst/>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1E4471"/>
                </a:solidFill>
                <a:effectLst/>
                <a:uLnTx/>
                <a:uFillTx/>
                <a:latin typeface="CiscoSansTT ExtraLight"/>
                <a:ea typeface="ＭＳ Ｐゴシック" charset="0"/>
                <a:cs typeface="+mn-cs"/>
              </a:rPr>
              <a:t>Too little</a:t>
            </a:r>
            <a:br>
              <a:rPr kumimoji="0" lang="en-US" sz="1800" b="0" i="0" u="none" strike="noStrike" kern="0" cap="none" spc="0" normalizeH="0" baseline="0" noProof="0">
                <a:ln>
                  <a:noFill/>
                </a:ln>
                <a:solidFill>
                  <a:srgbClr val="1E4471"/>
                </a:solidFill>
                <a:effectLst/>
                <a:uLnTx/>
                <a:uFillTx/>
                <a:latin typeface="CiscoSansTT ExtraLight"/>
                <a:ea typeface="ＭＳ Ｐゴシック" charset="0"/>
                <a:cs typeface="+mn-cs"/>
              </a:rPr>
            </a:br>
            <a:r>
              <a:rPr kumimoji="0" lang="en-US" sz="1800" b="0" i="0" u="none" strike="noStrike" kern="0" cap="none" spc="0" normalizeH="0" baseline="0" noProof="0">
                <a:ln>
                  <a:noFill/>
                </a:ln>
                <a:solidFill>
                  <a:srgbClr val="1E4471"/>
                </a:solidFill>
                <a:effectLst/>
                <a:uLnTx/>
                <a:uFillTx/>
                <a:latin typeface="CiscoSansTT ExtraLight"/>
                <a:ea typeface="ＭＳ Ｐゴシック" charset="0"/>
                <a:cs typeface="+mn-cs"/>
              </a:rPr>
              <a:t>visibility</a:t>
            </a:r>
          </a:p>
        </p:txBody>
      </p:sp>
      <p:sp>
        <p:nvSpPr>
          <p:cNvPr id="39" name="Rectangle 38">
            <a:extLst>
              <a:ext uri="{FF2B5EF4-FFF2-40B4-BE49-F238E27FC236}">
                <a16:creationId xmlns:a16="http://schemas.microsoft.com/office/drawing/2014/main" id="{21FF0D0D-E899-4509-9C83-1DEE5C361619}"/>
              </a:ext>
            </a:extLst>
          </p:cNvPr>
          <p:cNvSpPr/>
          <p:nvPr/>
        </p:nvSpPr>
        <p:spPr>
          <a:xfrm>
            <a:off x="7017907" y="4093469"/>
            <a:ext cx="1592694" cy="553998"/>
          </a:xfrm>
          <a:prstGeom prst="rect">
            <a:avLst/>
          </a:prstGeom>
          <a:noFill/>
          <a:ln w="25400" cap="flat" cmpd="sng" algn="ctr">
            <a:noFill/>
            <a:prstDash val="solid"/>
          </a:ln>
          <a:effectLst/>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1E4471"/>
                </a:solidFill>
                <a:effectLst/>
                <a:uLnTx/>
                <a:uFillTx/>
                <a:latin typeface="CiscoSansTT ExtraLight"/>
                <a:ea typeface="ＭＳ Ｐゴシック" charset="0"/>
                <a:cs typeface="+mn-cs"/>
              </a:rPr>
              <a:t>Too much</a:t>
            </a:r>
            <a:br>
              <a:rPr kumimoji="0" lang="en-US" sz="1800" b="0" i="0" u="none" strike="noStrike" kern="0" cap="none" spc="0" normalizeH="0" baseline="0" noProof="0">
                <a:ln>
                  <a:noFill/>
                </a:ln>
                <a:solidFill>
                  <a:srgbClr val="1E4471"/>
                </a:solidFill>
                <a:effectLst/>
                <a:uLnTx/>
                <a:uFillTx/>
                <a:latin typeface="CiscoSansTT ExtraLight"/>
                <a:ea typeface="ＭＳ Ｐゴシック" charset="0"/>
                <a:cs typeface="+mn-cs"/>
              </a:rPr>
            </a:br>
            <a:r>
              <a:rPr kumimoji="0" lang="en-US" sz="1800" b="0" i="0" u="none" strike="noStrike" kern="0" cap="none" spc="0" normalizeH="0" baseline="0" noProof="0">
                <a:ln>
                  <a:noFill/>
                </a:ln>
                <a:solidFill>
                  <a:srgbClr val="1E4471"/>
                </a:solidFill>
                <a:effectLst/>
                <a:uLnTx/>
                <a:uFillTx/>
                <a:latin typeface="CiscoSansTT ExtraLight"/>
                <a:ea typeface="ＭＳ Ｐゴシック" charset="0"/>
                <a:cs typeface="+mn-cs"/>
              </a:rPr>
              <a:t>exposure</a:t>
            </a:r>
          </a:p>
        </p:txBody>
      </p:sp>
      <p:sp>
        <p:nvSpPr>
          <p:cNvPr id="46" name="Rectangle 45">
            <a:extLst>
              <a:ext uri="{FF2B5EF4-FFF2-40B4-BE49-F238E27FC236}">
                <a16:creationId xmlns:a16="http://schemas.microsoft.com/office/drawing/2014/main" id="{F63864AD-7FD8-4CC9-B77D-53E8B4DA4899}"/>
              </a:ext>
            </a:extLst>
          </p:cNvPr>
          <p:cNvSpPr/>
          <p:nvPr/>
        </p:nvSpPr>
        <p:spPr>
          <a:xfrm>
            <a:off x="7017907" y="2391133"/>
            <a:ext cx="1686675" cy="553998"/>
          </a:xfrm>
          <a:prstGeom prst="rect">
            <a:avLst/>
          </a:prstGeom>
          <a:noFill/>
          <a:ln w="25400" cap="flat" cmpd="sng" algn="ctr">
            <a:noFill/>
            <a:prstDash val="solid"/>
          </a:ln>
          <a:effectLst/>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1E4471"/>
                </a:solidFill>
                <a:effectLst/>
                <a:uLnTx/>
                <a:uFillTx/>
                <a:latin typeface="CiscoSansTT ExtraLight"/>
                <a:ea typeface="ＭＳ Ｐゴシック" charset="0"/>
                <a:cs typeface="+mn-cs"/>
              </a:rPr>
              <a:t>Too few </a:t>
            </a:r>
            <a:br>
              <a:rPr kumimoji="0" lang="en-US" sz="1800" b="0" i="0" u="none" strike="noStrike" kern="0" cap="none" spc="0" normalizeH="0" baseline="0" noProof="0">
                <a:ln>
                  <a:noFill/>
                </a:ln>
                <a:solidFill>
                  <a:srgbClr val="1E4471"/>
                </a:solidFill>
                <a:effectLst/>
                <a:uLnTx/>
                <a:uFillTx/>
                <a:latin typeface="CiscoSansTT ExtraLight"/>
                <a:ea typeface="ＭＳ Ｐゴシック" charset="0"/>
                <a:cs typeface="+mn-cs"/>
              </a:rPr>
            </a:br>
            <a:r>
              <a:rPr kumimoji="0" lang="en-US" sz="1800" b="0" i="0" u="none" strike="noStrike" kern="0" cap="none" spc="0" normalizeH="0" baseline="0" noProof="0">
                <a:ln>
                  <a:noFill/>
                </a:ln>
                <a:solidFill>
                  <a:srgbClr val="1E4471"/>
                </a:solidFill>
                <a:effectLst/>
                <a:uLnTx/>
                <a:uFillTx/>
                <a:latin typeface="CiscoSansTT ExtraLight"/>
                <a:ea typeface="ＭＳ Ｐゴシック" charset="0"/>
                <a:cs typeface="+mn-cs"/>
              </a:rPr>
              <a:t>experts</a:t>
            </a:r>
          </a:p>
        </p:txBody>
      </p:sp>
      <p:sp>
        <p:nvSpPr>
          <p:cNvPr id="47" name="Rectangle 46">
            <a:extLst>
              <a:ext uri="{FF2B5EF4-FFF2-40B4-BE49-F238E27FC236}">
                <a16:creationId xmlns:a16="http://schemas.microsoft.com/office/drawing/2014/main" id="{334F424B-04FA-49DC-B67B-5E4430C74EB1}"/>
              </a:ext>
            </a:extLst>
          </p:cNvPr>
          <p:cNvSpPr/>
          <p:nvPr/>
        </p:nvSpPr>
        <p:spPr>
          <a:xfrm>
            <a:off x="5058283" y="4093469"/>
            <a:ext cx="1477230" cy="553998"/>
          </a:xfrm>
          <a:prstGeom prst="rect">
            <a:avLst/>
          </a:prstGeom>
          <a:noFill/>
          <a:ln w="25400" cap="flat" cmpd="sng" algn="ctr">
            <a:noFill/>
            <a:prstDash val="solid"/>
          </a:ln>
          <a:effectLst/>
        </p:spPr>
        <p:txBody>
          <a:bodyPr wrap="square" lIns="0" tIns="0" rIns="0" bIns="0" rtlCol="0" anchor="ctr">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1E4471"/>
                </a:solidFill>
                <a:effectLst/>
                <a:uLnTx/>
                <a:uFillTx/>
                <a:latin typeface="CiscoSansTT ExtraLight"/>
                <a:ea typeface="ＭＳ Ｐゴシック" charset="0"/>
                <a:cs typeface="+mn-cs"/>
              </a:rPr>
              <a:t>Too little</a:t>
            </a:r>
            <a:br>
              <a:rPr kumimoji="0" lang="en-US" sz="1800" b="0" i="0" u="none" strike="noStrike" kern="0" cap="none" spc="0" normalizeH="0" baseline="0" noProof="0">
                <a:ln>
                  <a:noFill/>
                </a:ln>
                <a:solidFill>
                  <a:srgbClr val="1E4471"/>
                </a:solidFill>
                <a:effectLst/>
                <a:uLnTx/>
                <a:uFillTx/>
                <a:latin typeface="CiscoSansTT ExtraLight"/>
                <a:ea typeface="ＭＳ Ｐゴシック" charset="0"/>
                <a:cs typeface="+mn-cs"/>
              </a:rPr>
            </a:br>
            <a:r>
              <a:rPr kumimoji="0" lang="en-US" sz="1800" b="0" i="0" u="none" strike="noStrike" kern="0" cap="none" spc="0" normalizeH="0" baseline="0" noProof="0">
                <a:ln>
                  <a:noFill/>
                </a:ln>
                <a:solidFill>
                  <a:srgbClr val="1E4471"/>
                </a:solidFill>
                <a:effectLst/>
                <a:uLnTx/>
                <a:uFillTx/>
                <a:latin typeface="CiscoSansTT ExtraLight"/>
                <a:ea typeface="ＭＳ Ｐゴシック" charset="0"/>
                <a:cs typeface="+mn-cs"/>
              </a:rPr>
              <a:t>integration</a:t>
            </a:r>
          </a:p>
        </p:txBody>
      </p:sp>
      <p:grpSp>
        <p:nvGrpSpPr>
          <p:cNvPr id="60" name="Group 59">
            <a:extLst>
              <a:ext uri="{FF2B5EF4-FFF2-40B4-BE49-F238E27FC236}">
                <a16:creationId xmlns:a16="http://schemas.microsoft.com/office/drawing/2014/main" id="{2EA1402C-2EB6-43BB-A9EB-591FC9576C59}"/>
              </a:ext>
            </a:extLst>
          </p:cNvPr>
          <p:cNvGrpSpPr/>
          <p:nvPr/>
        </p:nvGrpSpPr>
        <p:grpSpPr>
          <a:xfrm>
            <a:off x="5151955" y="1660166"/>
            <a:ext cx="1309952" cy="737521"/>
            <a:chOff x="5151955" y="1356609"/>
            <a:chExt cx="1309952" cy="737521"/>
          </a:xfrm>
        </p:grpSpPr>
        <p:sp>
          <p:nvSpPr>
            <p:cNvPr id="163" name="Oval 162">
              <a:extLst>
                <a:ext uri="{FF2B5EF4-FFF2-40B4-BE49-F238E27FC236}">
                  <a16:creationId xmlns:a16="http://schemas.microsoft.com/office/drawing/2014/main" id="{EDC76D9D-A916-4D3C-B594-EB02FF2B8810}"/>
                </a:ext>
              </a:extLst>
            </p:cNvPr>
            <p:cNvSpPr/>
            <p:nvPr/>
          </p:nvSpPr>
          <p:spPr>
            <a:xfrm>
              <a:off x="6234315" y="1729613"/>
              <a:ext cx="85126" cy="85126"/>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a:extLst>
                <a:ext uri="{FF2B5EF4-FFF2-40B4-BE49-F238E27FC236}">
                  <a16:creationId xmlns:a16="http://schemas.microsoft.com/office/drawing/2014/main" id="{03FFAFE0-E0BD-43BD-BD01-620D9594883A}"/>
                </a:ext>
              </a:extLst>
            </p:cNvPr>
            <p:cNvSpPr/>
            <p:nvPr/>
          </p:nvSpPr>
          <p:spPr>
            <a:xfrm>
              <a:off x="6234315" y="1896189"/>
              <a:ext cx="85126" cy="85126"/>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18C7257B-72B1-47C9-85A5-E036DB4656F1}"/>
                </a:ext>
              </a:extLst>
            </p:cNvPr>
            <p:cNvSpPr/>
            <p:nvPr/>
          </p:nvSpPr>
          <p:spPr>
            <a:xfrm>
              <a:off x="5151955" y="1504945"/>
              <a:ext cx="85126" cy="85126"/>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a:extLst>
                <a:ext uri="{FF2B5EF4-FFF2-40B4-BE49-F238E27FC236}">
                  <a16:creationId xmlns:a16="http://schemas.microsoft.com/office/drawing/2014/main" id="{4FE4756C-B082-4655-A916-780A0E08B498}"/>
                </a:ext>
              </a:extLst>
            </p:cNvPr>
            <p:cNvSpPr/>
            <p:nvPr/>
          </p:nvSpPr>
          <p:spPr>
            <a:xfrm>
              <a:off x="5290768" y="1504945"/>
              <a:ext cx="85126" cy="85126"/>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a:extLst>
                <a:ext uri="{FF2B5EF4-FFF2-40B4-BE49-F238E27FC236}">
                  <a16:creationId xmlns:a16="http://schemas.microsoft.com/office/drawing/2014/main" id="{6FD619A8-0098-4233-9EE3-BFFB600B0B18}"/>
                </a:ext>
              </a:extLst>
            </p:cNvPr>
            <p:cNvSpPr/>
            <p:nvPr/>
          </p:nvSpPr>
          <p:spPr>
            <a:xfrm>
              <a:off x="5429581" y="1504945"/>
              <a:ext cx="85126" cy="85126"/>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a:extLst>
                <a:ext uri="{FF2B5EF4-FFF2-40B4-BE49-F238E27FC236}">
                  <a16:creationId xmlns:a16="http://schemas.microsoft.com/office/drawing/2014/main" id="{1696CC45-F2FF-4E49-B0C3-92CFD0B60FF2}"/>
                </a:ext>
              </a:extLst>
            </p:cNvPr>
            <p:cNvSpPr/>
            <p:nvPr/>
          </p:nvSpPr>
          <p:spPr>
            <a:xfrm>
              <a:off x="5568394" y="1504945"/>
              <a:ext cx="85126" cy="85126"/>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Oval 156">
              <a:extLst>
                <a:ext uri="{FF2B5EF4-FFF2-40B4-BE49-F238E27FC236}">
                  <a16:creationId xmlns:a16="http://schemas.microsoft.com/office/drawing/2014/main" id="{2FF5B264-B815-4A54-A200-5576462AB83D}"/>
                </a:ext>
              </a:extLst>
            </p:cNvPr>
            <p:cNvSpPr/>
            <p:nvPr/>
          </p:nvSpPr>
          <p:spPr>
            <a:xfrm>
              <a:off x="5707207" y="1504945"/>
              <a:ext cx="85126" cy="85126"/>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a:extLst>
                <a:ext uri="{FF2B5EF4-FFF2-40B4-BE49-F238E27FC236}">
                  <a16:creationId xmlns:a16="http://schemas.microsoft.com/office/drawing/2014/main" id="{0C16DD2D-9649-451A-AE08-91D9B10E2064}"/>
                </a:ext>
              </a:extLst>
            </p:cNvPr>
            <p:cNvSpPr/>
            <p:nvPr/>
          </p:nvSpPr>
          <p:spPr>
            <a:xfrm>
              <a:off x="5151955" y="1671521"/>
              <a:ext cx="85126" cy="85126"/>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a16="http://schemas.microsoft.com/office/drawing/2014/main" id="{E5EAFB43-64DF-4A9A-9CF2-4296D7890945}"/>
                </a:ext>
              </a:extLst>
            </p:cNvPr>
            <p:cNvSpPr/>
            <p:nvPr/>
          </p:nvSpPr>
          <p:spPr>
            <a:xfrm>
              <a:off x="5290768" y="1671521"/>
              <a:ext cx="85126" cy="85126"/>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Oval 159">
              <a:extLst>
                <a:ext uri="{FF2B5EF4-FFF2-40B4-BE49-F238E27FC236}">
                  <a16:creationId xmlns:a16="http://schemas.microsoft.com/office/drawing/2014/main" id="{4998FD40-30EA-4FFC-8CFE-724701BCA3FE}"/>
                </a:ext>
              </a:extLst>
            </p:cNvPr>
            <p:cNvSpPr/>
            <p:nvPr/>
          </p:nvSpPr>
          <p:spPr>
            <a:xfrm>
              <a:off x="5429581" y="1671521"/>
              <a:ext cx="85126" cy="85126"/>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Oval 160">
              <a:extLst>
                <a:ext uri="{FF2B5EF4-FFF2-40B4-BE49-F238E27FC236}">
                  <a16:creationId xmlns:a16="http://schemas.microsoft.com/office/drawing/2014/main" id="{5E615DAF-759A-4260-B676-79E9CDF302D4}"/>
                </a:ext>
              </a:extLst>
            </p:cNvPr>
            <p:cNvSpPr/>
            <p:nvPr/>
          </p:nvSpPr>
          <p:spPr>
            <a:xfrm>
              <a:off x="5568394" y="1671521"/>
              <a:ext cx="85126" cy="85126"/>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a:extLst>
                <a:ext uri="{FF2B5EF4-FFF2-40B4-BE49-F238E27FC236}">
                  <a16:creationId xmlns:a16="http://schemas.microsoft.com/office/drawing/2014/main" id="{2D17BA35-8211-4E32-A309-9E38BBFF9395}"/>
                </a:ext>
              </a:extLst>
            </p:cNvPr>
            <p:cNvSpPr/>
            <p:nvPr/>
          </p:nvSpPr>
          <p:spPr>
            <a:xfrm>
              <a:off x="5707207" y="1671521"/>
              <a:ext cx="85126" cy="85126"/>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46119EE3-02BF-4A84-9ACE-31FBA872B6CE}"/>
                </a:ext>
              </a:extLst>
            </p:cNvPr>
            <p:cNvSpPr/>
            <p:nvPr/>
          </p:nvSpPr>
          <p:spPr>
            <a:xfrm>
              <a:off x="5495657" y="1386448"/>
              <a:ext cx="707682" cy="707682"/>
            </a:xfrm>
            <a:prstGeom prst="ellipse">
              <a:avLst/>
            </a:prstGeom>
            <a:noFill/>
            <a:ln w="25400" cap="flat" cmpd="sng" algn="ctr">
              <a:solidFill>
                <a:schemeClr val="accent5"/>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pic>
          <p:nvPicPr>
            <p:cNvPr id="153" name="Picture 152" descr="A picture containing light&#10;&#10;Description automatically generated">
              <a:extLst>
                <a:ext uri="{FF2B5EF4-FFF2-40B4-BE49-F238E27FC236}">
                  <a16:creationId xmlns:a16="http://schemas.microsoft.com/office/drawing/2014/main" id="{5092B2E1-36F0-4007-9FFF-81ECC9443768}"/>
                </a:ext>
              </a:extLst>
            </p:cNvPr>
            <p:cNvPicPr>
              <a:picLocks noChangeAspect="1"/>
            </p:cNvPicPr>
            <p:nvPr/>
          </p:nvPicPr>
          <p:blipFill rotWithShape="1">
            <a:blip r:embed="rId3" cstate="screen">
              <a:grayscl/>
              <a:extLst>
                <a:ext uri="{28A0092B-C50C-407E-A947-70E740481C1C}">
                  <a14:useLocalDpi xmlns:a14="http://schemas.microsoft.com/office/drawing/2010/main"/>
                </a:ext>
              </a:extLst>
            </a:blip>
            <a:srcRect/>
            <a:stretch/>
          </p:blipFill>
          <p:spPr>
            <a:xfrm rot="20933630" flipH="1">
              <a:off x="5255861" y="1441049"/>
              <a:ext cx="1118836" cy="542432"/>
            </a:xfrm>
            <a:prstGeom prst="rect">
              <a:avLst/>
            </a:prstGeom>
          </p:spPr>
        </p:pic>
        <p:sp>
          <p:nvSpPr>
            <p:cNvPr id="37" name="Oval 36">
              <a:extLst>
                <a:ext uri="{FF2B5EF4-FFF2-40B4-BE49-F238E27FC236}">
                  <a16:creationId xmlns:a16="http://schemas.microsoft.com/office/drawing/2014/main" id="{E746AA34-4FF1-4971-8F28-39E2D837F10B}"/>
                </a:ext>
              </a:extLst>
            </p:cNvPr>
            <p:cNvSpPr/>
            <p:nvPr/>
          </p:nvSpPr>
          <p:spPr>
            <a:xfrm>
              <a:off x="5434582" y="1356609"/>
              <a:ext cx="637782" cy="637782"/>
            </a:xfrm>
            <a:prstGeom prst="ellipse">
              <a:avLst/>
            </a:prstGeom>
            <a:solidFill>
              <a:schemeClr val="accent6">
                <a:alpha val="60000"/>
              </a:scheme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E4471"/>
                </a:solidFill>
                <a:effectLst/>
                <a:uLnTx/>
                <a:uFillTx/>
                <a:latin typeface="CiscoSansTT ExtraLight"/>
                <a:ea typeface="ＭＳ Ｐゴシック" charset="0"/>
                <a:cs typeface="+mn-cs"/>
              </a:endParaRPr>
            </a:p>
          </p:txBody>
        </p:sp>
        <p:sp>
          <p:nvSpPr>
            <p:cNvPr id="165" name="Oval 164">
              <a:extLst>
                <a:ext uri="{FF2B5EF4-FFF2-40B4-BE49-F238E27FC236}">
                  <a16:creationId xmlns:a16="http://schemas.microsoft.com/office/drawing/2014/main" id="{40992C76-F0FD-4C04-9B53-2790BAC5F597}"/>
                </a:ext>
              </a:extLst>
            </p:cNvPr>
            <p:cNvSpPr/>
            <p:nvPr/>
          </p:nvSpPr>
          <p:spPr>
            <a:xfrm>
              <a:off x="6376781" y="1759480"/>
              <a:ext cx="85126" cy="85126"/>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9" name="Group 58">
            <a:extLst>
              <a:ext uri="{FF2B5EF4-FFF2-40B4-BE49-F238E27FC236}">
                <a16:creationId xmlns:a16="http://schemas.microsoft.com/office/drawing/2014/main" id="{B5C2D44F-9647-40D5-B926-911BEFABD359}"/>
              </a:ext>
            </a:extLst>
          </p:cNvPr>
          <p:cNvGrpSpPr/>
          <p:nvPr/>
        </p:nvGrpSpPr>
        <p:grpSpPr>
          <a:xfrm>
            <a:off x="7404022" y="1556427"/>
            <a:ext cx="854102" cy="818865"/>
            <a:chOff x="7404022" y="1252870"/>
            <a:chExt cx="854102" cy="818865"/>
          </a:xfrm>
        </p:grpSpPr>
        <p:sp>
          <p:nvSpPr>
            <p:cNvPr id="263" name="Isosceles Triangle 49">
              <a:extLst>
                <a:ext uri="{FF2B5EF4-FFF2-40B4-BE49-F238E27FC236}">
                  <a16:creationId xmlns:a16="http://schemas.microsoft.com/office/drawing/2014/main" id="{0F1D5A47-E96F-4558-A757-A5B2BC416081}"/>
                </a:ext>
              </a:extLst>
            </p:cNvPr>
            <p:cNvSpPr/>
            <p:nvPr/>
          </p:nvSpPr>
          <p:spPr>
            <a:xfrm rot="10800000">
              <a:off x="7410609" y="1700966"/>
              <a:ext cx="273850" cy="23884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5">
                <a:alpha val="6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81" name="Freeform: Shape 180">
              <a:extLst>
                <a:ext uri="{FF2B5EF4-FFF2-40B4-BE49-F238E27FC236}">
                  <a16:creationId xmlns:a16="http://schemas.microsoft.com/office/drawing/2014/main" id="{824F2996-934C-47E5-A0CA-98A9C60B9EA2}"/>
                </a:ext>
              </a:extLst>
            </p:cNvPr>
            <p:cNvSpPr/>
            <p:nvPr/>
          </p:nvSpPr>
          <p:spPr>
            <a:xfrm rot="16200000">
              <a:off x="7421427" y="1797541"/>
              <a:ext cx="256789" cy="291600"/>
            </a:xfrm>
            <a:custGeom>
              <a:avLst/>
              <a:gdLst>
                <a:gd name="connsiteX0" fmla="*/ 354049 w 385232"/>
                <a:gd name="connsiteY0" fmla="*/ 437454 h 437454"/>
                <a:gd name="connsiteX1" fmla="*/ 339080 w 385232"/>
                <a:gd name="connsiteY1" fmla="*/ 433569 h 437454"/>
                <a:gd name="connsiteX2" fmla="*/ 16225 w 385232"/>
                <a:gd name="connsiteY2" fmla="*/ 256940 h 437454"/>
                <a:gd name="connsiteX3" fmla="*/ 13 w 385232"/>
                <a:gd name="connsiteY3" fmla="*/ 230471 h 437454"/>
                <a:gd name="connsiteX4" fmla="*/ 14723 w 385232"/>
                <a:gd name="connsiteY4" fmla="*/ 203122 h 437454"/>
                <a:gd name="connsiteX5" fmla="*/ 334055 w 385232"/>
                <a:gd name="connsiteY5" fmla="*/ 4737 h 437454"/>
                <a:gd name="connsiteX6" fmla="*/ 365496 w 385232"/>
                <a:gd name="connsiteY6" fmla="*/ 3908 h 437454"/>
                <a:gd name="connsiteX7" fmla="*/ 381657 w 385232"/>
                <a:gd name="connsiteY7" fmla="*/ 30895 h 437454"/>
                <a:gd name="connsiteX8" fmla="*/ 385231 w 385232"/>
                <a:gd name="connsiteY8" fmla="*/ 405961 h 437454"/>
                <a:gd name="connsiteX9" fmla="*/ 370106 w 385232"/>
                <a:gd name="connsiteY9" fmla="*/ 433000 h 437454"/>
                <a:gd name="connsiteX10" fmla="*/ 354049 w 385232"/>
                <a:gd name="connsiteY10" fmla="*/ 437454 h 437454"/>
                <a:gd name="connsiteX11" fmla="*/ 350475 w 385232"/>
                <a:gd name="connsiteY11" fmla="*/ 15563 h 437454"/>
                <a:gd name="connsiteX12" fmla="*/ 342239 w 385232"/>
                <a:gd name="connsiteY12" fmla="*/ 17945 h 437454"/>
                <a:gd name="connsiteX13" fmla="*/ 22907 w 385232"/>
                <a:gd name="connsiteY13" fmla="*/ 216330 h 437454"/>
                <a:gd name="connsiteX14" fmla="*/ 15552 w 385232"/>
                <a:gd name="connsiteY14" fmla="*/ 230057 h 437454"/>
                <a:gd name="connsiteX15" fmla="*/ 23684 w 385232"/>
                <a:gd name="connsiteY15" fmla="*/ 243317 h 437454"/>
                <a:gd name="connsiteX16" fmla="*/ 346538 w 385232"/>
                <a:gd name="connsiteY16" fmla="*/ 419947 h 437454"/>
                <a:gd name="connsiteX17" fmla="*/ 362078 w 385232"/>
                <a:gd name="connsiteY17" fmla="*/ 419636 h 437454"/>
                <a:gd name="connsiteX18" fmla="*/ 369692 w 385232"/>
                <a:gd name="connsiteY18" fmla="*/ 406065 h 437454"/>
                <a:gd name="connsiteX19" fmla="*/ 366118 w 385232"/>
                <a:gd name="connsiteY19" fmla="*/ 30998 h 437454"/>
                <a:gd name="connsiteX20" fmla="*/ 358037 w 385232"/>
                <a:gd name="connsiteY20" fmla="*/ 17479 h 437454"/>
                <a:gd name="connsiteX21" fmla="*/ 350475 w 385232"/>
                <a:gd name="connsiteY21" fmla="*/ 15563 h 437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5232" h="437454">
                  <a:moveTo>
                    <a:pt x="354049" y="437454"/>
                  </a:moveTo>
                  <a:cubicBezTo>
                    <a:pt x="348921" y="437454"/>
                    <a:pt x="343793" y="436159"/>
                    <a:pt x="339080" y="433569"/>
                  </a:cubicBezTo>
                  <a:lnTo>
                    <a:pt x="16225" y="256940"/>
                  </a:lnTo>
                  <a:cubicBezTo>
                    <a:pt x="6384" y="251553"/>
                    <a:pt x="323" y="241659"/>
                    <a:pt x="13" y="230471"/>
                  </a:cubicBezTo>
                  <a:cubicBezTo>
                    <a:pt x="-298" y="219283"/>
                    <a:pt x="5192" y="209079"/>
                    <a:pt x="14723" y="203122"/>
                  </a:cubicBezTo>
                  <a:lnTo>
                    <a:pt x="334055" y="4737"/>
                  </a:lnTo>
                  <a:cubicBezTo>
                    <a:pt x="343741" y="-1271"/>
                    <a:pt x="355499" y="-1582"/>
                    <a:pt x="365496" y="3908"/>
                  </a:cubicBezTo>
                  <a:cubicBezTo>
                    <a:pt x="375493" y="9399"/>
                    <a:pt x="381554" y="19499"/>
                    <a:pt x="381657" y="30895"/>
                  </a:cubicBezTo>
                  <a:lnTo>
                    <a:pt x="385231" y="405961"/>
                  </a:lnTo>
                  <a:cubicBezTo>
                    <a:pt x="385335" y="417150"/>
                    <a:pt x="379689" y="427250"/>
                    <a:pt x="370106" y="433000"/>
                  </a:cubicBezTo>
                  <a:cubicBezTo>
                    <a:pt x="365082" y="435952"/>
                    <a:pt x="359540" y="437454"/>
                    <a:pt x="354049" y="437454"/>
                  </a:cubicBezTo>
                  <a:close/>
                  <a:moveTo>
                    <a:pt x="350475" y="15563"/>
                  </a:moveTo>
                  <a:cubicBezTo>
                    <a:pt x="347626" y="15563"/>
                    <a:pt x="344777" y="16340"/>
                    <a:pt x="342239" y="17945"/>
                  </a:cubicBezTo>
                  <a:lnTo>
                    <a:pt x="22907" y="216330"/>
                  </a:lnTo>
                  <a:cubicBezTo>
                    <a:pt x="18142" y="219283"/>
                    <a:pt x="15396" y="224411"/>
                    <a:pt x="15552" y="230057"/>
                  </a:cubicBezTo>
                  <a:cubicBezTo>
                    <a:pt x="15707" y="235651"/>
                    <a:pt x="18763" y="240623"/>
                    <a:pt x="23684" y="243317"/>
                  </a:cubicBezTo>
                  <a:lnTo>
                    <a:pt x="346538" y="419947"/>
                  </a:lnTo>
                  <a:cubicBezTo>
                    <a:pt x="351459" y="422640"/>
                    <a:pt x="357260" y="422537"/>
                    <a:pt x="362078" y="419636"/>
                  </a:cubicBezTo>
                  <a:cubicBezTo>
                    <a:pt x="366895" y="416735"/>
                    <a:pt x="369744" y="411711"/>
                    <a:pt x="369692" y="406065"/>
                  </a:cubicBezTo>
                  <a:lnTo>
                    <a:pt x="366118" y="30998"/>
                  </a:lnTo>
                  <a:cubicBezTo>
                    <a:pt x="366066" y="25301"/>
                    <a:pt x="363062" y="20225"/>
                    <a:pt x="358037" y="17479"/>
                  </a:cubicBezTo>
                  <a:cubicBezTo>
                    <a:pt x="355603" y="16184"/>
                    <a:pt x="353065" y="15563"/>
                    <a:pt x="350475" y="15563"/>
                  </a:cubicBezTo>
                  <a:close/>
                </a:path>
              </a:pathLst>
            </a:custGeom>
            <a:solidFill>
              <a:schemeClr val="accent5"/>
            </a:solidFill>
            <a:ln w="5175" cap="flat">
              <a:solidFill>
                <a:schemeClr val="accent6"/>
              </a:solidFill>
              <a:prstDash val="solid"/>
              <a:miter/>
            </a:ln>
          </p:spPr>
          <p:txBody>
            <a:bodyPr rtlCol="0" anchor="ctr"/>
            <a:lstStyle/>
            <a:p>
              <a:endParaRPr lang="en-IN"/>
            </a:p>
          </p:txBody>
        </p:sp>
        <p:grpSp>
          <p:nvGrpSpPr>
            <p:cNvPr id="172" name="Graphic 6">
              <a:extLst>
                <a:ext uri="{FF2B5EF4-FFF2-40B4-BE49-F238E27FC236}">
                  <a16:creationId xmlns:a16="http://schemas.microsoft.com/office/drawing/2014/main" id="{9870B518-D76A-4B60-BB92-692C0B741ABD}"/>
                </a:ext>
              </a:extLst>
            </p:cNvPr>
            <p:cNvGrpSpPr/>
            <p:nvPr/>
          </p:nvGrpSpPr>
          <p:grpSpPr>
            <a:xfrm>
              <a:off x="7914728" y="1392155"/>
              <a:ext cx="343396" cy="21581"/>
              <a:chOff x="1163719" y="2982552"/>
              <a:chExt cx="926399" cy="58220"/>
            </a:xfrm>
            <a:solidFill>
              <a:schemeClr val="accent5"/>
            </a:solidFill>
          </p:grpSpPr>
          <p:sp>
            <p:nvSpPr>
              <p:cNvPr id="253" name="Freeform: Shape 252">
                <a:extLst>
                  <a:ext uri="{FF2B5EF4-FFF2-40B4-BE49-F238E27FC236}">
                    <a16:creationId xmlns:a16="http://schemas.microsoft.com/office/drawing/2014/main" id="{9C10C08A-87F1-4ECA-A9AE-0603F841973D}"/>
                  </a:ext>
                </a:extLst>
              </p:cNvPr>
              <p:cNvSpPr/>
              <p:nvPr/>
            </p:nvSpPr>
            <p:spPr>
              <a:xfrm>
                <a:off x="2031898"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54" name="Freeform: Shape 253">
                <a:extLst>
                  <a:ext uri="{FF2B5EF4-FFF2-40B4-BE49-F238E27FC236}">
                    <a16:creationId xmlns:a16="http://schemas.microsoft.com/office/drawing/2014/main" id="{C850F398-337A-4792-8A7A-7C53B70ABB3F}"/>
                  </a:ext>
                </a:extLst>
              </p:cNvPr>
              <p:cNvSpPr/>
              <p:nvPr/>
            </p:nvSpPr>
            <p:spPr>
              <a:xfrm>
                <a:off x="1869927"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sp>
            <p:nvSpPr>
              <p:cNvPr id="255" name="Freeform: Shape 254">
                <a:extLst>
                  <a:ext uri="{FF2B5EF4-FFF2-40B4-BE49-F238E27FC236}">
                    <a16:creationId xmlns:a16="http://schemas.microsoft.com/office/drawing/2014/main" id="{9F4C32DF-5150-4B88-B31B-CA2DF8DE007C}"/>
                  </a:ext>
                </a:extLst>
              </p:cNvPr>
              <p:cNvSpPr/>
              <p:nvPr/>
            </p:nvSpPr>
            <p:spPr>
              <a:xfrm>
                <a:off x="1707904"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56" name="Freeform: Shape 255">
                <a:extLst>
                  <a:ext uri="{FF2B5EF4-FFF2-40B4-BE49-F238E27FC236}">
                    <a16:creationId xmlns:a16="http://schemas.microsoft.com/office/drawing/2014/main" id="{641620C1-DF34-4B9A-AB2C-A4745983BECA}"/>
                  </a:ext>
                </a:extLst>
              </p:cNvPr>
              <p:cNvSpPr/>
              <p:nvPr/>
            </p:nvSpPr>
            <p:spPr>
              <a:xfrm>
                <a:off x="1528270" y="2982552"/>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57" name="Freeform: Shape 256">
                <a:extLst>
                  <a:ext uri="{FF2B5EF4-FFF2-40B4-BE49-F238E27FC236}">
                    <a16:creationId xmlns:a16="http://schemas.microsoft.com/office/drawing/2014/main" id="{ABABE035-263B-4D43-A625-71FDA9436D0A}"/>
                  </a:ext>
                </a:extLst>
              </p:cNvPr>
              <p:cNvSpPr/>
              <p:nvPr/>
            </p:nvSpPr>
            <p:spPr>
              <a:xfrm>
                <a:off x="1340711"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sp>
            <p:nvSpPr>
              <p:cNvPr id="258" name="Freeform: Shape 257">
                <a:extLst>
                  <a:ext uri="{FF2B5EF4-FFF2-40B4-BE49-F238E27FC236}">
                    <a16:creationId xmlns:a16="http://schemas.microsoft.com/office/drawing/2014/main" id="{A7C78DC2-631A-45DD-A438-621D8B76A673}"/>
                  </a:ext>
                </a:extLst>
              </p:cNvPr>
              <p:cNvSpPr/>
              <p:nvPr/>
            </p:nvSpPr>
            <p:spPr>
              <a:xfrm>
                <a:off x="1163719" y="2982552"/>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grpSp>
        <p:grpSp>
          <p:nvGrpSpPr>
            <p:cNvPr id="173" name="Graphic 6">
              <a:extLst>
                <a:ext uri="{FF2B5EF4-FFF2-40B4-BE49-F238E27FC236}">
                  <a16:creationId xmlns:a16="http://schemas.microsoft.com/office/drawing/2014/main" id="{4CEA310A-B1A0-4262-945B-91B9A5CE40FC}"/>
                </a:ext>
              </a:extLst>
            </p:cNvPr>
            <p:cNvGrpSpPr/>
            <p:nvPr/>
          </p:nvGrpSpPr>
          <p:grpSpPr>
            <a:xfrm>
              <a:off x="7914728" y="1458645"/>
              <a:ext cx="343396" cy="21581"/>
              <a:chOff x="1163719" y="3161927"/>
              <a:chExt cx="926399" cy="58220"/>
            </a:xfrm>
            <a:solidFill>
              <a:schemeClr val="accent5"/>
            </a:solidFill>
          </p:grpSpPr>
          <p:sp>
            <p:nvSpPr>
              <p:cNvPr id="247" name="Freeform: Shape 246">
                <a:extLst>
                  <a:ext uri="{FF2B5EF4-FFF2-40B4-BE49-F238E27FC236}">
                    <a16:creationId xmlns:a16="http://schemas.microsoft.com/office/drawing/2014/main" id="{5CF9498D-74D0-4549-A80A-AF024E06CF5A}"/>
                  </a:ext>
                </a:extLst>
              </p:cNvPr>
              <p:cNvSpPr/>
              <p:nvPr/>
            </p:nvSpPr>
            <p:spPr>
              <a:xfrm>
                <a:off x="2031898"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48" name="Freeform: Shape 247">
                <a:extLst>
                  <a:ext uri="{FF2B5EF4-FFF2-40B4-BE49-F238E27FC236}">
                    <a16:creationId xmlns:a16="http://schemas.microsoft.com/office/drawing/2014/main" id="{B443C8DE-B14C-47C4-946C-8A85EC5E8FB7}"/>
                  </a:ext>
                </a:extLst>
              </p:cNvPr>
              <p:cNvSpPr/>
              <p:nvPr/>
            </p:nvSpPr>
            <p:spPr>
              <a:xfrm>
                <a:off x="1869927"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sp>
            <p:nvSpPr>
              <p:cNvPr id="249" name="Freeform: Shape 248">
                <a:extLst>
                  <a:ext uri="{FF2B5EF4-FFF2-40B4-BE49-F238E27FC236}">
                    <a16:creationId xmlns:a16="http://schemas.microsoft.com/office/drawing/2014/main" id="{3A7DE94F-D6D9-405B-B204-9AE877234047}"/>
                  </a:ext>
                </a:extLst>
              </p:cNvPr>
              <p:cNvSpPr/>
              <p:nvPr/>
            </p:nvSpPr>
            <p:spPr>
              <a:xfrm>
                <a:off x="1707904"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50" name="Freeform: Shape 249">
                <a:extLst>
                  <a:ext uri="{FF2B5EF4-FFF2-40B4-BE49-F238E27FC236}">
                    <a16:creationId xmlns:a16="http://schemas.microsoft.com/office/drawing/2014/main" id="{F0D18C94-4327-46AE-A04D-74CEC54726E2}"/>
                  </a:ext>
                </a:extLst>
              </p:cNvPr>
              <p:cNvSpPr/>
              <p:nvPr/>
            </p:nvSpPr>
            <p:spPr>
              <a:xfrm>
                <a:off x="1528270" y="3161927"/>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51" name="Freeform: Shape 250">
                <a:extLst>
                  <a:ext uri="{FF2B5EF4-FFF2-40B4-BE49-F238E27FC236}">
                    <a16:creationId xmlns:a16="http://schemas.microsoft.com/office/drawing/2014/main" id="{D7208791-A0F4-4820-92E1-D7B1A349343D}"/>
                  </a:ext>
                </a:extLst>
              </p:cNvPr>
              <p:cNvSpPr/>
              <p:nvPr/>
            </p:nvSpPr>
            <p:spPr>
              <a:xfrm>
                <a:off x="1340711"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sp>
            <p:nvSpPr>
              <p:cNvPr id="252" name="Freeform: Shape 251">
                <a:extLst>
                  <a:ext uri="{FF2B5EF4-FFF2-40B4-BE49-F238E27FC236}">
                    <a16:creationId xmlns:a16="http://schemas.microsoft.com/office/drawing/2014/main" id="{838866B3-816D-4E57-AABA-94E089BF3707}"/>
                  </a:ext>
                </a:extLst>
              </p:cNvPr>
              <p:cNvSpPr/>
              <p:nvPr/>
            </p:nvSpPr>
            <p:spPr>
              <a:xfrm>
                <a:off x="1163719" y="3161927"/>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grpSp>
        <p:grpSp>
          <p:nvGrpSpPr>
            <p:cNvPr id="174" name="Graphic 6">
              <a:extLst>
                <a:ext uri="{FF2B5EF4-FFF2-40B4-BE49-F238E27FC236}">
                  <a16:creationId xmlns:a16="http://schemas.microsoft.com/office/drawing/2014/main" id="{8F55B4F7-80D6-4611-9CA1-FA52FA2B2330}"/>
                </a:ext>
              </a:extLst>
            </p:cNvPr>
            <p:cNvGrpSpPr/>
            <p:nvPr/>
          </p:nvGrpSpPr>
          <p:grpSpPr>
            <a:xfrm>
              <a:off x="7914728" y="1525155"/>
              <a:ext cx="343396" cy="21581"/>
              <a:chOff x="1163719" y="3341354"/>
              <a:chExt cx="926399" cy="58220"/>
            </a:xfrm>
            <a:solidFill>
              <a:schemeClr val="accent5"/>
            </a:solidFill>
          </p:grpSpPr>
          <p:sp>
            <p:nvSpPr>
              <p:cNvPr id="241" name="Freeform: Shape 240">
                <a:extLst>
                  <a:ext uri="{FF2B5EF4-FFF2-40B4-BE49-F238E27FC236}">
                    <a16:creationId xmlns:a16="http://schemas.microsoft.com/office/drawing/2014/main" id="{1853FB35-70DC-4106-A314-583F0ED07FE3}"/>
                  </a:ext>
                </a:extLst>
              </p:cNvPr>
              <p:cNvSpPr/>
              <p:nvPr/>
            </p:nvSpPr>
            <p:spPr>
              <a:xfrm>
                <a:off x="2031898"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42" name="Freeform: Shape 241">
                <a:extLst>
                  <a:ext uri="{FF2B5EF4-FFF2-40B4-BE49-F238E27FC236}">
                    <a16:creationId xmlns:a16="http://schemas.microsoft.com/office/drawing/2014/main" id="{C87A1DD2-7A9B-4CBD-A362-E6086592A14C}"/>
                  </a:ext>
                </a:extLst>
              </p:cNvPr>
              <p:cNvSpPr/>
              <p:nvPr/>
            </p:nvSpPr>
            <p:spPr>
              <a:xfrm>
                <a:off x="1869927"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sp>
            <p:nvSpPr>
              <p:cNvPr id="243" name="Freeform: Shape 242">
                <a:extLst>
                  <a:ext uri="{FF2B5EF4-FFF2-40B4-BE49-F238E27FC236}">
                    <a16:creationId xmlns:a16="http://schemas.microsoft.com/office/drawing/2014/main" id="{41C120B0-6A66-44CA-9512-5CC4732F4B9E}"/>
                  </a:ext>
                </a:extLst>
              </p:cNvPr>
              <p:cNvSpPr/>
              <p:nvPr/>
            </p:nvSpPr>
            <p:spPr>
              <a:xfrm>
                <a:off x="1707904"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44" name="Freeform: Shape 243">
                <a:extLst>
                  <a:ext uri="{FF2B5EF4-FFF2-40B4-BE49-F238E27FC236}">
                    <a16:creationId xmlns:a16="http://schemas.microsoft.com/office/drawing/2014/main" id="{65A77257-8854-4EF9-B63E-6FD501C500CF}"/>
                  </a:ext>
                </a:extLst>
              </p:cNvPr>
              <p:cNvSpPr/>
              <p:nvPr/>
            </p:nvSpPr>
            <p:spPr>
              <a:xfrm>
                <a:off x="1528270" y="3341354"/>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45" name="Freeform: Shape 244">
                <a:extLst>
                  <a:ext uri="{FF2B5EF4-FFF2-40B4-BE49-F238E27FC236}">
                    <a16:creationId xmlns:a16="http://schemas.microsoft.com/office/drawing/2014/main" id="{2BF44FD3-40F9-4EFF-B581-861B13EABDFC}"/>
                  </a:ext>
                </a:extLst>
              </p:cNvPr>
              <p:cNvSpPr/>
              <p:nvPr/>
            </p:nvSpPr>
            <p:spPr>
              <a:xfrm>
                <a:off x="1340711"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sp>
            <p:nvSpPr>
              <p:cNvPr id="246" name="Freeform: Shape 245">
                <a:extLst>
                  <a:ext uri="{FF2B5EF4-FFF2-40B4-BE49-F238E27FC236}">
                    <a16:creationId xmlns:a16="http://schemas.microsoft.com/office/drawing/2014/main" id="{D10A2623-DBAD-42C2-9CD7-261B69B534A8}"/>
                  </a:ext>
                </a:extLst>
              </p:cNvPr>
              <p:cNvSpPr/>
              <p:nvPr/>
            </p:nvSpPr>
            <p:spPr>
              <a:xfrm>
                <a:off x="1163719" y="3341354"/>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grpSp>
        <p:grpSp>
          <p:nvGrpSpPr>
            <p:cNvPr id="175" name="Graphic 6">
              <a:extLst>
                <a:ext uri="{FF2B5EF4-FFF2-40B4-BE49-F238E27FC236}">
                  <a16:creationId xmlns:a16="http://schemas.microsoft.com/office/drawing/2014/main" id="{2C631CDD-5C19-4CCC-BCA2-EEF227E0610C}"/>
                </a:ext>
              </a:extLst>
            </p:cNvPr>
            <p:cNvGrpSpPr/>
            <p:nvPr/>
          </p:nvGrpSpPr>
          <p:grpSpPr>
            <a:xfrm>
              <a:off x="7914728" y="1591665"/>
              <a:ext cx="343396" cy="21581"/>
              <a:chOff x="1163719" y="3520781"/>
              <a:chExt cx="926399" cy="58220"/>
            </a:xfrm>
            <a:solidFill>
              <a:schemeClr val="accent5"/>
            </a:solidFill>
          </p:grpSpPr>
          <p:sp>
            <p:nvSpPr>
              <p:cNvPr id="235" name="Freeform: Shape 234">
                <a:extLst>
                  <a:ext uri="{FF2B5EF4-FFF2-40B4-BE49-F238E27FC236}">
                    <a16:creationId xmlns:a16="http://schemas.microsoft.com/office/drawing/2014/main" id="{44653244-682A-465B-9DF8-83AA57315400}"/>
                  </a:ext>
                </a:extLst>
              </p:cNvPr>
              <p:cNvSpPr/>
              <p:nvPr/>
            </p:nvSpPr>
            <p:spPr>
              <a:xfrm>
                <a:off x="2031898"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36" name="Freeform: Shape 235">
                <a:extLst>
                  <a:ext uri="{FF2B5EF4-FFF2-40B4-BE49-F238E27FC236}">
                    <a16:creationId xmlns:a16="http://schemas.microsoft.com/office/drawing/2014/main" id="{AAA3F575-359C-4704-B967-DA156DFFCF28}"/>
                  </a:ext>
                </a:extLst>
              </p:cNvPr>
              <p:cNvSpPr/>
              <p:nvPr/>
            </p:nvSpPr>
            <p:spPr>
              <a:xfrm>
                <a:off x="1869927"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sp>
            <p:nvSpPr>
              <p:cNvPr id="237" name="Freeform: Shape 236">
                <a:extLst>
                  <a:ext uri="{FF2B5EF4-FFF2-40B4-BE49-F238E27FC236}">
                    <a16:creationId xmlns:a16="http://schemas.microsoft.com/office/drawing/2014/main" id="{85A0369F-FC30-4CDB-9835-8B226511CE77}"/>
                  </a:ext>
                </a:extLst>
              </p:cNvPr>
              <p:cNvSpPr/>
              <p:nvPr/>
            </p:nvSpPr>
            <p:spPr>
              <a:xfrm>
                <a:off x="1707904"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38" name="Freeform: Shape 237">
                <a:extLst>
                  <a:ext uri="{FF2B5EF4-FFF2-40B4-BE49-F238E27FC236}">
                    <a16:creationId xmlns:a16="http://schemas.microsoft.com/office/drawing/2014/main" id="{DB140162-051D-4412-ABFB-8DB491420CCB}"/>
                  </a:ext>
                </a:extLst>
              </p:cNvPr>
              <p:cNvSpPr/>
              <p:nvPr/>
            </p:nvSpPr>
            <p:spPr>
              <a:xfrm>
                <a:off x="1528270" y="3520781"/>
                <a:ext cx="58220" cy="5822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39" name="Freeform: Shape 238">
                <a:extLst>
                  <a:ext uri="{FF2B5EF4-FFF2-40B4-BE49-F238E27FC236}">
                    <a16:creationId xmlns:a16="http://schemas.microsoft.com/office/drawing/2014/main" id="{A75ADBCB-FF82-4B5B-9012-905B5854C96E}"/>
                  </a:ext>
                </a:extLst>
              </p:cNvPr>
              <p:cNvSpPr/>
              <p:nvPr/>
            </p:nvSpPr>
            <p:spPr>
              <a:xfrm>
                <a:off x="1340711"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sp>
            <p:nvSpPr>
              <p:cNvPr id="240" name="Freeform: Shape 239">
                <a:extLst>
                  <a:ext uri="{FF2B5EF4-FFF2-40B4-BE49-F238E27FC236}">
                    <a16:creationId xmlns:a16="http://schemas.microsoft.com/office/drawing/2014/main" id="{9322B6F0-978D-4915-88DE-A256BED511DB}"/>
                  </a:ext>
                </a:extLst>
              </p:cNvPr>
              <p:cNvSpPr/>
              <p:nvPr/>
            </p:nvSpPr>
            <p:spPr>
              <a:xfrm>
                <a:off x="1163719" y="3520781"/>
                <a:ext cx="58220" cy="5822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grpSp>
        <p:grpSp>
          <p:nvGrpSpPr>
            <p:cNvPr id="176" name="Graphic 6">
              <a:extLst>
                <a:ext uri="{FF2B5EF4-FFF2-40B4-BE49-F238E27FC236}">
                  <a16:creationId xmlns:a16="http://schemas.microsoft.com/office/drawing/2014/main" id="{1642F6B1-A58F-4FC4-A496-A9C208DDFD12}"/>
                </a:ext>
              </a:extLst>
            </p:cNvPr>
            <p:cNvGrpSpPr/>
            <p:nvPr/>
          </p:nvGrpSpPr>
          <p:grpSpPr>
            <a:xfrm>
              <a:off x="7914728" y="1658174"/>
              <a:ext cx="343396" cy="21581"/>
              <a:chOff x="1163719" y="3700208"/>
              <a:chExt cx="926399" cy="58220"/>
            </a:xfrm>
            <a:solidFill>
              <a:schemeClr val="accent5"/>
            </a:solidFill>
          </p:grpSpPr>
          <p:sp>
            <p:nvSpPr>
              <p:cNvPr id="229" name="Freeform: Shape 228">
                <a:extLst>
                  <a:ext uri="{FF2B5EF4-FFF2-40B4-BE49-F238E27FC236}">
                    <a16:creationId xmlns:a16="http://schemas.microsoft.com/office/drawing/2014/main" id="{3A86EEF3-ED90-4E8A-9058-7DF70A73E277}"/>
                  </a:ext>
                </a:extLst>
              </p:cNvPr>
              <p:cNvSpPr/>
              <p:nvPr/>
            </p:nvSpPr>
            <p:spPr>
              <a:xfrm>
                <a:off x="2031898"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30" name="Freeform: Shape 229">
                <a:extLst>
                  <a:ext uri="{FF2B5EF4-FFF2-40B4-BE49-F238E27FC236}">
                    <a16:creationId xmlns:a16="http://schemas.microsoft.com/office/drawing/2014/main" id="{A041B5BA-F498-4A36-88D6-7EA6873C3B4D}"/>
                  </a:ext>
                </a:extLst>
              </p:cNvPr>
              <p:cNvSpPr/>
              <p:nvPr/>
            </p:nvSpPr>
            <p:spPr>
              <a:xfrm>
                <a:off x="1869927"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sp>
            <p:nvSpPr>
              <p:cNvPr id="231" name="Freeform: Shape 230">
                <a:extLst>
                  <a:ext uri="{FF2B5EF4-FFF2-40B4-BE49-F238E27FC236}">
                    <a16:creationId xmlns:a16="http://schemas.microsoft.com/office/drawing/2014/main" id="{A54CD0C6-19BE-4417-87BF-83259BB650DD}"/>
                  </a:ext>
                </a:extLst>
              </p:cNvPr>
              <p:cNvSpPr/>
              <p:nvPr/>
            </p:nvSpPr>
            <p:spPr>
              <a:xfrm>
                <a:off x="1707904"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32" name="Freeform: Shape 231">
                <a:extLst>
                  <a:ext uri="{FF2B5EF4-FFF2-40B4-BE49-F238E27FC236}">
                    <a16:creationId xmlns:a16="http://schemas.microsoft.com/office/drawing/2014/main" id="{0994DBE2-ACCC-4525-A917-885CD7AF38FE}"/>
                  </a:ext>
                </a:extLst>
              </p:cNvPr>
              <p:cNvSpPr/>
              <p:nvPr/>
            </p:nvSpPr>
            <p:spPr>
              <a:xfrm>
                <a:off x="1528270" y="3700208"/>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33" name="Freeform: Shape 232">
                <a:extLst>
                  <a:ext uri="{FF2B5EF4-FFF2-40B4-BE49-F238E27FC236}">
                    <a16:creationId xmlns:a16="http://schemas.microsoft.com/office/drawing/2014/main" id="{BB9516C0-D545-40A9-9B5F-49E99FAB175D}"/>
                  </a:ext>
                </a:extLst>
              </p:cNvPr>
              <p:cNvSpPr/>
              <p:nvPr/>
            </p:nvSpPr>
            <p:spPr>
              <a:xfrm>
                <a:off x="1340711"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sp>
            <p:nvSpPr>
              <p:cNvPr id="234" name="Freeform: Shape 233">
                <a:extLst>
                  <a:ext uri="{FF2B5EF4-FFF2-40B4-BE49-F238E27FC236}">
                    <a16:creationId xmlns:a16="http://schemas.microsoft.com/office/drawing/2014/main" id="{9D6C3F44-8094-4BFF-A5EF-83C200BAFEB4}"/>
                  </a:ext>
                </a:extLst>
              </p:cNvPr>
              <p:cNvSpPr/>
              <p:nvPr/>
            </p:nvSpPr>
            <p:spPr>
              <a:xfrm>
                <a:off x="1163719" y="3700208"/>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grpSp>
        <p:grpSp>
          <p:nvGrpSpPr>
            <p:cNvPr id="177" name="Graphic 6">
              <a:extLst>
                <a:ext uri="{FF2B5EF4-FFF2-40B4-BE49-F238E27FC236}">
                  <a16:creationId xmlns:a16="http://schemas.microsoft.com/office/drawing/2014/main" id="{0B4193BF-1E1D-41CC-AC55-03C666A8BB50}"/>
                </a:ext>
              </a:extLst>
            </p:cNvPr>
            <p:cNvGrpSpPr/>
            <p:nvPr/>
          </p:nvGrpSpPr>
          <p:grpSpPr>
            <a:xfrm>
              <a:off x="7914728" y="1724684"/>
              <a:ext cx="343396" cy="21581"/>
              <a:chOff x="1163719" y="3879635"/>
              <a:chExt cx="926399" cy="58220"/>
            </a:xfrm>
            <a:solidFill>
              <a:schemeClr val="accent5"/>
            </a:solidFill>
          </p:grpSpPr>
          <p:sp>
            <p:nvSpPr>
              <p:cNvPr id="223" name="Freeform: Shape 222">
                <a:extLst>
                  <a:ext uri="{FF2B5EF4-FFF2-40B4-BE49-F238E27FC236}">
                    <a16:creationId xmlns:a16="http://schemas.microsoft.com/office/drawing/2014/main" id="{9BC7C97D-DFF4-49D0-9B87-F3BEE5568949}"/>
                  </a:ext>
                </a:extLst>
              </p:cNvPr>
              <p:cNvSpPr/>
              <p:nvPr/>
            </p:nvSpPr>
            <p:spPr>
              <a:xfrm>
                <a:off x="2031898"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24" name="Freeform: Shape 223">
                <a:extLst>
                  <a:ext uri="{FF2B5EF4-FFF2-40B4-BE49-F238E27FC236}">
                    <a16:creationId xmlns:a16="http://schemas.microsoft.com/office/drawing/2014/main" id="{927A2003-9F4C-4B34-A725-52CE0CDFEFCE}"/>
                  </a:ext>
                </a:extLst>
              </p:cNvPr>
              <p:cNvSpPr/>
              <p:nvPr/>
            </p:nvSpPr>
            <p:spPr>
              <a:xfrm>
                <a:off x="1869927"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sp>
            <p:nvSpPr>
              <p:cNvPr id="225" name="Freeform: Shape 224">
                <a:extLst>
                  <a:ext uri="{FF2B5EF4-FFF2-40B4-BE49-F238E27FC236}">
                    <a16:creationId xmlns:a16="http://schemas.microsoft.com/office/drawing/2014/main" id="{C2ABD298-122C-4553-A589-3291A76F7FDF}"/>
                  </a:ext>
                </a:extLst>
              </p:cNvPr>
              <p:cNvSpPr/>
              <p:nvPr/>
            </p:nvSpPr>
            <p:spPr>
              <a:xfrm>
                <a:off x="1707904"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26" name="Freeform: Shape 225">
                <a:extLst>
                  <a:ext uri="{FF2B5EF4-FFF2-40B4-BE49-F238E27FC236}">
                    <a16:creationId xmlns:a16="http://schemas.microsoft.com/office/drawing/2014/main" id="{97340C43-5545-4E72-98F8-908819D8126E}"/>
                  </a:ext>
                </a:extLst>
              </p:cNvPr>
              <p:cNvSpPr/>
              <p:nvPr/>
            </p:nvSpPr>
            <p:spPr>
              <a:xfrm>
                <a:off x="1528270" y="3879635"/>
                <a:ext cx="58220" cy="5822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grpFill/>
              <a:ln w="5175" cap="flat">
                <a:noFill/>
                <a:prstDash val="solid"/>
                <a:miter/>
              </a:ln>
            </p:spPr>
            <p:txBody>
              <a:bodyPr rtlCol="0" anchor="ctr"/>
              <a:lstStyle/>
              <a:p>
                <a:endParaRPr lang="en-IN"/>
              </a:p>
            </p:txBody>
          </p:sp>
          <p:sp>
            <p:nvSpPr>
              <p:cNvPr id="227" name="Freeform: Shape 226">
                <a:extLst>
                  <a:ext uri="{FF2B5EF4-FFF2-40B4-BE49-F238E27FC236}">
                    <a16:creationId xmlns:a16="http://schemas.microsoft.com/office/drawing/2014/main" id="{66055663-2BF1-44FF-BAE7-18016DB23EEA}"/>
                  </a:ext>
                </a:extLst>
              </p:cNvPr>
              <p:cNvSpPr/>
              <p:nvPr/>
            </p:nvSpPr>
            <p:spPr>
              <a:xfrm>
                <a:off x="1340711"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sp>
            <p:nvSpPr>
              <p:cNvPr id="228" name="Freeform: Shape 227">
                <a:extLst>
                  <a:ext uri="{FF2B5EF4-FFF2-40B4-BE49-F238E27FC236}">
                    <a16:creationId xmlns:a16="http://schemas.microsoft.com/office/drawing/2014/main" id="{779AE93D-76CC-4B4B-AD22-B4B417672099}"/>
                  </a:ext>
                </a:extLst>
              </p:cNvPr>
              <p:cNvSpPr/>
              <p:nvPr/>
            </p:nvSpPr>
            <p:spPr>
              <a:xfrm>
                <a:off x="1163719" y="3879635"/>
                <a:ext cx="58220" cy="5822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grpFill/>
              <a:ln w="5175" cap="flat">
                <a:noFill/>
                <a:prstDash val="solid"/>
                <a:miter/>
              </a:ln>
            </p:spPr>
            <p:txBody>
              <a:bodyPr rtlCol="0" anchor="ctr"/>
              <a:lstStyle/>
              <a:p>
                <a:endParaRPr lang="en-IN"/>
              </a:p>
            </p:txBody>
          </p:sp>
        </p:grpSp>
        <p:sp>
          <p:nvSpPr>
            <p:cNvPr id="167" name="Freeform: Shape 166">
              <a:extLst>
                <a:ext uri="{FF2B5EF4-FFF2-40B4-BE49-F238E27FC236}">
                  <a16:creationId xmlns:a16="http://schemas.microsoft.com/office/drawing/2014/main" id="{347FE0E4-171D-4B78-9D77-D0828BFF16E8}"/>
                </a:ext>
              </a:extLst>
            </p:cNvPr>
            <p:cNvSpPr/>
            <p:nvPr/>
          </p:nvSpPr>
          <p:spPr>
            <a:xfrm>
              <a:off x="7449163" y="1252870"/>
              <a:ext cx="673850" cy="673850"/>
            </a:xfrm>
            <a:custGeom>
              <a:avLst/>
              <a:gdLst>
                <a:gd name="connsiteX0" fmla="*/ 1817888 w 1817887"/>
                <a:gd name="connsiteY0" fmla="*/ 908944 h 1817887"/>
                <a:gd name="connsiteX1" fmla="*/ 908944 w 1817887"/>
                <a:gd name="connsiteY1" fmla="*/ 1817888 h 1817887"/>
                <a:gd name="connsiteX2" fmla="*/ 0 w 1817887"/>
                <a:gd name="connsiteY2" fmla="*/ 908944 h 1817887"/>
                <a:gd name="connsiteX3" fmla="*/ 908944 w 1817887"/>
                <a:gd name="connsiteY3" fmla="*/ 0 h 1817887"/>
                <a:gd name="connsiteX4" fmla="*/ 1817888 w 1817887"/>
                <a:gd name="connsiteY4" fmla="*/ 908944 h 1817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7887" h="1817887">
                  <a:moveTo>
                    <a:pt x="1817888" y="908944"/>
                  </a:moveTo>
                  <a:cubicBezTo>
                    <a:pt x="1817888" y="1410940"/>
                    <a:pt x="1410940" y="1817888"/>
                    <a:pt x="908944" y="1817888"/>
                  </a:cubicBezTo>
                  <a:cubicBezTo>
                    <a:pt x="406948" y="1817888"/>
                    <a:pt x="0" y="1410940"/>
                    <a:pt x="0" y="908944"/>
                  </a:cubicBezTo>
                  <a:cubicBezTo>
                    <a:pt x="0" y="406948"/>
                    <a:pt x="406948" y="0"/>
                    <a:pt x="908944" y="0"/>
                  </a:cubicBezTo>
                  <a:cubicBezTo>
                    <a:pt x="1410940" y="0"/>
                    <a:pt x="1817888" y="406948"/>
                    <a:pt x="1817888" y="908944"/>
                  </a:cubicBezTo>
                  <a:close/>
                </a:path>
              </a:pathLst>
            </a:custGeom>
            <a:solidFill>
              <a:srgbClr val="E12727">
                <a:alpha val="60000"/>
              </a:srgbClr>
            </a:solidFill>
            <a:ln w="5175" cap="flat">
              <a:noFill/>
              <a:prstDash val="solid"/>
              <a:miter/>
            </a:ln>
          </p:spPr>
          <p:txBody>
            <a:bodyPr rtlCol="0" anchor="ctr"/>
            <a:lstStyle/>
            <a:p>
              <a:endParaRPr lang="en-IN"/>
            </a:p>
          </p:txBody>
        </p:sp>
        <p:pic>
          <p:nvPicPr>
            <p:cNvPr id="169" name="Picture 168">
              <a:extLst>
                <a:ext uri="{FF2B5EF4-FFF2-40B4-BE49-F238E27FC236}">
                  <a16:creationId xmlns:a16="http://schemas.microsoft.com/office/drawing/2014/main" id="{8602C63D-9D74-427F-BF29-F373DCCDEF2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85784" y="1282930"/>
              <a:ext cx="639194" cy="765167"/>
            </a:xfrm>
            <a:custGeom>
              <a:avLst/>
              <a:gdLst>
                <a:gd name="connsiteX0" fmla="*/ 0 w 1724393"/>
                <a:gd name="connsiteY0" fmla="*/ 0 h 2064237"/>
                <a:gd name="connsiteX1" fmla="*/ 1724393 w 1724393"/>
                <a:gd name="connsiteY1" fmla="*/ 0 h 2064237"/>
                <a:gd name="connsiteX2" fmla="*/ 1724393 w 1724393"/>
                <a:gd name="connsiteY2" fmla="*/ 2064237 h 2064237"/>
                <a:gd name="connsiteX3" fmla="*/ 0 w 1724393"/>
                <a:gd name="connsiteY3" fmla="*/ 2064237 h 2064237"/>
              </a:gdLst>
              <a:ahLst/>
              <a:cxnLst>
                <a:cxn ang="0">
                  <a:pos x="connsiteX0" y="connsiteY0"/>
                </a:cxn>
                <a:cxn ang="0">
                  <a:pos x="connsiteX1" y="connsiteY1"/>
                </a:cxn>
                <a:cxn ang="0">
                  <a:pos x="connsiteX2" y="connsiteY2"/>
                </a:cxn>
                <a:cxn ang="0">
                  <a:pos x="connsiteX3" y="connsiteY3"/>
                </a:cxn>
              </a:cxnLst>
              <a:rect l="l" t="t" r="r" b="b"/>
              <a:pathLst>
                <a:path w="1724393" h="2064237">
                  <a:moveTo>
                    <a:pt x="0" y="0"/>
                  </a:moveTo>
                  <a:lnTo>
                    <a:pt x="1724393" y="0"/>
                  </a:lnTo>
                  <a:lnTo>
                    <a:pt x="1724393" y="2064237"/>
                  </a:lnTo>
                  <a:lnTo>
                    <a:pt x="0" y="2064237"/>
                  </a:lnTo>
                  <a:close/>
                </a:path>
              </a:pathLst>
            </a:custGeom>
          </p:spPr>
        </p:pic>
        <p:pic>
          <p:nvPicPr>
            <p:cNvPr id="195" name="Picture 194">
              <a:extLst>
                <a:ext uri="{FF2B5EF4-FFF2-40B4-BE49-F238E27FC236}">
                  <a16:creationId xmlns:a16="http://schemas.microsoft.com/office/drawing/2014/main" id="{5B01478B-0B5A-4DDD-8FE4-4E95AD08BDE0}"/>
                </a:ext>
              </a:extLst>
            </p:cNvPr>
            <p:cNvPicPr>
              <a:picLocks noChangeAspect="1"/>
            </p:cNvPicPr>
            <p:nvPr/>
          </p:nvPicPr>
          <p:blipFill>
            <a:blip r:embed="rId5" cstate="screen">
              <a:duotone>
                <a:prstClr val="black"/>
                <a:schemeClr val="accent5">
                  <a:tint val="45000"/>
                  <a:satMod val="400000"/>
                </a:schemeClr>
              </a:duotone>
              <a:extLst>
                <a:ext uri="{BEBA8EAE-BF5A-486C-A8C5-ECC9F3942E4B}">
                  <a14:imgProps xmlns:a14="http://schemas.microsoft.com/office/drawing/2010/main">
                    <a14:imgLayer r:embed="rId6">
                      <a14:imgEffect>
                        <a14:brightnessContrast bright="-30000"/>
                      </a14:imgEffect>
                    </a14:imgLayer>
                  </a14:imgProps>
                </a:ext>
                <a:ext uri="{28A0092B-C50C-407E-A947-70E740481C1C}">
                  <a14:useLocalDpi xmlns:a14="http://schemas.microsoft.com/office/drawing/2010/main"/>
                </a:ext>
              </a:extLst>
            </a:blip>
            <a:srcRect/>
            <a:stretch>
              <a:fillRect/>
            </a:stretch>
          </p:blipFill>
          <p:spPr>
            <a:xfrm>
              <a:off x="7585784" y="1282930"/>
              <a:ext cx="537229" cy="643791"/>
            </a:xfrm>
            <a:custGeom>
              <a:avLst/>
              <a:gdLst>
                <a:gd name="connsiteX0" fmla="*/ 166505 w 1449316"/>
                <a:gd name="connsiteY0" fmla="*/ 0 h 1736793"/>
                <a:gd name="connsiteX1" fmla="*/ 914239 w 1449316"/>
                <a:gd name="connsiteY1" fmla="*/ 0 h 1736793"/>
                <a:gd name="connsiteX2" fmla="*/ 973629 w 1449316"/>
                <a:gd name="connsiteY2" fmla="*/ 28610 h 1736793"/>
                <a:gd name="connsiteX3" fmla="*/ 1449316 w 1449316"/>
                <a:gd name="connsiteY3" fmla="*/ 827849 h 1736793"/>
                <a:gd name="connsiteX4" fmla="*/ 540372 w 1449316"/>
                <a:gd name="connsiteY4" fmla="*/ 1736793 h 1736793"/>
                <a:gd name="connsiteX5" fmla="*/ 32173 w 1449316"/>
                <a:gd name="connsiteY5" fmla="*/ 1581560 h 1736793"/>
                <a:gd name="connsiteX6" fmla="*/ 0 w 1449316"/>
                <a:gd name="connsiteY6" fmla="*/ 1555015 h 1736793"/>
                <a:gd name="connsiteX7" fmla="*/ 0 w 1449316"/>
                <a:gd name="connsiteY7" fmla="*/ 100683 h 1736793"/>
                <a:gd name="connsiteX8" fmla="*/ 32173 w 1449316"/>
                <a:gd name="connsiteY8" fmla="*/ 74138 h 1736793"/>
                <a:gd name="connsiteX9" fmla="*/ 107115 w 1449316"/>
                <a:gd name="connsiteY9" fmla="*/ 28610 h 1736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9316" h="1736793">
                  <a:moveTo>
                    <a:pt x="166505" y="0"/>
                  </a:moveTo>
                  <a:lnTo>
                    <a:pt x="914239" y="0"/>
                  </a:lnTo>
                  <a:lnTo>
                    <a:pt x="973629" y="28610"/>
                  </a:lnTo>
                  <a:cubicBezTo>
                    <a:pt x="1256970" y="182530"/>
                    <a:pt x="1449316" y="482727"/>
                    <a:pt x="1449316" y="827849"/>
                  </a:cubicBezTo>
                  <a:cubicBezTo>
                    <a:pt x="1449316" y="1329845"/>
                    <a:pt x="1042368" y="1736793"/>
                    <a:pt x="540372" y="1736793"/>
                  </a:cubicBezTo>
                  <a:cubicBezTo>
                    <a:pt x="352124" y="1736793"/>
                    <a:pt x="177241" y="1679566"/>
                    <a:pt x="32173" y="1581560"/>
                  </a:cubicBezTo>
                  <a:lnTo>
                    <a:pt x="0" y="1555015"/>
                  </a:lnTo>
                  <a:lnTo>
                    <a:pt x="0" y="100683"/>
                  </a:lnTo>
                  <a:lnTo>
                    <a:pt x="32173" y="74138"/>
                  </a:lnTo>
                  <a:cubicBezTo>
                    <a:pt x="56351" y="57804"/>
                    <a:pt x="81357" y="42602"/>
                    <a:pt x="107115" y="28610"/>
                  </a:cubicBezTo>
                  <a:close/>
                </a:path>
              </a:pathLst>
            </a:custGeom>
          </p:spPr>
        </p:pic>
      </p:grpSp>
      <p:grpSp>
        <p:nvGrpSpPr>
          <p:cNvPr id="13" name="Group 12">
            <a:extLst>
              <a:ext uri="{FF2B5EF4-FFF2-40B4-BE49-F238E27FC236}">
                <a16:creationId xmlns:a16="http://schemas.microsoft.com/office/drawing/2014/main" id="{055A3BBF-A1C1-4CE4-B7F2-0DBE8798CFCD}"/>
              </a:ext>
            </a:extLst>
          </p:cNvPr>
          <p:cNvGrpSpPr/>
          <p:nvPr/>
        </p:nvGrpSpPr>
        <p:grpSpPr>
          <a:xfrm>
            <a:off x="368155" y="2285352"/>
            <a:ext cx="3413304" cy="741182"/>
            <a:chOff x="368155" y="2032128"/>
            <a:chExt cx="3413304" cy="741182"/>
          </a:xfrm>
        </p:grpSpPr>
        <p:sp>
          <p:nvSpPr>
            <p:cNvPr id="8" name="Rectangle 7">
              <a:extLst>
                <a:ext uri="{FF2B5EF4-FFF2-40B4-BE49-F238E27FC236}">
                  <a16:creationId xmlns:a16="http://schemas.microsoft.com/office/drawing/2014/main" id="{DF0ADB91-31D1-4E23-9B42-75E10C8E1D5C}"/>
                </a:ext>
              </a:extLst>
            </p:cNvPr>
            <p:cNvSpPr/>
            <p:nvPr/>
          </p:nvSpPr>
          <p:spPr>
            <a:xfrm>
              <a:off x="1427195" y="2264220"/>
              <a:ext cx="2354264" cy="276999"/>
            </a:xfrm>
            <a:prstGeom prst="rect">
              <a:avLst/>
            </a:prstGeom>
            <a:noFill/>
            <a:ln w="25400" cap="flat" cmpd="sng" algn="ctr">
              <a:noFill/>
              <a:prstDash val="solid"/>
            </a:ln>
            <a:effectLst/>
          </p:spPr>
          <p:txBody>
            <a:bodyPr wrap="square" lIns="0" tIns="0" rIns="0" bIns="0" rtlCol="0" anchor="ctr">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rPr>
                <a:t>Transition to the cloud</a:t>
              </a:r>
            </a:p>
          </p:txBody>
        </p:sp>
        <p:grpSp>
          <p:nvGrpSpPr>
            <p:cNvPr id="451" name="Group 450">
              <a:extLst>
                <a:ext uri="{FF2B5EF4-FFF2-40B4-BE49-F238E27FC236}">
                  <a16:creationId xmlns:a16="http://schemas.microsoft.com/office/drawing/2014/main" id="{4E999BDB-AECB-461D-B227-B73AE7FE453B}"/>
                </a:ext>
              </a:extLst>
            </p:cNvPr>
            <p:cNvGrpSpPr/>
            <p:nvPr/>
          </p:nvGrpSpPr>
          <p:grpSpPr>
            <a:xfrm>
              <a:off x="368155" y="2032128"/>
              <a:ext cx="958399" cy="741182"/>
              <a:chOff x="4308781" y="5031594"/>
              <a:chExt cx="1210475" cy="936126"/>
            </a:xfrm>
          </p:grpSpPr>
          <p:sp>
            <p:nvSpPr>
              <p:cNvPr id="930" name="Isosceles Triangle 49">
                <a:extLst>
                  <a:ext uri="{FF2B5EF4-FFF2-40B4-BE49-F238E27FC236}">
                    <a16:creationId xmlns:a16="http://schemas.microsoft.com/office/drawing/2014/main" id="{7DF43A2A-42D8-4432-8E86-E81A35048790}"/>
                  </a:ext>
                </a:extLst>
              </p:cNvPr>
              <p:cNvSpPr/>
              <p:nvPr/>
            </p:nvSpPr>
            <p:spPr>
              <a:xfrm>
                <a:off x="4791827" y="5574409"/>
                <a:ext cx="450952" cy="393311"/>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2">
                  <a:alpha val="6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390" name="Group 389">
                <a:extLst>
                  <a:ext uri="{FF2B5EF4-FFF2-40B4-BE49-F238E27FC236}">
                    <a16:creationId xmlns:a16="http://schemas.microsoft.com/office/drawing/2014/main" id="{EAA53913-E07A-46DD-BF37-ADC2EAE2325A}"/>
                  </a:ext>
                </a:extLst>
              </p:cNvPr>
              <p:cNvGrpSpPr/>
              <p:nvPr/>
            </p:nvGrpSpPr>
            <p:grpSpPr>
              <a:xfrm>
                <a:off x="4308781" y="5031594"/>
                <a:ext cx="1210475" cy="682716"/>
                <a:chOff x="2312809" y="3766125"/>
                <a:chExt cx="2164832" cy="1220981"/>
              </a:xfrm>
            </p:grpSpPr>
            <p:sp>
              <p:nvSpPr>
                <p:cNvPr id="392" name="Oval 391">
                  <a:extLst>
                    <a:ext uri="{FF2B5EF4-FFF2-40B4-BE49-F238E27FC236}">
                      <a16:creationId xmlns:a16="http://schemas.microsoft.com/office/drawing/2014/main" id="{D1280F0E-28CA-405C-9E70-CDF50C4CBF25}"/>
                    </a:ext>
                  </a:extLst>
                </p:cNvPr>
                <p:cNvSpPr/>
                <p:nvPr/>
              </p:nvSpPr>
              <p:spPr>
                <a:xfrm>
                  <a:off x="2655018" y="3772101"/>
                  <a:ext cx="1215005" cy="1215005"/>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93" name="Group 392">
                  <a:extLst>
                    <a:ext uri="{FF2B5EF4-FFF2-40B4-BE49-F238E27FC236}">
                      <a16:creationId xmlns:a16="http://schemas.microsoft.com/office/drawing/2014/main" id="{76788387-A109-474C-9879-5E9CCF4DC7B0}"/>
                    </a:ext>
                  </a:extLst>
                </p:cNvPr>
                <p:cNvGrpSpPr/>
                <p:nvPr/>
              </p:nvGrpSpPr>
              <p:grpSpPr>
                <a:xfrm>
                  <a:off x="2312809" y="3766125"/>
                  <a:ext cx="2164832" cy="1217718"/>
                  <a:chOff x="4791704" y="720952"/>
                  <a:chExt cx="4094907" cy="2303386"/>
                </a:xfrm>
              </p:grpSpPr>
              <p:pic>
                <p:nvPicPr>
                  <p:cNvPr id="394" name="Picture 393" descr="A picture containing smoke, train, coming, air&#10;&#10;Description automatically generated">
                    <a:extLst>
                      <a:ext uri="{FF2B5EF4-FFF2-40B4-BE49-F238E27FC236}">
                        <a16:creationId xmlns:a16="http://schemas.microsoft.com/office/drawing/2014/main" id="{396F84E5-116E-4440-8263-0FAC417F2B3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91704" y="720952"/>
                    <a:ext cx="4094907" cy="2303386"/>
                  </a:xfrm>
                  <a:prstGeom prst="rect">
                    <a:avLst/>
                  </a:prstGeom>
                </p:spPr>
              </p:pic>
              <p:pic>
                <p:nvPicPr>
                  <p:cNvPr id="395" name="Picture 394" descr="A close up of a mountain&#10;&#10;Description automatically generated">
                    <a:extLst>
                      <a:ext uri="{FF2B5EF4-FFF2-40B4-BE49-F238E27FC236}">
                        <a16:creationId xmlns:a16="http://schemas.microsoft.com/office/drawing/2014/main" id="{AFA8C5DC-9926-4068-878D-ADE201BF6813}"/>
                      </a:ext>
                    </a:extLst>
                  </p:cNvPr>
                  <p:cNvPicPr>
                    <a:picLocks noChangeAspect="1"/>
                  </p:cNvPicPr>
                  <p:nvPr/>
                </p:nvPicPr>
                <p:blipFill>
                  <a:blip r:embed="rId8"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5388010" y="1215538"/>
                    <a:ext cx="2889785" cy="1439858"/>
                  </a:xfrm>
                  <a:prstGeom prst="rect">
                    <a:avLst/>
                  </a:prstGeom>
                </p:spPr>
              </p:pic>
            </p:grpSp>
          </p:grpSp>
          <p:sp>
            <p:nvSpPr>
              <p:cNvPr id="408" name="Isosceles Triangle 49">
                <a:extLst>
                  <a:ext uri="{FF2B5EF4-FFF2-40B4-BE49-F238E27FC236}">
                    <a16:creationId xmlns:a16="http://schemas.microsoft.com/office/drawing/2014/main" id="{4F6A2629-7CC3-4B1A-9C7A-D5ADAA4B6BCE}"/>
                  </a:ext>
                </a:extLst>
              </p:cNvPr>
              <p:cNvSpPr/>
              <p:nvPr/>
            </p:nvSpPr>
            <p:spPr>
              <a:xfrm>
                <a:off x="4791827" y="5406649"/>
                <a:ext cx="450952" cy="393311"/>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2">
                  <a:alpha val="6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grpSp>
      <p:sp>
        <p:nvSpPr>
          <p:cNvPr id="66" name="Oval 65">
            <a:extLst>
              <a:ext uri="{FF2B5EF4-FFF2-40B4-BE49-F238E27FC236}">
                <a16:creationId xmlns:a16="http://schemas.microsoft.com/office/drawing/2014/main" id="{242850F1-C937-4893-82D2-7961250444FF}"/>
              </a:ext>
            </a:extLst>
          </p:cNvPr>
          <p:cNvSpPr/>
          <p:nvPr/>
        </p:nvSpPr>
        <p:spPr>
          <a:xfrm>
            <a:off x="554272" y="1680494"/>
            <a:ext cx="528867" cy="528867"/>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D45BA29-C5C0-418E-A0C7-AC2CC7008868}"/>
              </a:ext>
            </a:extLst>
          </p:cNvPr>
          <p:cNvSpPr/>
          <p:nvPr/>
        </p:nvSpPr>
        <p:spPr>
          <a:xfrm>
            <a:off x="1427195" y="1731609"/>
            <a:ext cx="2107302" cy="276999"/>
          </a:xfrm>
          <a:prstGeom prst="rect">
            <a:avLst/>
          </a:prstGeom>
          <a:noFill/>
          <a:ln w="25400" cap="flat" cmpd="sng" algn="ctr">
            <a:noFill/>
            <a:prstDash val="solid"/>
          </a:ln>
          <a:effectLst/>
        </p:spPr>
        <p:txBody>
          <a:bodyPr wrap="square" lIns="0" tIns="0" rIns="0" bIns="0" rtlCol="0" anchor="ctr">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rPr>
              <a:t>Unlimited devices</a:t>
            </a:r>
          </a:p>
        </p:txBody>
      </p:sp>
      <p:grpSp>
        <p:nvGrpSpPr>
          <p:cNvPr id="12" name="Group 11">
            <a:extLst>
              <a:ext uri="{FF2B5EF4-FFF2-40B4-BE49-F238E27FC236}">
                <a16:creationId xmlns:a16="http://schemas.microsoft.com/office/drawing/2014/main" id="{D3504FCE-0997-4D59-AEF4-E7C2D18513DC}"/>
              </a:ext>
            </a:extLst>
          </p:cNvPr>
          <p:cNvGrpSpPr/>
          <p:nvPr/>
        </p:nvGrpSpPr>
        <p:grpSpPr>
          <a:xfrm>
            <a:off x="277250" y="3096555"/>
            <a:ext cx="3504209" cy="638687"/>
            <a:chOff x="277250" y="2937104"/>
            <a:chExt cx="3504209" cy="638687"/>
          </a:xfrm>
        </p:grpSpPr>
        <p:sp>
          <p:nvSpPr>
            <p:cNvPr id="9" name="Rectangle 8">
              <a:extLst>
                <a:ext uri="{FF2B5EF4-FFF2-40B4-BE49-F238E27FC236}">
                  <a16:creationId xmlns:a16="http://schemas.microsoft.com/office/drawing/2014/main" id="{0A0E7E2F-00D3-42A1-90AA-A5A6002F216D}"/>
                </a:ext>
              </a:extLst>
            </p:cNvPr>
            <p:cNvSpPr/>
            <p:nvPr/>
          </p:nvSpPr>
          <p:spPr>
            <a:xfrm>
              <a:off x="1427195" y="3117948"/>
              <a:ext cx="2354264" cy="276999"/>
            </a:xfrm>
            <a:prstGeom prst="rect">
              <a:avLst/>
            </a:prstGeom>
            <a:noFill/>
            <a:ln w="25400" cap="flat" cmpd="sng" algn="ctr">
              <a:noFill/>
              <a:prstDash val="solid"/>
            </a:ln>
            <a:effectLst/>
          </p:spPr>
          <p:txBody>
            <a:bodyPr wrap="square" lIns="0" tIns="0" rIns="0" bIns="0" rtlCol="0" anchor="ctr">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rPr>
                <a:t>Distributed workforces</a:t>
              </a:r>
            </a:p>
          </p:txBody>
        </p:sp>
        <p:grpSp>
          <p:nvGrpSpPr>
            <p:cNvPr id="64" name="Group 63">
              <a:extLst>
                <a:ext uri="{FF2B5EF4-FFF2-40B4-BE49-F238E27FC236}">
                  <a16:creationId xmlns:a16="http://schemas.microsoft.com/office/drawing/2014/main" id="{CF1501C5-1C24-43CC-B837-3BE91C81CE57}"/>
                </a:ext>
              </a:extLst>
            </p:cNvPr>
            <p:cNvGrpSpPr/>
            <p:nvPr/>
          </p:nvGrpSpPr>
          <p:grpSpPr>
            <a:xfrm>
              <a:off x="277250" y="2937104"/>
              <a:ext cx="1140208" cy="638687"/>
              <a:chOff x="9599457" y="2268160"/>
              <a:chExt cx="3794247" cy="2125345"/>
            </a:xfrm>
          </p:grpSpPr>
          <p:pic>
            <p:nvPicPr>
              <p:cNvPr id="412" name="Picture 411" descr="A close up of a fish&#10;&#10;Description automatically generated">
                <a:extLst>
                  <a:ext uri="{FF2B5EF4-FFF2-40B4-BE49-F238E27FC236}">
                    <a16:creationId xmlns:a16="http://schemas.microsoft.com/office/drawing/2014/main" id="{54541968-8B47-4132-8BF3-B6B48C48390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1184927" y="3008745"/>
                <a:ext cx="2208777" cy="1140717"/>
              </a:xfrm>
              <a:prstGeom prst="rect">
                <a:avLst/>
              </a:prstGeom>
            </p:spPr>
          </p:pic>
          <p:sp>
            <p:nvSpPr>
              <p:cNvPr id="417" name="Oval 416">
                <a:extLst>
                  <a:ext uri="{FF2B5EF4-FFF2-40B4-BE49-F238E27FC236}">
                    <a16:creationId xmlns:a16="http://schemas.microsoft.com/office/drawing/2014/main" id="{10C678C1-99D4-4F2A-BCC3-06B548E75EB2}"/>
                  </a:ext>
                </a:extLst>
              </p:cNvPr>
              <p:cNvSpPr/>
              <p:nvPr/>
            </p:nvSpPr>
            <p:spPr>
              <a:xfrm>
                <a:off x="10494443" y="2444281"/>
                <a:ext cx="1908634" cy="1908637"/>
              </a:xfrm>
              <a:prstGeom prst="ellipse">
                <a:avLst/>
              </a:prstGeom>
              <a:solidFill>
                <a:schemeClr val="accent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grpSp>
            <p:nvGrpSpPr>
              <p:cNvPr id="423" name="Group 422">
                <a:extLst>
                  <a:ext uri="{FF2B5EF4-FFF2-40B4-BE49-F238E27FC236}">
                    <a16:creationId xmlns:a16="http://schemas.microsoft.com/office/drawing/2014/main" id="{40507778-A089-42DD-A4C3-71F437C3F47E}"/>
                  </a:ext>
                </a:extLst>
              </p:cNvPr>
              <p:cNvGrpSpPr/>
              <p:nvPr/>
            </p:nvGrpSpPr>
            <p:grpSpPr>
              <a:xfrm>
                <a:off x="10027850" y="2534805"/>
                <a:ext cx="27432" cy="1054473"/>
                <a:chOff x="1509097" y="741439"/>
                <a:chExt cx="27432" cy="1054473"/>
              </a:xfrm>
              <a:solidFill>
                <a:schemeClr val="accent2"/>
              </a:solidFill>
            </p:grpSpPr>
            <p:sp>
              <p:nvSpPr>
                <p:cNvPr id="871" name="Oval 870">
                  <a:extLst>
                    <a:ext uri="{FF2B5EF4-FFF2-40B4-BE49-F238E27FC236}">
                      <a16:creationId xmlns:a16="http://schemas.microsoft.com/office/drawing/2014/main" id="{2C22857C-3049-4CB6-AA96-F9BEDA8CF35A}"/>
                    </a:ext>
                  </a:extLst>
                </p:cNvPr>
                <p:cNvSpPr/>
                <p:nvPr/>
              </p:nvSpPr>
              <p:spPr>
                <a:xfrm>
                  <a:off x="1509097" y="741439"/>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72" name="Oval 871">
                  <a:extLst>
                    <a:ext uri="{FF2B5EF4-FFF2-40B4-BE49-F238E27FC236}">
                      <a16:creationId xmlns:a16="http://schemas.microsoft.com/office/drawing/2014/main" id="{E140281B-2E43-4362-B6BF-4E9E27B2FFE4}"/>
                    </a:ext>
                  </a:extLst>
                </p:cNvPr>
                <p:cNvSpPr/>
                <p:nvPr/>
              </p:nvSpPr>
              <p:spPr>
                <a:xfrm>
                  <a:off x="1509097" y="946847"/>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73" name="Oval 872">
                  <a:extLst>
                    <a:ext uri="{FF2B5EF4-FFF2-40B4-BE49-F238E27FC236}">
                      <a16:creationId xmlns:a16="http://schemas.microsoft.com/office/drawing/2014/main" id="{066C81D2-66BB-46AB-853C-7581D503403F}"/>
                    </a:ext>
                  </a:extLst>
                </p:cNvPr>
                <p:cNvSpPr/>
                <p:nvPr/>
              </p:nvSpPr>
              <p:spPr>
                <a:xfrm>
                  <a:off x="1509097" y="1152255"/>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74" name="Oval 873">
                  <a:extLst>
                    <a:ext uri="{FF2B5EF4-FFF2-40B4-BE49-F238E27FC236}">
                      <a16:creationId xmlns:a16="http://schemas.microsoft.com/office/drawing/2014/main" id="{4183BD63-64EC-4487-B527-5953EC4BD359}"/>
                    </a:ext>
                  </a:extLst>
                </p:cNvPr>
                <p:cNvSpPr/>
                <p:nvPr/>
              </p:nvSpPr>
              <p:spPr>
                <a:xfrm>
                  <a:off x="1509097" y="1357663"/>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75" name="Oval 874">
                  <a:extLst>
                    <a:ext uri="{FF2B5EF4-FFF2-40B4-BE49-F238E27FC236}">
                      <a16:creationId xmlns:a16="http://schemas.microsoft.com/office/drawing/2014/main" id="{0169B437-F26C-4FC7-950C-253CDE092D17}"/>
                    </a:ext>
                  </a:extLst>
                </p:cNvPr>
                <p:cNvSpPr/>
                <p:nvPr/>
              </p:nvSpPr>
              <p:spPr>
                <a:xfrm>
                  <a:off x="1509097" y="1563071"/>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76" name="Oval 875">
                  <a:extLst>
                    <a:ext uri="{FF2B5EF4-FFF2-40B4-BE49-F238E27FC236}">
                      <a16:creationId xmlns:a16="http://schemas.microsoft.com/office/drawing/2014/main" id="{704E3227-394D-45A9-926C-88CAB036F5BC}"/>
                    </a:ext>
                  </a:extLst>
                </p:cNvPr>
                <p:cNvSpPr/>
                <p:nvPr/>
              </p:nvSpPr>
              <p:spPr>
                <a:xfrm>
                  <a:off x="1509097" y="1768480"/>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grpSp>
          <p:grpSp>
            <p:nvGrpSpPr>
              <p:cNvPr id="424" name="Group 423">
                <a:extLst>
                  <a:ext uri="{FF2B5EF4-FFF2-40B4-BE49-F238E27FC236}">
                    <a16:creationId xmlns:a16="http://schemas.microsoft.com/office/drawing/2014/main" id="{BD970458-2D6D-4B39-99D2-A2D6A2467553}"/>
                  </a:ext>
                </a:extLst>
              </p:cNvPr>
              <p:cNvGrpSpPr/>
              <p:nvPr/>
            </p:nvGrpSpPr>
            <p:grpSpPr>
              <a:xfrm>
                <a:off x="10241443" y="2534805"/>
                <a:ext cx="27432" cy="1054473"/>
                <a:chOff x="1725168" y="741439"/>
                <a:chExt cx="27432" cy="1054473"/>
              </a:xfrm>
              <a:solidFill>
                <a:schemeClr val="accent2"/>
              </a:solidFill>
            </p:grpSpPr>
            <p:sp>
              <p:nvSpPr>
                <p:cNvPr id="865" name="Oval 864">
                  <a:extLst>
                    <a:ext uri="{FF2B5EF4-FFF2-40B4-BE49-F238E27FC236}">
                      <a16:creationId xmlns:a16="http://schemas.microsoft.com/office/drawing/2014/main" id="{8025EC82-1EDA-4801-A6C1-42E5D174D3D4}"/>
                    </a:ext>
                  </a:extLst>
                </p:cNvPr>
                <p:cNvSpPr/>
                <p:nvPr/>
              </p:nvSpPr>
              <p:spPr>
                <a:xfrm>
                  <a:off x="1725168" y="741439"/>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66" name="Oval 865">
                  <a:extLst>
                    <a:ext uri="{FF2B5EF4-FFF2-40B4-BE49-F238E27FC236}">
                      <a16:creationId xmlns:a16="http://schemas.microsoft.com/office/drawing/2014/main" id="{B07FE239-57D7-4B96-A858-78E8C02F7EE4}"/>
                    </a:ext>
                  </a:extLst>
                </p:cNvPr>
                <p:cNvSpPr/>
                <p:nvPr/>
              </p:nvSpPr>
              <p:spPr>
                <a:xfrm>
                  <a:off x="1725168" y="946847"/>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67" name="Oval 866">
                  <a:extLst>
                    <a:ext uri="{FF2B5EF4-FFF2-40B4-BE49-F238E27FC236}">
                      <a16:creationId xmlns:a16="http://schemas.microsoft.com/office/drawing/2014/main" id="{6A382657-C2AA-4D72-906C-E0BD1E775D66}"/>
                    </a:ext>
                  </a:extLst>
                </p:cNvPr>
                <p:cNvSpPr/>
                <p:nvPr/>
              </p:nvSpPr>
              <p:spPr>
                <a:xfrm>
                  <a:off x="1725168" y="1152255"/>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68" name="Oval 867">
                  <a:extLst>
                    <a:ext uri="{FF2B5EF4-FFF2-40B4-BE49-F238E27FC236}">
                      <a16:creationId xmlns:a16="http://schemas.microsoft.com/office/drawing/2014/main" id="{5786FB92-E7F1-4486-B392-3CB5A65A6550}"/>
                    </a:ext>
                  </a:extLst>
                </p:cNvPr>
                <p:cNvSpPr/>
                <p:nvPr/>
              </p:nvSpPr>
              <p:spPr>
                <a:xfrm>
                  <a:off x="1725168" y="1357663"/>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69" name="Oval 868">
                  <a:extLst>
                    <a:ext uri="{FF2B5EF4-FFF2-40B4-BE49-F238E27FC236}">
                      <a16:creationId xmlns:a16="http://schemas.microsoft.com/office/drawing/2014/main" id="{F9C66CEC-7872-4765-8B5A-160E994513B0}"/>
                    </a:ext>
                  </a:extLst>
                </p:cNvPr>
                <p:cNvSpPr/>
                <p:nvPr/>
              </p:nvSpPr>
              <p:spPr>
                <a:xfrm>
                  <a:off x="1725168" y="1563071"/>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70" name="Oval 869">
                  <a:extLst>
                    <a:ext uri="{FF2B5EF4-FFF2-40B4-BE49-F238E27FC236}">
                      <a16:creationId xmlns:a16="http://schemas.microsoft.com/office/drawing/2014/main" id="{ABD2E06A-143F-4CCD-A83C-39F6CC15DE7C}"/>
                    </a:ext>
                  </a:extLst>
                </p:cNvPr>
                <p:cNvSpPr/>
                <p:nvPr/>
              </p:nvSpPr>
              <p:spPr>
                <a:xfrm>
                  <a:off x="1725168" y="1768480"/>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grpSp>
          <p:grpSp>
            <p:nvGrpSpPr>
              <p:cNvPr id="425" name="Group 424">
                <a:extLst>
                  <a:ext uri="{FF2B5EF4-FFF2-40B4-BE49-F238E27FC236}">
                    <a16:creationId xmlns:a16="http://schemas.microsoft.com/office/drawing/2014/main" id="{DDD7B9A3-594A-48A6-B839-A678B293D4D8}"/>
                  </a:ext>
                </a:extLst>
              </p:cNvPr>
              <p:cNvGrpSpPr/>
              <p:nvPr/>
            </p:nvGrpSpPr>
            <p:grpSpPr>
              <a:xfrm>
                <a:off x="10455036" y="2534805"/>
                <a:ext cx="27432" cy="1054473"/>
                <a:chOff x="1509097" y="741439"/>
                <a:chExt cx="27432" cy="1054473"/>
              </a:xfrm>
              <a:solidFill>
                <a:schemeClr val="accent2"/>
              </a:solidFill>
            </p:grpSpPr>
            <p:sp>
              <p:nvSpPr>
                <p:cNvPr id="859" name="Oval 858">
                  <a:extLst>
                    <a:ext uri="{FF2B5EF4-FFF2-40B4-BE49-F238E27FC236}">
                      <a16:creationId xmlns:a16="http://schemas.microsoft.com/office/drawing/2014/main" id="{92BE0D70-F362-4CAE-BB4F-47000BF0188F}"/>
                    </a:ext>
                  </a:extLst>
                </p:cNvPr>
                <p:cNvSpPr/>
                <p:nvPr/>
              </p:nvSpPr>
              <p:spPr>
                <a:xfrm>
                  <a:off x="1509097" y="741439"/>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60" name="Oval 859">
                  <a:extLst>
                    <a:ext uri="{FF2B5EF4-FFF2-40B4-BE49-F238E27FC236}">
                      <a16:creationId xmlns:a16="http://schemas.microsoft.com/office/drawing/2014/main" id="{656EC3CB-C7D8-4CCA-9DB7-F0771EBC78FA}"/>
                    </a:ext>
                  </a:extLst>
                </p:cNvPr>
                <p:cNvSpPr/>
                <p:nvPr/>
              </p:nvSpPr>
              <p:spPr>
                <a:xfrm>
                  <a:off x="1509097" y="946847"/>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61" name="Oval 860">
                  <a:extLst>
                    <a:ext uri="{FF2B5EF4-FFF2-40B4-BE49-F238E27FC236}">
                      <a16:creationId xmlns:a16="http://schemas.microsoft.com/office/drawing/2014/main" id="{8AF7BB53-1C40-48B6-BB4D-E2BA675C51D0}"/>
                    </a:ext>
                  </a:extLst>
                </p:cNvPr>
                <p:cNvSpPr/>
                <p:nvPr/>
              </p:nvSpPr>
              <p:spPr>
                <a:xfrm>
                  <a:off x="1509097" y="1152255"/>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62" name="Oval 861">
                  <a:extLst>
                    <a:ext uri="{FF2B5EF4-FFF2-40B4-BE49-F238E27FC236}">
                      <a16:creationId xmlns:a16="http://schemas.microsoft.com/office/drawing/2014/main" id="{D0518302-D87E-4D68-B68A-6FDA831AE327}"/>
                    </a:ext>
                  </a:extLst>
                </p:cNvPr>
                <p:cNvSpPr/>
                <p:nvPr/>
              </p:nvSpPr>
              <p:spPr>
                <a:xfrm>
                  <a:off x="1509097" y="1357663"/>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63" name="Oval 862">
                  <a:extLst>
                    <a:ext uri="{FF2B5EF4-FFF2-40B4-BE49-F238E27FC236}">
                      <a16:creationId xmlns:a16="http://schemas.microsoft.com/office/drawing/2014/main" id="{661DEB3E-D10E-462B-BD6B-4F8FD4EF1D42}"/>
                    </a:ext>
                  </a:extLst>
                </p:cNvPr>
                <p:cNvSpPr/>
                <p:nvPr/>
              </p:nvSpPr>
              <p:spPr>
                <a:xfrm>
                  <a:off x="1509097" y="1563071"/>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64" name="Oval 863">
                  <a:extLst>
                    <a:ext uri="{FF2B5EF4-FFF2-40B4-BE49-F238E27FC236}">
                      <a16:creationId xmlns:a16="http://schemas.microsoft.com/office/drawing/2014/main" id="{20F08DAD-BD0D-4EE2-A3A0-9CC2EC14BAB9}"/>
                    </a:ext>
                  </a:extLst>
                </p:cNvPr>
                <p:cNvSpPr/>
                <p:nvPr/>
              </p:nvSpPr>
              <p:spPr>
                <a:xfrm>
                  <a:off x="1509097" y="1768480"/>
                  <a:ext cx="27432" cy="27432"/>
                </a:xfrm>
                <a:prstGeom prst="ellipse">
                  <a:avLst/>
                </a:prstGeom>
                <a:gr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grpSp>
          <p:grpSp>
            <p:nvGrpSpPr>
              <p:cNvPr id="426" name="Group 425">
                <a:extLst>
                  <a:ext uri="{FF2B5EF4-FFF2-40B4-BE49-F238E27FC236}">
                    <a16:creationId xmlns:a16="http://schemas.microsoft.com/office/drawing/2014/main" id="{5FBA672D-5332-47A5-B638-C90D5E3715BD}"/>
                  </a:ext>
                </a:extLst>
              </p:cNvPr>
              <p:cNvGrpSpPr/>
              <p:nvPr/>
            </p:nvGrpSpPr>
            <p:grpSpPr>
              <a:xfrm>
                <a:off x="10668629" y="2534805"/>
                <a:ext cx="27432" cy="1054473"/>
                <a:chOff x="1509097" y="741439"/>
                <a:chExt cx="27432" cy="1054473"/>
              </a:xfrm>
            </p:grpSpPr>
            <p:sp>
              <p:nvSpPr>
                <p:cNvPr id="853" name="Oval 852">
                  <a:extLst>
                    <a:ext uri="{FF2B5EF4-FFF2-40B4-BE49-F238E27FC236}">
                      <a16:creationId xmlns:a16="http://schemas.microsoft.com/office/drawing/2014/main" id="{F45E3AFF-B24C-46D7-A345-4DACF30B4FF2}"/>
                    </a:ext>
                  </a:extLst>
                </p:cNvPr>
                <p:cNvSpPr/>
                <p:nvPr/>
              </p:nvSpPr>
              <p:spPr>
                <a:xfrm>
                  <a:off x="1509097" y="741439"/>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54" name="Oval 853">
                  <a:extLst>
                    <a:ext uri="{FF2B5EF4-FFF2-40B4-BE49-F238E27FC236}">
                      <a16:creationId xmlns:a16="http://schemas.microsoft.com/office/drawing/2014/main" id="{C66FED6D-DA89-4477-AE8E-DA2A7BD72D34}"/>
                    </a:ext>
                  </a:extLst>
                </p:cNvPr>
                <p:cNvSpPr/>
                <p:nvPr/>
              </p:nvSpPr>
              <p:spPr>
                <a:xfrm>
                  <a:off x="1509097" y="946847"/>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55" name="Oval 854">
                  <a:extLst>
                    <a:ext uri="{FF2B5EF4-FFF2-40B4-BE49-F238E27FC236}">
                      <a16:creationId xmlns:a16="http://schemas.microsoft.com/office/drawing/2014/main" id="{EBB5B45E-D025-4ED3-82CF-08AC9786A867}"/>
                    </a:ext>
                  </a:extLst>
                </p:cNvPr>
                <p:cNvSpPr/>
                <p:nvPr/>
              </p:nvSpPr>
              <p:spPr>
                <a:xfrm>
                  <a:off x="1509097" y="1152255"/>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56" name="Oval 855">
                  <a:extLst>
                    <a:ext uri="{FF2B5EF4-FFF2-40B4-BE49-F238E27FC236}">
                      <a16:creationId xmlns:a16="http://schemas.microsoft.com/office/drawing/2014/main" id="{F2D43CF0-01E5-4ACE-B705-04E65E134A1B}"/>
                    </a:ext>
                  </a:extLst>
                </p:cNvPr>
                <p:cNvSpPr/>
                <p:nvPr/>
              </p:nvSpPr>
              <p:spPr>
                <a:xfrm>
                  <a:off x="1509097" y="1357663"/>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57" name="Oval 856">
                  <a:extLst>
                    <a:ext uri="{FF2B5EF4-FFF2-40B4-BE49-F238E27FC236}">
                      <a16:creationId xmlns:a16="http://schemas.microsoft.com/office/drawing/2014/main" id="{A42022F0-35CD-4DCB-9EB7-DB6E17D47E64}"/>
                    </a:ext>
                  </a:extLst>
                </p:cNvPr>
                <p:cNvSpPr/>
                <p:nvPr/>
              </p:nvSpPr>
              <p:spPr>
                <a:xfrm>
                  <a:off x="1509097" y="1563071"/>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58" name="Oval 857">
                  <a:extLst>
                    <a:ext uri="{FF2B5EF4-FFF2-40B4-BE49-F238E27FC236}">
                      <a16:creationId xmlns:a16="http://schemas.microsoft.com/office/drawing/2014/main" id="{D1C866D1-E966-4A93-BC18-EE6C6A4237B7}"/>
                    </a:ext>
                  </a:extLst>
                </p:cNvPr>
                <p:cNvSpPr/>
                <p:nvPr/>
              </p:nvSpPr>
              <p:spPr>
                <a:xfrm>
                  <a:off x="1509097" y="1768480"/>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grpSp>
          <p:grpSp>
            <p:nvGrpSpPr>
              <p:cNvPr id="427" name="Group 426">
                <a:extLst>
                  <a:ext uri="{FF2B5EF4-FFF2-40B4-BE49-F238E27FC236}">
                    <a16:creationId xmlns:a16="http://schemas.microsoft.com/office/drawing/2014/main" id="{671D7EDA-0EFB-4EEA-8B81-952616C5F3A7}"/>
                  </a:ext>
                </a:extLst>
              </p:cNvPr>
              <p:cNvGrpSpPr/>
              <p:nvPr/>
            </p:nvGrpSpPr>
            <p:grpSpPr>
              <a:xfrm>
                <a:off x="10882222" y="2534805"/>
                <a:ext cx="27432" cy="1054473"/>
                <a:chOff x="1509097" y="741439"/>
                <a:chExt cx="27432" cy="1054473"/>
              </a:xfrm>
            </p:grpSpPr>
            <p:sp>
              <p:nvSpPr>
                <p:cNvPr id="847" name="Oval 846">
                  <a:extLst>
                    <a:ext uri="{FF2B5EF4-FFF2-40B4-BE49-F238E27FC236}">
                      <a16:creationId xmlns:a16="http://schemas.microsoft.com/office/drawing/2014/main" id="{7F54B31E-F849-4DF8-96A4-5E4776D99E6C}"/>
                    </a:ext>
                  </a:extLst>
                </p:cNvPr>
                <p:cNvSpPr/>
                <p:nvPr/>
              </p:nvSpPr>
              <p:spPr>
                <a:xfrm>
                  <a:off x="1509097" y="741439"/>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48" name="Oval 847">
                  <a:extLst>
                    <a:ext uri="{FF2B5EF4-FFF2-40B4-BE49-F238E27FC236}">
                      <a16:creationId xmlns:a16="http://schemas.microsoft.com/office/drawing/2014/main" id="{C41BCC84-3831-4692-A153-BD7BF52E184B}"/>
                    </a:ext>
                  </a:extLst>
                </p:cNvPr>
                <p:cNvSpPr/>
                <p:nvPr/>
              </p:nvSpPr>
              <p:spPr>
                <a:xfrm>
                  <a:off x="1509097" y="946847"/>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49" name="Oval 848">
                  <a:extLst>
                    <a:ext uri="{FF2B5EF4-FFF2-40B4-BE49-F238E27FC236}">
                      <a16:creationId xmlns:a16="http://schemas.microsoft.com/office/drawing/2014/main" id="{9294E482-E0E5-4D66-82C8-913B3CE6EB42}"/>
                    </a:ext>
                  </a:extLst>
                </p:cNvPr>
                <p:cNvSpPr/>
                <p:nvPr/>
              </p:nvSpPr>
              <p:spPr>
                <a:xfrm>
                  <a:off x="1509097" y="1152255"/>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50" name="Oval 849">
                  <a:extLst>
                    <a:ext uri="{FF2B5EF4-FFF2-40B4-BE49-F238E27FC236}">
                      <a16:creationId xmlns:a16="http://schemas.microsoft.com/office/drawing/2014/main" id="{BA06ADD8-0B83-4D79-A67B-793C746F9128}"/>
                    </a:ext>
                  </a:extLst>
                </p:cNvPr>
                <p:cNvSpPr/>
                <p:nvPr/>
              </p:nvSpPr>
              <p:spPr>
                <a:xfrm>
                  <a:off x="1509097" y="1357663"/>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51" name="Oval 850">
                  <a:extLst>
                    <a:ext uri="{FF2B5EF4-FFF2-40B4-BE49-F238E27FC236}">
                      <a16:creationId xmlns:a16="http://schemas.microsoft.com/office/drawing/2014/main" id="{CDF61B2D-E07C-4A55-84E8-4E4DA33C914A}"/>
                    </a:ext>
                  </a:extLst>
                </p:cNvPr>
                <p:cNvSpPr/>
                <p:nvPr/>
              </p:nvSpPr>
              <p:spPr>
                <a:xfrm>
                  <a:off x="1509097" y="1563071"/>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52" name="Oval 851">
                  <a:extLst>
                    <a:ext uri="{FF2B5EF4-FFF2-40B4-BE49-F238E27FC236}">
                      <a16:creationId xmlns:a16="http://schemas.microsoft.com/office/drawing/2014/main" id="{D549E4D5-AF22-4F9B-BF41-56F8AC8EBCEA}"/>
                    </a:ext>
                  </a:extLst>
                </p:cNvPr>
                <p:cNvSpPr/>
                <p:nvPr/>
              </p:nvSpPr>
              <p:spPr>
                <a:xfrm>
                  <a:off x="1509097" y="1768480"/>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grpSp>
          <p:grpSp>
            <p:nvGrpSpPr>
              <p:cNvPr id="428" name="Group 427">
                <a:extLst>
                  <a:ext uri="{FF2B5EF4-FFF2-40B4-BE49-F238E27FC236}">
                    <a16:creationId xmlns:a16="http://schemas.microsoft.com/office/drawing/2014/main" id="{811519F8-8D41-4B09-98D8-5161BADB3A84}"/>
                  </a:ext>
                </a:extLst>
              </p:cNvPr>
              <p:cNvGrpSpPr/>
              <p:nvPr/>
            </p:nvGrpSpPr>
            <p:grpSpPr>
              <a:xfrm>
                <a:off x="11095815" y="2534805"/>
                <a:ext cx="27432" cy="1054473"/>
                <a:chOff x="1509097" y="741439"/>
                <a:chExt cx="27432" cy="1054473"/>
              </a:xfrm>
            </p:grpSpPr>
            <p:sp>
              <p:nvSpPr>
                <p:cNvPr id="841" name="Oval 840">
                  <a:extLst>
                    <a:ext uri="{FF2B5EF4-FFF2-40B4-BE49-F238E27FC236}">
                      <a16:creationId xmlns:a16="http://schemas.microsoft.com/office/drawing/2014/main" id="{1099618E-1496-4C03-8796-81760FE523EF}"/>
                    </a:ext>
                  </a:extLst>
                </p:cNvPr>
                <p:cNvSpPr/>
                <p:nvPr/>
              </p:nvSpPr>
              <p:spPr>
                <a:xfrm>
                  <a:off x="1509097" y="741439"/>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42" name="Oval 841">
                  <a:extLst>
                    <a:ext uri="{FF2B5EF4-FFF2-40B4-BE49-F238E27FC236}">
                      <a16:creationId xmlns:a16="http://schemas.microsoft.com/office/drawing/2014/main" id="{CA3455DE-E3B0-469E-86CA-6B16214886C8}"/>
                    </a:ext>
                  </a:extLst>
                </p:cNvPr>
                <p:cNvSpPr/>
                <p:nvPr/>
              </p:nvSpPr>
              <p:spPr>
                <a:xfrm>
                  <a:off x="1509097" y="946847"/>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43" name="Oval 842">
                  <a:extLst>
                    <a:ext uri="{FF2B5EF4-FFF2-40B4-BE49-F238E27FC236}">
                      <a16:creationId xmlns:a16="http://schemas.microsoft.com/office/drawing/2014/main" id="{94BD5D3B-4575-433E-A6B1-18E5DAB54F14}"/>
                    </a:ext>
                  </a:extLst>
                </p:cNvPr>
                <p:cNvSpPr/>
                <p:nvPr/>
              </p:nvSpPr>
              <p:spPr>
                <a:xfrm>
                  <a:off x="1509097" y="1152255"/>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44" name="Oval 843">
                  <a:extLst>
                    <a:ext uri="{FF2B5EF4-FFF2-40B4-BE49-F238E27FC236}">
                      <a16:creationId xmlns:a16="http://schemas.microsoft.com/office/drawing/2014/main" id="{C38C1FC7-0FA9-4660-886B-D2838FED6ABB}"/>
                    </a:ext>
                  </a:extLst>
                </p:cNvPr>
                <p:cNvSpPr/>
                <p:nvPr/>
              </p:nvSpPr>
              <p:spPr>
                <a:xfrm>
                  <a:off x="1509097" y="1357663"/>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45" name="Oval 844">
                  <a:extLst>
                    <a:ext uri="{FF2B5EF4-FFF2-40B4-BE49-F238E27FC236}">
                      <a16:creationId xmlns:a16="http://schemas.microsoft.com/office/drawing/2014/main" id="{70E0F027-5F37-46D4-A7D3-75A20F27E7A7}"/>
                    </a:ext>
                  </a:extLst>
                </p:cNvPr>
                <p:cNvSpPr/>
                <p:nvPr/>
              </p:nvSpPr>
              <p:spPr>
                <a:xfrm>
                  <a:off x="1509097" y="1563071"/>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46" name="Oval 845">
                  <a:extLst>
                    <a:ext uri="{FF2B5EF4-FFF2-40B4-BE49-F238E27FC236}">
                      <a16:creationId xmlns:a16="http://schemas.microsoft.com/office/drawing/2014/main" id="{670C6546-FB2C-4022-BA9E-DDA0709541AB}"/>
                    </a:ext>
                  </a:extLst>
                </p:cNvPr>
                <p:cNvSpPr/>
                <p:nvPr/>
              </p:nvSpPr>
              <p:spPr>
                <a:xfrm>
                  <a:off x="1509097" y="1768480"/>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grpSp>
          <p:grpSp>
            <p:nvGrpSpPr>
              <p:cNvPr id="429" name="Group 428">
                <a:extLst>
                  <a:ext uri="{FF2B5EF4-FFF2-40B4-BE49-F238E27FC236}">
                    <a16:creationId xmlns:a16="http://schemas.microsoft.com/office/drawing/2014/main" id="{BBD71644-5DB1-413F-A1B9-518FC53401C4}"/>
                  </a:ext>
                </a:extLst>
              </p:cNvPr>
              <p:cNvGrpSpPr/>
              <p:nvPr/>
            </p:nvGrpSpPr>
            <p:grpSpPr>
              <a:xfrm>
                <a:off x="11309410" y="2534805"/>
                <a:ext cx="27432" cy="1054473"/>
                <a:chOff x="1509097" y="741439"/>
                <a:chExt cx="27432" cy="1054473"/>
              </a:xfrm>
            </p:grpSpPr>
            <p:sp>
              <p:nvSpPr>
                <p:cNvPr id="835" name="Oval 834">
                  <a:extLst>
                    <a:ext uri="{FF2B5EF4-FFF2-40B4-BE49-F238E27FC236}">
                      <a16:creationId xmlns:a16="http://schemas.microsoft.com/office/drawing/2014/main" id="{03023446-E3DA-4691-A099-91C97C8A75A7}"/>
                    </a:ext>
                  </a:extLst>
                </p:cNvPr>
                <p:cNvSpPr/>
                <p:nvPr/>
              </p:nvSpPr>
              <p:spPr>
                <a:xfrm>
                  <a:off x="1509097" y="741439"/>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36" name="Oval 835">
                  <a:extLst>
                    <a:ext uri="{FF2B5EF4-FFF2-40B4-BE49-F238E27FC236}">
                      <a16:creationId xmlns:a16="http://schemas.microsoft.com/office/drawing/2014/main" id="{91073BE6-7C86-4674-BE63-12C28C3E348D}"/>
                    </a:ext>
                  </a:extLst>
                </p:cNvPr>
                <p:cNvSpPr/>
                <p:nvPr/>
              </p:nvSpPr>
              <p:spPr>
                <a:xfrm>
                  <a:off x="1509097" y="946847"/>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37" name="Oval 836">
                  <a:extLst>
                    <a:ext uri="{FF2B5EF4-FFF2-40B4-BE49-F238E27FC236}">
                      <a16:creationId xmlns:a16="http://schemas.microsoft.com/office/drawing/2014/main" id="{5986E27E-E11F-40C3-8E4E-5D4D3643F623}"/>
                    </a:ext>
                  </a:extLst>
                </p:cNvPr>
                <p:cNvSpPr/>
                <p:nvPr/>
              </p:nvSpPr>
              <p:spPr>
                <a:xfrm>
                  <a:off x="1509097" y="1152255"/>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38" name="Oval 837">
                  <a:extLst>
                    <a:ext uri="{FF2B5EF4-FFF2-40B4-BE49-F238E27FC236}">
                      <a16:creationId xmlns:a16="http://schemas.microsoft.com/office/drawing/2014/main" id="{DC25F3F6-435D-4C1A-ACC6-6375585C4583}"/>
                    </a:ext>
                  </a:extLst>
                </p:cNvPr>
                <p:cNvSpPr/>
                <p:nvPr/>
              </p:nvSpPr>
              <p:spPr>
                <a:xfrm>
                  <a:off x="1509097" y="1357663"/>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39" name="Oval 838">
                  <a:extLst>
                    <a:ext uri="{FF2B5EF4-FFF2-40B4-BE49-F238E27FC236}">
                      <a16:creationId xmlns:a16="http://schemas.microsoft.com/office/drawing/2014/main" id="{5AFAAE65-4636-48C4-9E6D-670D0D4414F2}"/>
                    </a:ext>
                  </a:extLst>
                </p:cNvPr>
                <p:cNvSpPr/>
                <p:nvPr/>
              </p:nvSpPr>
              <p:spPr>
                <a:xfrm>
                  <a:off x="1509097" y="1563071"/>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40" name="Oval 839">
                  <a:extLst>
                    <a:ext uri="{FF2B5EF4-FFF2-40B4-BE49-F238E27FC236}">
                      <a16:creationId xmlns:a16="http://schemas.microsoft.com/office/drawing/2014/main" id="{57423774-88C0-4529-9AC8-400F7B41BD95}"/>
                    </a:ext>
                  </a:extLst>
                </p:cNvPr>
                <p:cNvSpPr/>
                <p:nvPr/>
              </p:nvSpPr>
              <p:spPr>
                <a:xfrm>
                  <a:off x="1509097" y="1768480"/>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grpSp>
          <p:grpSp>
            <p:nvGrpSpPr>
              <p:cNvPr id="430" name="Group 429">
                <a:extLst>
                  <a:ext uri="{FF2B5EF4-FFF2-40B4-BE49-F238E27FC236}">
                    <a16:creationId xmlns:a16="http://schemas.microsoft.com/office/drawing/2014/main" id="{0997B9DD-639E-4B21-8831-DD18698F7529}"/>
                  </a:ext>
                </a:extLst>
              </p:cNvPr>
              <p:cNvGrpSpPr/>
              <p:nvPr/>
            </p:nvGrpSpPr>
            <p:grpSpPr>
              <a:xfrm>
                <a:off x="11938708" y="2580525"/>
                <a:ext cx="27432" cy="643656"/>
                <a:chOff x="1509097" y="741439"/>
                <a:chExt cx="27432" cy="643656"/>
              </a:xfrm>
            </p:grpSpPr>
            <p:sp>
              <p:nvSpPr>
                <p:cNvPr id="831" name="Oval 830">
                  <a:extLst>
                    <a:ext uri="{FF2B5EF4-FFF2-40B4-BE49-F238E27FC236}">
                      <a16:creationId xmlns:a16="http://schemas.microsoft.com/office/drawing/2014/main" id="{246DDA31-3C21-475B-8CE1-FBDC9D5150D2}"/>
                    </a:ext>
                  </a:extLst>
                </p:cNvPr>
                <p:cNvSpPr/>
                <p:nvPr/>
              </p:nvSpPr>
              <p:spPr>
                <a:xfrm>
                  <a:off x="1509097" y="741439"/>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32" name="Oval 831">
                  <a:extLst>
                    <a:ext uri="{FF2B5EF4-FFF2-40B4-BE49-F238E27FC236}">
                      <a16:creationId xmlns:a16="http://schemas.microsoft.com/office/drawing/2014/main" id="{6D74610F-3BD3-45EA-BF2B-C61B03922599}"/>
                    </a:ext>
                  </a:extLst>
                </p:cNvPr>
                <p:cNvSpPr/>
                <p:nvPr/>
              </p:nvSpPr>
              <p:spPr>
                <a:xfrm>
                  <a:off x="1509097" y="946847"/>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33" name="Oval 832">
                  <a:extLst>
                    <a:ext uri="{FF2B5EF4-FFF2-40B4-BE49-F238E27FC236}">
                      <a16:creationId xmlns:a16="http://schemas.microsoft.com/office/drawing/2014/main" id="{9B9735A6-BE0D-4446-8EC5-544690189CA4}"/>
                    </a:ext>
                  </a:extLst>
                </p:cNvPr>
                <p:cNvSpPr/>
                <p:nvPr/>
              </p:nvSpPr>
              <p:spPr>
                <a:xfrm>
                  <a:off x="1509097" y="1152255"/>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834" name="Oval 833">
                  <a:extLst>
                    <a:ext uri="{FF2B5EF4-FFF2-40B4-BE49-F238E27FC236}">
                      <a16:creationId xmlns:a16="http://schemas.microsoft.com/office/drawing/2014/main" id="{C76EBDEB-922C-4FB6-9809-FCC90A2563D3}"/>
                    </a:ext>
                  </a:extLst>
                </p:cNvPr>
                <p:cNvSpPr/>
                <p:nvPr/>
              </p:nvSpPr>
              <p:spPr>
                <a:xfrm>
                  <a:off x="1509097" y="1357663"/>
                  <a:ext cx="27432" cy="27432"/>
                </a:xfrm>
                <a:prstGeom prst="ellipse">
                  <a:avLst/>
                </a:prstGeom>
                <a:solidFill>
                  <a:schemeClr val="tx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grpSp>
          <p:sp>
            <p:nvSpPr>
              <p:cNvPr id="877" name="Isosceles Triangle 22">
                <a:extLst>
                  <a:ext uri="{FF2B5EF4-FFF2-40B4-BE49-F238E27FC236}">
                    <a16:creationId xmlns:a16="http://schemas.microsoft.com/office/drawing/2014/main" id="{F44DC147-EFA1-4A55-86F4-C4EE7A9BF6FF}"/>
                  </a:ext>
                </a:extLst>
              </p:cNvPr>
              <p:cNvSpPr/>
              <p:nvPr/>
            </p:nvSpPr>
            <p:spPr>
              <a:xfrm rot="16200000">
                <a:off x="10255281" y="3512816"/>
                <a:ext cx="580031" cy="527530"/>
              </a:xfrm>
              <a:custGeom>
                <a:avLst/>
                <a:gdLst>
                  <a:gd name="connsiteX0" fmla="*/ 0 w 857250"/>
                  <a:gd name="connsiteY0" fmla="*/ 739009 h 739009"/>
                  <a:gd name="connsiteX1" fmla="*/ 428625 w 857250"/>
                  <a:gd name="connsiteY1" fmla="*/ 0 h 739009"/>
                  <a:gd name="connsiteX2" fmla="*/ 857250 w 857250"/>
                  <a:gd name="connsiteY2" fmla="*/ 739009 h 739009"/>
                  <a:gd name="connsiteX3" fmla="*/ 0 w 857250"/>
                  <a:gd name="connsiteY3" fmla="*/ 739009 h 739009"/>
                  <a:gd name="connsiteX0" fmla="*/ 0 w 857250"/>
                  <a:gd name="connsiteY0" fmla="*/ 739009 h 739009"/>
                  <a:gd name="connsiteX1" fmla="*/ 428625 w 857250"/>
                  <a:gd name="connsiteY1" fmla="*/ 0 h 739009"/>
                  <a:gd name="connsiteX2" fmla="*/ 490538 w 857250"/>
                  <a:gd name="connsiteY2" fmla="*/ 104775 h 739009"/>
                  <a:gd name="connsiteX3" fmla="*/ 857250 w 857250"/>
                  <a:gd name="connsiteY3" fmla="*/ 739009 h 739009"/>
                  <a:gd name="connsiteX4" fmla="*/ 0 w 857250"/>
                  <a:gd name="connsiteY4" fmla="*/ 739009 h 739009"/>
                  <a:gd name="connsiteX0" fmla="*/ 0 w 857250"/>
                  <a:gd name="connsiteY0" fmla="*/ 739009 h 739009"/>
                  <a:gd name="connsiteX1" fmla="*/ 369094 w 857250"/>
                  <a:gd name="connsiteY1" fmla="*/ 104775 h 739009"/>
                  <a:gd name="connsiteX2" fmla="*/ 428625 w 857250"/>
                  <a:gd name="connsiteY2" fmla="*/ 0 h 739009"/>
                  <a:gd name="connsiteX3" fmla="*/ 490538 w 857250"/>
                  <a:gd name="connsiteY3" fmla="*/ 104775 h 739009"/>
                  <a:gd name="connsiteX4" fmla="*/ 857250 w 857250"/>
                  <a:gd name="connsiteY4" fmla="*/ 739009 h 739009"/>
                  <a:gd name="connsiteX5" fmla="*/ 0 w 857250"/>
                  <a:gd name="connsiteY5" fmla="*/ 739009 h 739009"/>
                  <a:gd name="connsiteX0" fmla="*/ 0 w 857250"/>
                  <a:gd name="connsiteY0" fmla="*/ 739009 h 739009"/>
                  <a:gd name="connsiteX1" fmla="*/ 61913 w 857250"/>
                  <a:gd name="connsiteY1" fmla="*/ 633412 h 739009"/>
                  <a:gd name="connsiteX2" fmla="*/ 369094 w 857250"/>
                  <a:gd name="connsiteY2" fmla="*/ 104775 h 739009"/>
                  <a:gd name="connsiteX3" fmla="*/ 428625 w 857250"/>
                  <a:gd name="connsiteY3" fmla="*/ 0 h 739009"/>
                  <a:gd name="connsiteX4" fmla="*/ 490538 w 857250"/>
                  <a:gd name="connsiteY4" fmla="*/ 104775 h 739009"/>
                  <a:gd name="connsiteX5" fmla="*/ 857250 w 857250"/>
                  <a:gd name="connsiteY5" fmla="*/ 739009 h 739009"/>
                  <a:gd name="connsiteX6" fmla="*/ 0 w 857250"/>
                  <a:gd name="connsiteY6" fmla="*/ 739009 h 739009"/>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857250 w 857250"/>
                  <a:gd name="connsiteY5" fmla="*/ 739009 h 740568"/>
                  <a:gd name="connsiteX6" fmla="*/ 114300 w 857250"/>
                  <a:gd name="connsiteY6" fmla="*/ 740568 h 740568"/>
                  <a:gd name="connsiteX7" fmla="*/ 0 w 857250"/>
                  <a:gd name="connsiteY7"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114300 w 857250"/>
                  <a:gd name="connsiteY7" fmla="*/ 740568 h 740568"/>
                  <a:gd name="connsiteX8" fmla="*/ 0 w 857250"/>
                  <a:gd name="connsiteY8"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750094 w 857250"/>
                  <a:gd name="connsiteY7" fmla="*/ 738186 h 740568"/>
                  <a:gd name="connsiteX8" fmla="*/ 114300 w 857250"/>
                  <a:gd name="connsiteY8" fmla="*/ 740568 h 740568"/>
                  <a:gd name="connsiteX9" fmla="*/ 0 w 857250"/>
                  <a:gd name="connsiteY9" fmla="*/ 739009 h 740568"/>
                  <a:gd name="connsiteX0" fmla="*/ 0 w 797719"/>
                  <a:gd name="connsiteY0" fmla="*/ 739009 h 740568"/>
                  <a:gd name="connsiteX1" fmla="*/ 61913 w 797719"/>
                  <a:gd name="connsiteY1" fmla="*/ 633412 h 740568"/>
                  <a:gd name="connsiteX2" fmla="*/ 369094 w 797719"/>
                  <a:gd name="connsiteY2" fmla="*/ 104775 h 740568"/>
                  <a:gd name="connsiteX3" fmla="*/ 428625 w 797719"/>
                  <a:gd name="connsiteY3" fmla="*/ 0 h 740568"/>
                  <a:gd name="connsiteX4" fmla="*/ 490538 w 797719"/>
                  <a:gd name="connsiteY4" fmla="*/ 104775 h 740568"/>
                  <a:gd name="connsiteX5" fmla="*/ 797719 w 797719"/>
                  <a:gd name="connsiteY5" fmla="*/ 638174 h 740568"/>
                  <a:gd name="connsiteX6" fmla="*/ 750094 w 797719"/>
                  <a:gd name="connsiteY6" fmla="*/ 738186 h 740568"/>
                  <a:gd name="connsiteX7" fmla="*/ 114300 w 797719"/>
                  <a:gd name="connsiteY7" fmla="*/ 740568 h 740568"/>
                  <a:gd name="connsiteX8" fmla="*/ 0 w 797719"/>
                  <a:gd name="connsiteY8" fmla="*/ 739009 h 740568"/>
                  <a:gd name="connsiteX0" fmla="*/ 0 w 812104"/>
                  <a:gd name="connsiteY0" fmla="*/ 739009 h 740568"/>
                  <a:gd name="connsiteX1" fmla="*/ 61913 w 812104"/>
                  <a:gd name="connsiteY1" fmla="*/ 633412 h 740568"/>
                  <a:gd name="connsiteX2" fmla="*/ 369094 w 812104"/>
                  <a:gd name="connsiteY2" fmla="*/ 104775 h 740568"/>
                  <a:gd name="connsiteX3" fmla="*/ 428625 w 812104"/>
                  <a:gd name="connsiteY3" fmla="*/ 0 h 740568"/>
                  <a:gd name="connsiteX4" fmla="*/ 490538 w 812104"/>
                  <a:gd name="connsiteY4" fmla="*/ 104775 h 740568"/>
                  <a:gd name="connsiteX5" fmla="*/ 797719 w 812104"/>
                  <a:gd name="connsiteY5" fmla="*/ 638174 h 740568"/>
                  <a:gd name="connsiteX6" fmla="*/ 750094 w 812104"/>
                  <a:gd name="connsiteY6" fmla="*/ 738186 h 740568"/>
                  <a:gd name="connsiteX7" fmla="*/ 114300 w 812104"/>
                  <a:gd name="connsiteY7" fmla="*/ 740568 h 740568"/>
                  <a:gd name="connsiteX8" fmla="*/ 0 w 812104"/>
                  <a:gd name="connsiteY8" fmla="*/ 739009 h 740568"/>
                  <a:gd name="connsiteX0" fmla="*/ 0 w 818915"/>
                  <a:gd name="connsiteY0" fmla="*/ 739009 h 740568"/>
                  <a:gd name="connsiteX1" fmla="*/ 61913 w 818915"/>
                  <a:gd name="connsiteY1" fmla="*/ 633412 h 740568"/>
                  <a:gd name="connsiteX2" fmla="*/ 369094 w 818915"/>
                  <a:gd name="connsiteY2" fmla="*/ 104775 h 740568"/>
                  <a:gd name="connsiteX3" fmla="*/ 428625 w 818915"/>
                  <a:gd name="connsiteY3" fmla="*/ 0 h 740568"/>
                  <a:gd name="connsiteX4" fmla="*/ 490538 w 818915"/>
                  <a:gd name="connsiteY4" fmla="*/ 104775 h 740568"/>
                  <a:gd name="connsiteX5" fmla="*/ 797719 w 818915"/>
                  <a:gd name="connsiteY5" fmla="*/ 638174 h 740568"/>
                  <a:gd name="connsiteX6" fmla="*/ 750094 w 818915"/>
                  <a:gd name="connsiteY6" fmla="*/ 738186 h 740568"/>
                  <a:gd name="connsiteX7" fmla="*/ 114300 w 818915"/>
                  <a:gd name="connsiteY7" fmla="*/ 740568 h 740568"/>
                  <a:gd name="connsiteX8" fmla="*/ 0 w 818915"/>
                  <a:gd name="connsiteY8" fmla="*/ 739009 h 740568"/>
                  <a:gd name="connsiteX0" fmla="*/ 52387 w 757002"/>
                  <a:gd name="connsiteY0" fmla="*/ 740568 h 740568"/>
                  <a:gd name="connsiteX1" fmla="*/ 0 w 757002"/>
                  <a:gd name="connsiteY1" fmla="*/ 633412 h 740568"/>
                  <a:gd name="connsiteX2" fmla="*/ 307181 w 757002"/>
                  <a:gd name="connsiteY2" fmla="*/ 104775 h 740568"/>
                  <a:gd name="connsiteX3" fmla="*/ 366712 w 757002"/>
                  <a:gd name="connsiteY3" fmla="*/ 0 h 740568"/>
                  <a:gd name="connsiteX4" fmla="*/ 428625 w 757002"/>
                  <a:gd name="connsiteY4" fmla="*/ 104775 h 740568"/>
                  <a:gd name="connsiteX5" fmla="*/ 735806 w 757002"/>
                  <a:gd name="connsiteY5" fmla="*/ 638174 h 740568"/>
                  <a:gd name="connsiteX6" fmla="*/ 688181 w 757002"/>
                  <a:gd name="connsiteY6" fmla="*/ 738186 h 740568"/>
                  <a:gd name="connsiteX7" fmla="*/ 52387 w 757002"/>
                  <a:gd name="connsiteY7" fmla="*/ 740568 h 740568"/>
                  <a:gd name="connsiteX0" fmla="*/ 61912 w 766527"/>
                  <a:gd name="connsiteY0" fmla="*/ 740568 h 740568"/>
                  <a:gd name="connsiteX1" fmla="*/ 0 w 766527"/>
                  <a:gd name="connsiteY1" fmla="*/ 645318 h 740568"/>
                  <a:gd name="connsiteX2" fmla="*/ 316706 w 766527"/>
                  <a:gd name="connsiteY2" fmla="*/ 104775 h 740568"/>
                  <a:gd name="connsiteX3" fmla="*/ 376237 w 766527"/>
                  <a:gd name="connsiteY3" fmla="*/ 0 h 740568"/>
                  <a:gd name="connsiteX4" fmla="*/ 438150 w 766527"/>
                  <a:gd name="connsiteY4" fmla="*/ 104775 h 740568"/>
                  <a:gd name="connsiteX5" fmla="*/ 745331 w 766527"/>
                  <a:gd name="connsiteY5" fmla="*/ 638174 h 740568"/>
                  <a:gd name="connsiteX6" fmla="*/ 697706 w 766527"/>
                  <a:gd name="connsiteY6" fmla="*/ 738186 h 740568"/>
                  <a:gd name="connsiteX7" fmla="*/ 61912 w 766527"/>
                  <a:gd name="connsiteY7" fmla="*/ 740568 h 740568"/>
                  <a:gd name="connsiteX0" fmla="*/ 71526 w 776141"/>
                  <a:gd name="connsiteY0" fmla="*/ 740568 h 740568"/>
                  <a:gd name="connsiteX1" fmla="*/ 9614 w 776141"/>
                  <a:gd name="connsiteY1" fmla="*/ 645318 h 740568"/>
                  <a:gd name="connsiteX2" fmla="*/ 326320 w 776141"/>
                  <a:gd name="connsiteY2" fmla="*/ 104775 h 740568"/>
                  <a:gd name="connsiteX3" fmla="*/ 385851 w 776141"/>
                  <a:gd name="connsiteY3" fmla="*/ 0 h 740568"/>
                  <a:gd name="connsiteX4" fmla="*/ 447764 w 776141"/>
                  <a:gd name="connsiteY4" fmla="*/ 104775 h 740568"/>
                  <a:gd name="connsiteX5" fmla="*/ 754945 w 776141"/>
                  <a:gd name="connsiteY5" fmla="*/ 638174 h 740568"/>
                  <a:gd name="connsiteX6" fmla="*/ 707320 w 776141"/>
                  <a:gd name="connsiteY6" fmla="*/ 738186 h 740568"/>
                  <a:gd name="connsiteX7" fmla="*/ 71526 w 776141"/>
                  <a:gd name="connsiteY7" fmla="*/ 740568 h 740568"/>
                  <a:gd name="connsiteX0" fmla="*/ 78919 w 783534"/>
                  <a:gd name="connsiteY0" fmla="*/ 740568 h 740614"/>
                  <a:gd name="connsiteX1" fmla="*/ 17007 w 783534"/>
                  <a:gd name="connsiteY1" fmla="*/ 645318 h 740614"/>
                  <a:gd name="connsiteX2" fmla="*/ 333713 w 783534"/>
                  <a:gd name="connsiteY2" fmla="*/ 104775 h 740614"/>
                  <a:gd name="connsiteX3" fmla="*/ 393244 w 783534"/>
                  <a:gd name="connsiteY3" fmla="*/ 0 h 740614"/>
                  <a:gd name="connsiteX4" fmla="*/ 455157 w 783534"/>
                  <a:gd name="connsiteY4" fmla="*/ 104775 h 740614"/>
                  <a:gd name="connsiteX5" fmla="*/ 762338 w 783534"/>
                  <a:gd name="connsiteY5" fmla="*/ 638174 h 740614"/>
                  <a:gd name="connsiteX6" fmla="*/ 714713 w 783534"/>
                  <a:gd name="connsiteY6" fmla="*/ 738186 h 740614"/>
                  <a:gd name="connsiteX7" fmla="*/ 78919 w 783534"/>
                  <a:gd name="connsiteY7" fmla="*/ 740568 h 740614"/>
                  <a:gd name="connsiteX0" fmla="*/ 78919 w 783534"/>
                  <a:gd name="connsiteY0" fmla="*/ 635793 h 635839"/>
                  <a:gd name="connsiteX1" fmla="*/ 17007 w 783534"/>
                  <a:gd name="connsiteY1" fmla="*/ 540543 h 635839"/>
                  <a:gd name="connsiteX2" fmla="*/ 333713 w 783534"/>
                  <a:gd name="connsiteY2" fmla="*/ 0 h 635839"/>
                  <a:gd name="connsiteX3" fmla="*/ 455157 w 783534"/>
                  <a:gd name="connsiteY3" fmla="*/ 0 h 635839"/>
                  <a:gd name="connsiteX4" fmla="*/ 762338 w 783534"/>
                  <a:gd name="connsiteY4" fmla="*/ 533399 h 635839"/>
                  <a:gd name="connsiteX5" fmla="*/ 714713 w 783534"/>
                  <a:gd name="connsiteY5" fmla="*/ 633411 h 635839"/>
                  <a:gd name="connsiteX6" fmla="*/ 78919 w 783534"/>
                  <a:gd name="connsiteY6" fmla="*/ 635793 h 635839"/>
                  <a:gd name="connsiteX0" fmla="*/ 78919 w 783534"/>
                  <a:gd name="connsiteY0" fmla="*/ 667542 h 667588"/>
                  <a:gd name="connsiteX1" fmla="*/ 17007 w 783534"/>
                  <a:gd name="connsiteY1" fmla="*/ 572292 h 667588"/>
                  <a:gd name="connsiteX2" fmla="*/ 333713 w 783534"/>
                  <a:gd name="connsiteY2" fmla="*/ 31749 h 667588"/>
                  <a:gd name="connsiteX3" fmla="*/ 455157 w 783534"/>
                  <a:gd name="connsiteY3" fmla="*/ 31749 h 667588"/>
                  <a:gd name="connsiteX4" fmla="*/ 762338 w 783534"/>
                  <a:gd name="connsiteY4" fmla="*/ 565148 h 667588"/>
                  <a:gd name="connsiteX5" fmla="*/ 714713 w 783534"/>
                  <a:gd name="connsiteY5" fmla="*/ 665160 h 667588"/>
                  <a:gd name="connsiteX6" fmla="*/ 78919 w 783534"/>
                  <a:gd name="connsiteY6" fmla="*/ 667542 h 667588"/>
                  <a:gd name="connsiteX0" fmla="*/ 78919 w 783534"/>
                  <a:gd name="connsiteY0" fmla="*/ 691171 h 691217"/>
                  <a:gd name="connsiteX1" fmla="*/ 17007 w 783534"/>
                  <a:gd name="connsiteY1" fmla="*/ 595921 h 691217"/>
                  <a:gd name="connsiteX2" fmla="*/ 333713 w 783534"/>
                  <a:gd name="connsiteY2" fmla="*/ 55378 h 691217"/>
                  <a:gd name="connsiteX3" fmla="*/ 455157 w 783534"/>
                  <a:gd name="connsiteY3" fmla="*/ 55378 h 691217"/>
                  <a:gd name="connsiteX4" fmla="*/ 762338 w 783534"/>
                  <a:gd name="connsiteY4" fmla="*/ 588777 h 691217"/>
                  <a:gd name="connsiteX5" fmla="*/ 714713 w 783534"/>
                  <a:gd name="connsiteY5" fmla="*/ 688789 h 691217"/>
                  <a:gd name="connsiteX6" fmla="*/ 78919 w 783534"/>
                  <a:gd name="connsiteY6" fmla="*/ 691171 h 691217"/>
                  <a:gd name="connsiteX0" fmla="*/ 78919 w 783534"/>
                  <a:gd name="connsiteY0" fmla="*/ 693838 h 693884"/>
                  <a:gd name="connsiteX1" fmla="*/ 17007 w 783534"/>
                  <a:gd name="connsiteY1" fmla="*/ 598588 h 693884"/>
                  <a:gd name="connsiteX2" fmla="*/ 333713 w 783534"/>
                  <a:gd name="connsiteY2" fmla="*/ 58045 h 693884"/>
                  <a:gd name="connsiteX3" fmla="*/ 455157 w 783534"/>
                  <a:gd name="connsiteY3" fmla="*/ 58045 h 693884"/>
                  <a:gd name="connsiteX4" fmla="*/ 762338 w 783534"/>
                  <a:gd name="connsiteY4" fmla="*/ 591444 h 693884"/>
                  <a:gd name="connsiteX5" fmla="*/ 714713 w 783534"/>
                  <a:gd name="connsiteY5" fmla="*/ 691456 h 693884"/>
                  <a:gd name="connsiteX6" fmla="*/ 78919 w 783534"/>
                  <a:gd name="connsiteY6" fmla="*/ 693838 h 69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534" h="693884">
                    <a:moveTo>
                      <a:pt x="78919" y="693838"/>
                    </a:moveTo>
                    <a:cubicBezTo>
                      <a:pt x="3514" y="695425"/>
                      <a:pt x="-19506" y="656532"/>
                      <a:pt x="17007" y="598588"/>
                    </a:cubicBezTo>
                    <a:lnTo>
                      <a:pt x="333713" y="58045"/>
                    </a:lnTo>
                    <a:cubicBezTo>
                      <a:pt x="374195" y="-20535"/>
                      <a:pt x="417057" y="-18155"/>
                      <a:pt x="455157" y="58045"/>
                    </a:cubicBezTo>
                    <a:lnTo>
                      <a:pt x="762338" y="591444"/>
                    </a:lnTo>
                    <a:cubicBezTo>
                      <a:pt x="808375" y="648593"/>
                      <a:pt x="773450" y="691457"/>
                      <a:pt x="714713" y="691456"/>
                    </a:cubicBezTo>
                    <a:lnTo>
                      <a:pt x="78919" y="693838"/>
                    </a:lnTo>
                    <a:close/>
                  </a:path>
                </a:pathLst>
              </a:custGeom>
              <a:solidFill>
                <a:schemeClr val="accent2">
                  <a:alpha val="80000"/>
                </a:schemeClr>
              </a:solidFill>
              <a:ln>
                <a:noFill/>
              </a:ln>
            </p:spPr>
            <p:txBody>
              <a:bodyPr vert="horz" wrap="square" lIns="91440" tIns="45720" rIns="91440" bIns="45720" numCol="1" anchor="t" anchorCtr="0" compatLnSpc="1">
                <a:prstTxWarp prst="textNoShape">
                  <a:avLst/>
                </a:prstTxWarp>
              </a:bodyPr>
              <a:lstStyle/>
              <a:p>
                <a:endParaRPr lang="en-US"/>
              </a:p>
            </p:txBody>
          </p:sp>
          <p:pic>
            <p:nvPicPr>
              <p:cNvPr id="559" name="Picture 558" descr="A close up of a fish&#10;&#10;Description automatically generated">
                <a:extLst>
                  <a:ext uri="{FF2B5EF4-FFF2-40B4-BE49-F238E27FC236}">
                    <a16:creationId xmlns:a16="http://schemas.microsoft.com/office/drawing/2014/main" id="{654E8108-A194-481A-8440-674D53EE101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599457" y="2268160"/>
                <a:ext cx="2515596" cy="1337493"/>
              </a:xfrm>
              <a:prstGeom prst="rect">
                <a:avLst/>
              </a:prstGeom>
            </p:spPr>
          </p:pic>
          <p:pic>
            <p:nvPicPr>
              <p:cNvPr id="561" name="Picture 560" descr="A picture containing tableware, spoon, fish&#10;&#10;Description automatically generated">
                <a:extLst>
                  <a:ext uri="{FF2B5EF4-FFF2-40B4-BE49-F238E27FC236}">
                    <a16:creationId xmlns:a16="http://schemas.microsoft.com/office/drawing/2014/main" id="{92D4A6F7-FBDF-4343-BFF2-F255A8D0190A}"/>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302273" y="3788454"/>
                <a:ext cx="2000227" cy="605051"/>
              </a:xfrm>
              <a:prstGeom prst="rect">
                <a:avLst/>
              </a:prstGeom>
            </p:spPr>
          </p:pic>
        </p:grpSp>
      </p:grpSp>
      <p:sp>
        <p:nvSpPr>
          <p:cNvPr id="10" name="Rectangle 9">
            <a:extLst>
              <a:ext uri="{FF2B5EF4-FFF2-40B4-BE49-F238E27FC236}">
                <a16:creationId xmlns:a16="http://schemas.microsoft.com/office/drawing/2014/main" id="{25F059CC-CAE4-4721-BAE0-FCD35D3B50F4}"/>
              </a:ext>
            </a:extLst>
          </p:cNvPr>
          <p:cNvSpPr/>
          <p:nvPr/>
        </p:nvSpPr>
        <p:spPr>
          <a:xfrm>
            <a:off x="1427195" y="4027378"/>
            <a:ext cx="2354264" cy="276999"/>
          </a:xfrm>
          <a:prstGeom prst="rect">
            <a:avLst/>
          </a:prstGeom>
          <a:noFill/>
          <a:ln w="25400" cap="flat" cmpd="sng" algn="ctr">
            <a:noFill/>
            <a:prstDash val="solid"/>
          </a:ln>
          <a:effectLst/>
        </p:spPr>
        <p:txBody>
          <a:bodyPr wrap="square" lIns="0" tIns="0" rIns="0" bIns="0" rtlCol="0" anchor="ctr">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rPr>
              <a:t>Digital transformation</a:t>
            </a:r>
          </a:p>
        </p:txBody>
      </p:sp>
      <p:grpSp>
        <p:nvGrpSpPr>
          <p:cNvPr id="65" name="Group 64">
            <a:extLst>
              <a:ext uri="{FF2B5EF4-FFF2-40B4-BE49-F238E27FC236}">
                <a16:creationId xmlns:a16="http://schemas.microsoft.com/office/drawing/2014/main" id="{AE283D8A-E8FC-405A-AF84-7D6FF09AA8D9}"/>
              </a:ext>
            </a:extLst>
          </p:cNvPr>
          <p:cNvGrpSpPr/>
          <p:nvPr/>
        </p:nvGrpSpPr>
        <p:grpSpPr>
          <a:xfrm>
            <a:off x="494039" y="3768687"/>
            <a:ext cx="706630" cy="794381"/>
            <a:chOff x="11110249" y="290594"/>
            <a:chExt cx="3496226" cy="3930396"/>
          </a:xfrm>
        </p:grpSpPr>
        <p:sp>
          <p:nvSpPr>
            <p:cNvPr id="880" name="Isosceles Triangle 22">
              <a:extLst>
                <a:ext uri="{FF2B5EF4-FFF2-40B4-BE49-F238E27FC236}">
                  <a16:creationId xmlns:a16="http://schemas.microsoft.com/office/drawing/2014/main" id="{0B2DA150-905B-4FED-A133-C90626EAF5DC}"/>
                </a:ext>
              </a:extLst>
            </p:cNvPr>
            <p:cNvSpPr/>
            <p:nvPr/>
          </p:nvSpPr>
          <p:spPr>
            <a:xfrm rot="5400000">
              <a:off x="13660902" y="1143100"/>
              <a:ext cx="353612" cy="325361"/>
            </a:xfrm>
            <a:custGeom>
              <a:avLst/>
              <a:gdLst>
                <a:gd name="connsiteX0" fmla="*/ 0 w 857250"/>
                <a:gd name="connsiteY0" fmla="*/ 739009 h 739009"/>
                <a:gd name="connsiteX1" fmla="*/ 428625 w 857250"/>
                <a:gd name="connsiteY1" fmla="*/ 0 h 739009"/>
                <a:gd name="connsiteX2" fmla="*/ 857250 w 857250"/>
                <a:gd name="connsiteY2" fmla="*/ 739009 h 739009"/>
                <a:gd name="connsiteX3" fmla="*/ 0 w 857250"/>
                <a:gd name="connsiteY3" fmla="*/ 739009 h 739009"/>
                <a:gd name="connsiteX0" fmla="*/ 0 w 857250"/>
                <a:gd name="connsiteY0" fmla="*/ 739009 h 739009"/>
                <a:gd name="connsiteX1" fmla="*/ 428625 w 857250"/>
                <a:gd name="connsiteY1" fmla="*/ 0 h 739009"/>
                <a:gd name="connsiteX2" fmla="*/ 490538 w 857250"/>
                <a:gd name="connsiteY2" fmla="*/ 104775 h 739009"/>
                <a:gd name="connsiteX3" fmla="*/ 857250 w 857250"/>
                <a:gd name="connsiteY3" fmla="*/ 739009 h 739009"/>
                <a:gd name="connsiteX4" fmla="*/ 0 w 857250"/>
                <a:gd name="connsiteY4" fmla="*/ 739009 h 739009"/>
                <a:gd name="connsiteX0" fmla="*/ 0 w 857250"/>
                <a:gd name="connsiteY0" fmla="*/ 739009 h 739009"/>
                <a:gd name="connsiteX1" fmla="*/ 369094 w 857250"/>
                <a:gd name="connsiteY1" fmla="*/ 104775 h 739009"/>
                <a:gd name="connsiteX2" fmla="*/ 428625 w 857250"/>
                <a:gd name="connsiteY2" fmla="*/ 0 h 739009"/>
                <a:gd name="connsiteX3" fmla="*/ 490538 w 857250"/>
                <a:gd name="connsiteY3" fmla="*/ 104775 h 739009"/>
                <a:gd name="connsiteX4" fmla="*/ 857250 w 857250"/>
                <a:gd name="connsiteY4" fmla="*/ 739009 h 739009"/>
                <a:gd name="connsiteX5" fmla="*/ 0 w 857250"/>
                <a:gd name="connsiteY5" fmla="*/ 739009 h 739009"/>
                <a:gd name="connsiteX0" fmla="*/ 0 w 857250"/>
                <a:gd name="connsiteY0" fmla="*/ 739009 h 739009"/>
                <a:gd name="connsiteX1" fmla="*/ 61913 w 857250"/>
                <a:gd name="connsiteY1" fmla="*/ 633412 h 739009"/>
                <a:gd name="connsiteX2" fmla="*/ 369094 w 857250"/>
                <a:gd name="connsiteY2" fmla="*/ 104775 h 739009"/>
                <a:gd name="connsiteX3" fmla="*/ 428625 w 857250"/>
                <a:gd name="connsiteY3" fmla="*/ 0 h 739009"/>
                <a:gd name="connsiteX4" fmla="*/ 490538 w 857250"/>
                <a:gd name="connsiteY4" fmla="*/ 104775 h 739009"/>
                <a:gd name="connsiteX5" fmla="*/ 857250 w 857250"/>
                <a:gd name="connsiteY5" fmla="*/ 739009 h 739009"/>
                <a:gd name="connsiteX6" fmla="*/ 0 w 857250"/>
                <a:gd name="connsiteY6" fmla="*/ 739009 h 739009"/>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857250 w 857250"/>
                <a:gd name="connsiteY5" fmla="*/ 739009 h 740568"/>
                <a:gd name="connsiteX6" fmla="*/ 114300 w 857250"/>
                <a:gd name="connsiteY6" fmla="*/ 740568 h 740568"/>
                <a:gd name="connsiteX7" fmla="*/ 0 w 857250"/>
                <a:gd name="connsiteY7"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114300 w 857250"/>
                <a:gd name="connsiteY7" fmla="*/ 740568 h 740568"/>
                <a:gd name="connsiteX8" fmla="*/ 0 w 857250"/>
                <a:gd name="connsiteY8"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750094 w 857250"/>
                <a:gd name="connsiteY7" fmla="*/ 738186 h 740568"/>
                <a:gd name="connsiteX8" fmla="*/ 114300 w 857250"/>
                <a:gd name="connsiteY8" fmla="*/ 740568 h 740568"/>
                <a:gd name="connsiteX9" fmla="*/ 0 w 857250"/>
                <a:gd name="connsiteY9" fmla="*/ 739009 h 740568"/>
                <a:gd name="connsiteX0" fmla="*/ 0 w 797719"/>
                <a:gd name="connsiteY0" fmla="*/ 739009 h 740568"/>
                <a:gd name="connsiteX1" fmla="*/ 61913 w 797719"/>
                <a:gd name="connsiteY1" fmla="*/ 633412 h 740568"/>
                <a:gd name="connsiteX2" fmla="*/ 369094 w 797719"/>
                <a:gd name="connsiteY2" fmla="*/ 104775 h 740568"/>
                <a:gd name="connsiteX3" fmla="*/ 428625 w 797719"/>
                <a:gd name="connsiteY3" fmla="*/ 0 h 740568"/>
                <a:gd name="connsiteX4" fmla="*/ 490538 w 797719"/>
                <a:gd name="connsiteY4" fmla="*/ 104775 h 740568"/>
                <a:gd name="connsiteX5" fmla="*/ 797719 w 797719"/>
                <a:gd name="connsiteY5" fmla="*/ 638174 h 740568"/>
                <a:gd name="connsiteX6" fmla="*/ 750094 w 797719"/>
                <a:gd name="connsiteY6" fmla="*/ 738186 h 740568"/>
                <a:gd name="connsiteX7" fmla="*/ 114300 w 797719"/>
                <a:gd name="connsiteY7" fmla="*/ 740568 h 740568"/>
                <a:gd name="connsiteX8" fmla="*/ 0 w 797719"/>
                <a:gd name="connsiteY8" fmla="*/ 739009 h 740568"/>
                <a:gd name="connsiteX0" fmla="*/ 0 w 812104"/>
                <a:gd name="connsiteY0" fmla="*/ 739009 h 740568"/>
                <a:gd name="connsiteX1" fmla="*/ 61913 w 812104"/>
                <a:gd name="connsiteY1" fmla="*/ 633412 h 740568"/>
                <a:gd name="connsiteX2" fmla="*/ 369094 w 812104"/>
                <a:gd name="connsiteY2" fmla="*/ 104775 h 740568"/>
                <a:gd name="connsiteX3" fmla="*/ 428625 w 812104"/>
                <a:gd name="connsiteY3" fmla="*/ 0 h 740568"/>
                <a:gd name="connsiteX4" fmla="*/ 490538 w 812104"/>
                <a:gd name="connsiteY4" fmla="*/ 104775 h 740568"/>
                <a:gd name="connsiteX5" fmla="*/ 797719 w 812104"/>
                <a:gd name="connsiteY5" fmla="*/ 638174 h 740568"/>
                <a:gd name="connsiteX6" fmla="*/ 750094 w 812104"/>
                <a:gd name="connsiteY6" fmla="*/ 738186 h 740568"/>
                <a:gd name="connsiteX7" fmla="*/ 114300 w 812104"/>
                <a:gd name="connsiteY7" fmla="*/ 740568 h 740568"/>
                <a:gd name="connsiteX8" fmla="*/ 0 w 812104"/>
                <a:gd name="connsiteY8" fmla="*/ 739009 h 740568"/>
                <a:gd name="connsiteX0" fmla="*/ 0 w 818915"/>
                <a:gd name="connsiteY0" fmla="*/ 739009 h 740568"/>
                <a:gd name="connsiteX1" fmla="*/ 61913 w 818915"/>
                <a:gd name="connsiteY1" fmla="*/ 633412 h 740568"/>
                <a:gd name="connsiteX2" fmla="*/ 369094 w 818915"/>
                <a:gd name="connsiteY2" fmla="*/ 104775 h 740568"/>
                <a:gd name="connsiteX3" fmla="*/ 428625 w 818915"/>
                <a:gd name="connsiteY3" fmla="*/ 0 h 740568"/>
                <a:gd name="connsiteX4" fmla="*/ 490538 w 818915"/>
                <a:gd name="connsiteY4" fmla="*/ 104775 h 740568"/>
                <a:gd name="connsiteX5" fmla="*/ 797719 w 818915"/>
                <a:gd name="connsiteY5" fmla="*/ 638174 h 740568"/>
                <a:gd name="connsiteX6" fmla="*/ 750094 w 818915"/>
                <a:gd name="connsiteY6" fmla="*/ 738186 h 740568"/>
                <a:gd name="connsiteX7" fmla="*/ 114300 w 818915"/>
                <a:gd name="connsiteY7" fmla="*/ 740568 h 740568"/>
                <a:gd name="connsiteX8" fmla="*/ 0 w 818915"/>
                <a:gd name="connsiteY8" fmla="*/ 739009 h 740568"/>
                <a:gd name="connsiteX0" fmla="*/ 52387 w 757002"/>
                <a:gd name="connsiteY0" fmla="*/ 740568 h 740568"/>
                <a:gd name="connsiteX1" fmla="*/ 0 w 757002"/>
                <a:gd name="connsiteY1" fmla="*/ 633412 h 740568"/>
                <a:gd name="connsiteX2" fmla="*/ 307181 w 757002"/>
                <a:gd name="connsiteY2" fmla="*/ 104775 h 740568"/>
                <a:gd name="connsiteX3" fmla="*/ 366712 w 757002"/>
                <a:gd name="connsiteY3" fmla="*/ 0 h 740568"/>
                <a:gd name="connsiteX4" fmla="*/ 428625 w 757002"/>
                <a:gd name="connsiteY4" fmla="*/ 104775 h 740568"/>
                <a:gd name="connsiteX5" fmla="*/ 735806 w 757002"/>
                <a:gd name="connsiteY5" fmla="*/ 638174 h 740568"/>
                <a:gd name="connsiteX6" fmla="*/ 688181 w 757002"/>
                <a:gd name="connsiteY6" fmla="*/ 738186 h 740568"/>
                <a:gd name="connsiteX7" fmla="*/ 52387 w 757002"/>
                <a:gd name="connsiteY7" fmla="*/ 740568 h 740568"/>
                <a:gd name="connsiteX0" fmla="*/ 61912 w 766527"/>
                <a:gd name="connsiteY0" fmla="*/ 740568 h 740568"/>
                <a:gd name="connsiteX1" fmla="*/ 0 w 766527"/>
                <a:gd name="connsiteY1" fmla="*/ 645318 h 740568"/>
                <a:gd name="connsiteX2" fmla="*/ 316706 w 766527"/>
                <a:gd name="connsiteY2" fmla="*/ 104775 h 740568"/>
                <a:gd name="connsiteX3" fmla="*/ 376237 w 766527"/>
                <a:gd name="connsiteY3" fmla="*/ 0 h 740568"/>
                <a:gd name="connsiteX4" fmla="*/ 438150 w 766527"/>
                <a:gd name="connsiteY4" fmla="*/ 104775 h 740568"/>
                <a:gd name="connsiteX5" fmla="*/ 745331 w 766527"/>
                <a:gd name="connsiteY5" fmla="*/ 638174 h 740568"/>
                <a:gd name="connsiteX6" fmla="*/ 697706 w 766527"/>
                <a:gd name="connsiteY6" fmla="*/ 738186 h 740568"/>
                <a:gd name="connsiteX7" fmla="*/ 61912 w 766527"/>
                <a:gd name="connsiteY7" fmla="*/ 740568 h 740568"/>
                <a:gd name="connsiteX0" fmla="*/ 71526 w 776141"/>
                <a:gd name="connsiteY0" fmla="*/ 740568 h 740568"/>
                <a:gd name="connsiteX1" fmla="*/ 9614 w 776141"/>
                <a:gd name="connsiteY1" fmla="*/ 645318 h 740568"/>
                <a:gd name="connsiteX2" fmla="*/ 326320 w 776141"/>
                <a:gd name="connsiteY2" fmla="*/ 104775 h 740568"/>
                <a:gd name="connsiteX3" fmla="*/ 385851 w 776141"/>
                <a:gd name="connsiteY3" fmla="*/ 0 h 740568"/>
                <a:gd name="connsiteX4" fmla="*/ 447764 w 776141"/>
                <a:gd name="connsiteY4" fmla="*/ 104775 h 740568"/>
                <a:gd name="connsiteX5" fmla="*/ 754945 w 776141"/>
                <a:gd name="connsiteY5" fmla="*/ 638174 h 740568"/>
                <a:gd name="connsiteX6" fmla="*/ 707320 w 776141"/>
                <a:gd name="connsiteY6" fmla="*/ 738186 h 740568"/>
                <a:gd name="connsiteX7" fmla="*/ 71526 w 776141"/>
                <a:gd name="connsiteY7" fmla="*/ 740568 h 740568"/>
                <a:gd name="connsiteX0" fmla="*/ 78919 w 783534"/>
                <a:gd name="connsiteY0" fmla="*/ 740568 h 740614"/>
                <a:gd name="connsiteX1" fmla="*/ 17007 w 783534"/>
                <a:gd name="connsiteY1" fmla="*/ 645318 h 740614"/>
                <a:gd name="connsiteX2" fmla="*/ 333713 w 783534"/>
                <a:gd name="connsiteY2" fmla="*/ 104775 h 740614"/>
                <a:gd name="connsiteX3" fmla="*/ 393244 w 783534"/>
                <a:gd name="connsiteY3" fmla="*/ 0 h 740614"/>
                <a:gd name="connsiteX4" fmla="*/ 455157 w 783534"/>
                <a:gd name="connsiteY4" fmla="*/ 104775 h 740614"/>
                <a:gd name="connsiteX5" fmla="*/ 762338 w 783534"/>
                <a:gd name="connsiteY5" fmla="*/ 638174 h 740614"/>
                <a:gd name="connsiteX6" fmla="*/ 714713 w 783534"/>
                <a:gd name="connsiteY6" fmla="*/ 738186 h 740614"/>
                <a:gd name="connsiteX7" fmla="*/ 78919 w 783534"/>
                <a:gd name="connsiteY7" fmla="*/ 740568 h 740614"/>
                <a:gd name="connsiteX0" fmla="*/ 78919 w 783534"/>
                <a:gd name="connsiteY0" fmla="*/ 635793 h 635839"/>
                <a:gd name="connsiteX1" fmla="*/ 17007 w 783534"/>
                <a:gd name="connsiteY1" fmla="*/ 540543 h 635839"/>
                <a:gd name="connsiteX2" fmla="*/ 333713 w 783534"/>
                <a:gd name="connsiteY2" fmla="*/ 0 h 635839"/>
                <a:gd name="connsiteX3" fmla="*/ 455157 w 783534"/>
                <a:gd name="connsiteY3" fmla="*/ 0 h 635839"/>
                <a:gd name="connsiteX4" fmla="*/ 762338 w 783534"/>
                <a:gd name="connsiteY4" fmla="*/ 533399 h 635839"/>
                <a:gd name="connsiteX5" fmla="*/ 714713 w 783534"/>
                <a:gd name="connsiteY5" fmla="*/ 633411 h 635839"/>
                <a:gd name="connsiteX6" fmla="*/ 78919 w 783534"/>
                <a:gd name="connsiteY6" fmla="*/ 635793 h 635839"/>
                <a:gd name="connsiteX0" fmla="*/ 78919 w 783534"/>
                <a:gd name="connsiteY0" fmla="*/ 667542 h 667588"/>
                <a:gd name="connsiteX1" fmla="*/ 17007 w 783534"/>
                <a:gd name="connsiteY1" fmla="*/ 572292 h 667588"/>
                <a:gd name="connsiteX2" fmla="*/ 333713 w 783534"/>
                <a:gd name="connsiteY2" fmla="*/ 31749 h 667588"/>
                <a:gd name="connsiteX3" fmla="*/ 455157 w 783534"/>
                <a:gd name="connsiteY3" fmla="*/ 31749 h 667588"/>
                <a:gd name="connsiteX4" fmla="*/ 762338 w 783534"/>
                <a:gd name="connsiteY4" fmla="*/ 565148 h 667588"/>
                <a:gd name="connsiteX5" fmla="*/ 714713 w 783534"/>
                <a:gd name="connsiteY5" fmla="*/ 665160 h 667588"/>
                <a:gd name="connsiteX6" fmla="*/ 78919 w 783534"/>
                <a:gd name="connsiteY6" fmla="*/ 667542 h 667588"/>
                <a:gd name="connsiteX0" fmla="*/ 78919 w 783534"/>
                <a:gd name="connsiteY0" fmla="*/ 691171 h 691217"/>
                <a:gd name="connsiteX1" fmla="*/ 17007 w 783534"/>
                <a:gd name="connsiteY1" fmla="*/ 595921 h 691217"/>
                <a:gd name="connsiteX2" fmla="*/ 333713 w 783534"/>
                <a:gd name="connsiteY2" fmla="*/ 55378 h 691217"/>
                <a:gd name="connsiteX3" fmla="*/ 455157 w 783534"/>
                <a:gd name="connsiteY3" fmla="*/ 55378 h 691217"/>
                <a:gd name="connsiteX4" fmla="*/ 762338 w 783534"/>
                <a:gd name="connsiteY4" fmla="*/ 588777 h 691217"/>
                <a:gd name="connsiteX5" fmla="*/ 714713 w 783534"/>
                <a:gd name="connsiteY5" fmla="*/ 688789 h 691217"/>
                <a:gd name="connsiteX6" fmla="*/ 78919 w 783534"/>
                <a:gd name="connsiteY6" fmla="*/ 691171 h 691217"/>
                <a:gd name="connsiteX0" fmla="*/ 78919 w 783534"/>
                <a:gd name="connsiteY0" fmla="*/ 693838 h 693884"/>
                <a:gd name="connsiteX1" fmla="*/ 17007 w 783534"/>
                <a:gd name="connsiteY1" fmla="*/ 598588 h 693884"/>
                <a:gd name="connsiteX2" fmla="*/ 333713 w 783534"/>
                <a:gd name="connsiteY2" fmla="*/ 58045 h 693884"/>
                <a:gd name="connsiteX3" fmla="*/ 455157 w 783534"/>
                <a:gd name="connsiteY3" fmla="*/ 58045 h 693884"/>
                <a:gd name="connsiteX4" fmla="*/ 762338 w 783534"/>
                <a:gd name="connsiteY4" fmla="*/ 591444 h 693884"/>
                <a:gd name="connsiteX5" fmla="*/ 714713 w 783534"/>
                <a:gd name="connsiteY5" fmla="*/ 691456 h 693884"/>
                <a:gd name="connsiteX6" fmla="*/ 78919 w 783534"/>
                <a:gd name="connsiteY6" fmla="*/ 693838 h 69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534" h="693884">
                  <a:moveTo>
                    <a:pt x="78919" y="693838"/>
                  </a:moveTo>
                  <a:cubicBezTo>
                    <a:pt x="3514" y="695425"/>
                    <a:pt x="-19506" y="656532"/>
                    <a:pt x="17007" y="598588"/>
                  </a:cubicBezTo>
                  <a:lnTo>
                    <a:pt x="333713" y="58045"/>
                  </a:lnTo>
                  <a:cubicBezTo>
                    <a:pt x="374195" y="-20535"/>
                    <a:pt x="417057" y="-18155"/>
                    <a:pt x="455157" y="58045"/>
                  </a:cubicBezTo>
                  <a:lnTo>
                    <a:pt x="762338" y="591444"/>
                  </a:lnTo>
                  <a:cubicBezTo>
                    <a:pt x="808375" y="648593"/>
                    <a:pt x="773450" y="691457"/>
                    <a:pt x="714713" y="691456"/>
                  </a:cubicBezTo>
                  <a:lnTo>
                    <a:pt x="78919" y="693838"/>
                  </a:lnTo>
                  <a:close/>
                </a:path>
              </a:pathLst>
            </a:custGeom>
            <a:solidFill>
              <a:schemeClr val="accent2"/>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881" name="Oval 880">
              <a:extLst>
                <a:ext uri="{FF2B5EF4-FFF2-40B4-BE49-F238E27FC236}">
                  <a16:creationId xmlns:a16="http://schemas.microsoft.com/office/drawing/2014/main" id="{4174419F-132C-4BEF-BC1B-BF93E239420D}"/>
                </a:ext>
              </a:extLst>
            </p:cNvPr>
            <p:cNvSpPr/>
            <p:nvPr/>
          </p:nvSpPr>
          <p:spPr>
            <a:xfrm>
              <a:off x="11179718" y="746759"/>
              <a:ext cx="2773680" cy="2773680"/>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pic>
          <p:nvPicPr>
            <p:cNvPr id="883" name="Picture 882" descr="A circuit board&#10;&#10;Description automatically generated">
              <a:extLst>
                <a:ext uri="{FF2B5EF4-FFF2-40B4-BE49-F238E27FC236}">
                  <a16:creationId xmlns:a16="http://schemas.microsoft.com/office/drawing/2014/main" id="{4CD52C39-2D6E-4CEB-84EF-0E454A5B4DA1}"/>
                </a:ext>
              </a:extLst>
            </p:cNvPr>
            <p:cNvPicPr>
              <a:picLocks noChangeAspect="1"/>
            </p:cNvPicPr>
            <p:nvPr/>
          </p:nvPicPr>
          <p:blipFill rotWithShape="1">
            <a:blip r:embed="rId12" cstate="screen">
              <a:alphaModFix/>
              <a:extLst>
                <a:ext uri="{28A0092B-C50C-407E-A947-70E740481C1C}">
                  <a14:useLocalDpi xmlns:a14="http://schemas.microsoft.com/office/drawing/2010/main"/>
                </a:ext>
              </a:extLst>
            </a:blip>
            <a:srcRect/>
            <a:stretch/>
          </p:blipFill>
          <p:spPr>
            <a:xfrm rot="11017128">
              <a:off x="12668717" y="2553862"/>
              <a:ext cx="1673654" cy="1667128"/>
            </a:xfrm>
            <a:prstGeom prst="rect">
              <a:avLst/>
            </a:prstGeom>
          </p:spPr>
        </p:pic>
        <p:pic>
          <p:nvPicPr>
            <p:cNvPr id="884" name="Picture 883">
              <a:extLst>
                <a:ext uri="{FF2B5EF4-FFF2-40B4-BE49-F238E27FC236}">
                  <a16:creationId xmlns:a16="http://schemas.microsoft.com/office/drawing/2014/main" id="{966A67DA-B469-4536-A95B-D5B864F9D514}"/>
                </a:ext>
              </a:extLst>
            </p:cNvPr>
            <p:cNvPicPr>
              <a:picLocks noChangeAspect="1"/>
            </p:cNvPicPr>
            <p:nvPr/>
          </p:nvPicPr>
          <p:blipFill rotWithShape="1">
            <a:blip r:embed="rId13" cstate="screen">
              <a:alphaModFix/>
              <a:extLst>
                <a:ext uri="{28A0092B-C50C-407E-A947-70E740481C1C}">
                  <a14:useLocalDpi xmlns:a14="http://schemas.microsoft.com/office/drawing/2010/main"/>
                </a:ext>
              </a:extLst>
            </a:blip>
            <a:srcRect/>
            <a:stretch/>
          </p:blipFill>
          <p:spPr>
            <a:xfrm>
              <a:off x="11324042" y="290594"/>
              <a:ext cx="1857288" cy="2670810"/>
            </a:xfrm>
            <a:prstGeom prst="rect">
              <a:avLst/>
            </a:prstGeom>
          </p:spPr>
        </p:pic>
        <p:sp>
          <p:nvSpPr>
            <p:cNvPr id="893" name="TextBox 892">
              <a:extLst>
                <a:ext uri="{FF2B5EF4-FFF2-40B4-BE49-F238E27FC236}">
                  <a16:creationId xmlns:a16="http://schemas.microsoft.com/office/drawing/2014/main" id="{3DDE9186-22F8-4106-9F42-FCF068D52061}"/>
                </a:ext>
              </a:extLst>
            </p:cNvPr>
            <p:cNvSpPr txBox="1"/>
            <p:nvPr/>
          </p:nvSpPr>
          <p:spPr>
            <a:xfrm>
              <a:off x="11110249" y="2264297"/>
              <a:ext cx="45719" cy="46172"/>
            </a:xfrm>
            <a:prstGeom prst="ellipse">
              <a:avLst/>
            </a:prstGeom>
            <a:solidFill>
              <a:schemeClr val="accent4"/>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4000">
                <a:solidFill>
                  <a:schemeClr val="accent2"/>
                </a:solidFill>
                <a:latin typeface="CiscoSansTT" panose="020B0503020201020303" pitchFamily="34" charset="0"/>
              </a:endParaRPr>
            </a:p>
          </p:txBody>
        </p:sp>
        <p:sp>
          <p:nvSpPr>
            <p:cNvPr id="894" name="TextBox 893">
              <a:extLst>
                <a:ext uri="{FF2B5EF4-FFF2-40B4-BE49-F238E27FC236}">
                  <a16:creationId xmlns:a16="http://schemas.microsoft.com/office/drawing/2014/main" id="{CB580443-DED3-48E5-90F7-2B24F1B216F9}"/>
                </a:ext>
              </a:extLst>
            </p:cNvPr>
            <p:cNvSpPr txBox="1"/>
            <p:nvPr/>
          </p:nvSpPr>
          <p:spPr>
            <a:xfrm>
              <a:off x="11830339" y="884342"/>
              <a:ext cx="45719" cy="46172"/>
            </a:xfrm>
            <a:prstGeom prst="ellipse">
              <a:avLst/>
            </a:prstGeom>
            <a:solidFill>
              <a:schemeClr val="accent4"/>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4000">
                <a:solidFill>
                  <a:schemeClr val="accent2"/>
                </a:solidFill>
                <a:latin typeface="CiscoSansTT" panose="020B0503020201020303" pitchFamily="34" charset="0"/>
              </a:endParaRPr>
            </a:p>
          </p:txBody>
        </p:sp>
        <p:sp>
          <p:nvSpPr>
            <p:cNvPr id="895" name="TextBox 894">
              <a:extLst>
                <a:ext uri="{FF2B5EF4-FFF2-40B4-BE49-F238E27FC236}">
                  <a16:creationId xmlns:a16="http://schemas.microsoft.com/office/drawing/2014/main" id="{247FE29C-4FC4-457D-8C79-7F72035F82CA}"/>
                </a:ext>
              </a:extLst>
            </p:cNvPr>
            <p:cNvSpPr txBox="1"/>
            <p:nvPr/>
          </p:nvSpPr>
          <p:spPr>
            <a:xfrm>
              <a:off x="13849555" y="700874"/>
              <a:ext cx="45719" cy="46172"/>
            </a:xfrm>
            <a:prstGeom prst="ellipse">
              <a:avLst/>
            </a:prstGeom>
            <a:solidFill>
              <a:schemeClr val="accent4"/>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4000">
                <a:solidFill>
                  <a:schemeClr val="accent2"/>
                </a:solidFill>
                <a:latin typeface="CiscoSansTT" panose="020B0503020201020303" pitchFamily="34" charset="0"/>
              </a:endParaRPr>
            </a:p>
          </p:txBody>
        </p:sp>
        <p:sp>
          <p:nvSpPr>
            <p:cNvPr id="896" name="TextBox 895">
              <a:extLst>
                <a:ext uri="{FF2B5EF4-FFF2-40B4-BE49-F238E27FC236}">
                  <a16:creationId xmlns:a16="http://schemas.microsoft.com/office/drawing/2014/main" id="{B71ADE9F-3E1C-4161-A429-E16AADA3E12E}"/>
                </a:ext>
              </a:extLst>
            </p:cNvPr>
            <p:cNvSpPr txBox="1"/>
            <p:nvPr/>
          </p:nvSpPr>
          <p:spPr>
            <a:xfrm>
              <a:off x="14193793" y="700874"/>
              <a:ext cx="45719" cy="46172"/>
            </a:xfrm>
            <a:prstGeom prst="ellipse">
              <a:avLst/>
            </a:prstGeom>
            <a:solidFill>
              <a:schemeClr val="accent4"/>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4000">
                <a:solidFill>
                  <a:schemeClr val="accent2"/>
                </a:solidFill>
                <a:latin typeface="CiscoSansTT" panose="020B0503020201020303" pitchFamily="34" charset="0"/>
              </a:endParaRPr>
            </a:p>
          </p:txBody>
        </p:sp>
        <p:sp>
          <p:nvSpPr>
            <p:cNvPr id="897" name="TextBox 896">
              <a:extLst>
                <a:ext uri="{FF2B5EF4-FFF2-40B4-BE49-F238E27FC236}">
                  <a16:creationId xmlns:a16="http://schemas.microsoft.com/office/drawing/2014/main" id="{76DA4257-4B74-4CB3-AEEA-4B51563106DB}"/>
                </a:ext>
              </a:extLst>
            </p:cNvPr>
            <p:cNvSpPr txBox="1"/>
            <p:nvPr/>
          </p:nvSpPr>
          <p:spPr>
            <a:xfrm>
              <a:off x="14560756" y="3102393"/>
              <a:ext cx="45719" cy="46172"/>
            </a:xfrm>
            <a:prstGeom prst="ellipse">
              <a:avLst/>
            </a:prstGeom>
            <a:solidFill>
              <a:schemeClr val="accent4"/>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4000">
                <a:solidFill>
                  <a:schemeClr val="accent2"/>
                </a:solidFill>
                <a:latin typeface="CiscoSansTT" panose="020B0503020201020303" pitchFamily="34" charset="0"/>
              </a:endParaRPr>
            </a:p>
          </p:txBody>
        </p:sp>
        <p:sp>
          <p:nvSpPr>
            <p:cNvPr id="901" name="TextBox 900">
              <a:extLst>
                <a:ext uri="{FF2B5EF4-FFF2-40B4-BE49-F238E27FC236}">
                  <a16:creationId xmlns:a16="http://schemas.microsoft.com/office/drawing/2014/main" id="{12EFD85F-1DAC-4A2C-B5E7-67E995085CDB}"/>
                </a:ext>
              </a:extLst>
            </p:cNvPr>
            <p:cNvSpPr txBox="1"/>
            <p:nvPr/>
          </p:nvSpPr>
          <p:spPr>
            <a:xfrm>
              <a:off x="12189073" y="3285430"/>
              <a:ext cx="45719" cy="46172"/>
            </a:xfrm>
            <a:prstGeom prst="ellipse">
              <a:avLst/>
            </a:prstGeom>
            <a:solidFill>
              <a:schemeClr val="accent4"/>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4000">
                <a:solidFill>
                  <a:schemeClr val="accent2"/>
                </a:solidFill>
                <a:latin typeface="CiscoSansTT" panose="020B0503020201020303" pitchFamily="34" charset="0"/>
              </a:endParaRPr>
            </a:p>
          </p:txBody>
        </p:sp>
        <p:sp>
          <p:nvSpPr>
            <p:cNvPr id="902" name="TextBox 901">
              <a:extLst>
                <a:ext uri="{FF2B5EF4-FFF2-40B4-BE49-F238E27FC236}">
                  <a16:creationId xmlns:a16="http://schemas.microsoft.com/office/drawing/2014/main" id="{CADD8C30-C040-4A28-90B3-8B7DA7ED9298}"/>
                </a:ext>
              </a:extLst>
            </p:cNvPr>
            <p:cNvSpPr txBox="1"/>
            <p:nvPr/>
          </p:nvSpPr>
          <p:spPr>
            <a:xfrm>
              <a:off x="11830338" y="3285430"/>
              <a:ext cx="45719" cy="46172"/>
            </a:xfrm>
            <a:prstGeom prst="ellipse">
              <a:avLst/>
            </a:prstGeom>
            <a:solidFill>
              <a:schemeClr val="accent4"/>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4000">
                <a:solidFill>
                  <a:schemeClr val="accent2"/>
                </a:solidFill>
                <a:latin typeface="CiscoSansTT" panose="020B0503020201020303" pitchFamily="34" charset="0"/>
              </a:endParaRPr>
            </a:p>
          </p:txBody>
        </p:sp>
        <p:pic>
          <p:nvPicPr>
            <p:cNvPr id="903" name="Picture 902">
              <a:extLst>
                <a:ext uri="{FF2B5EF4-FFF2-40B4-BE49-F238E27FC236}">
                  <a16:creationId xmlns:a16="http://schemas.microsoft.com/office/drawing/2014/main" id="{50212B1C-DEDE-4AB2-96CA-81F076A9EB5B}"/>
                </a:ext>
              </a:extLst>
            </p:cNvPr>
            <p:cNvPicPr>
              <a:picLocks noChangeAspect="1"/>
            </p:cNvPicPr>
            <p:nvPr/>
          </p:nvPicPr>
          <p:blipFill>
            <a:blip r:embed="rId14" cstate="screen">
              <a:duotone>
                <a:prstClr val="black"/>
                <a:schemeClr val="accent1">
                  <a:tint val="45000"/>
                  <a:satMod val="400000"/>
                </a:schemeClr>
              </a:duotone>
              <a:extLst>
                <a:ext uri="{BEBA8EAE-BF5A-486C-A8C5-ECC9F3942E4B}">
                  <a14:imgProps xmlns:a14="http://schemas.microsoft.com/office/drawing/2010/main">
                    <a14:imgLayer r:embed="rId15">
                      <a14:imgEffect>
                        <a14:brightnessContrast bright="-10000"/>
                      </a14:imgEffect>
                    </a14:imgLayer>
                  </a14:imgProps>
                </a:ext>
                <a:ext uri="{28A0092B-C50C-407E-A947-70E740481C1C}">
                  <a14:useLocalDpi xmlns:a14="http://schemas.microsoft.com/office/drawing/2010/main"/>
                </a:ext>
              </a:extLst>
            </a:blip>
            <a:srcRect/>
            <a:stretch>
              <a:fillRect/>
            </a:stretch>
          </p:blipFill>
          <p:spPr>
            <a:xfrm>
              <a:off x="11331443" y="746759"/>
              <a:ext cx="2629356" cy="2773680"/>
            </a:xfrm>
            <a:custGeom>
              <a:avLst/>
              <a:gdLst>
                <a:gd name="connsiteX0" fmla="*/ 1242516 w 2629356"/>
                <a:gd name="connsiteY0" fmla="*/ 0 h 2773680"/>
                <a:gd name="connsiteX1" fmla="*/ 2629356 w 2629356"/>
                <a:gd name="connsiteY1" fmla="*/ 1386840 h 2773680"/>
                <a:gd name="connsiteX2" fmla="*/ 1242516 w 2629356"/>
                <a:gd name="connsiteY2" fmla="*/ 2773680 h 2773680"/>
                <a:gd name="connsiteX3" fmla="*/ 23060 w 2629356"/>
                <a:gd name="connsiteY3" fmla="*/ 2047891 h 2773680"/>
                <a:gd name="connsiteX4" fmla="*/ 0 w 2629356"/>
                <a:gd name="connsiteY4" fmla="*/ 2000021 h 2773680"/>
                <a:gd name="connsiteX5" fmla="*/ 0 w 2629356"/>
                <a:gd name="connsiteY5" fmla="*/ 773659 h 2773680"/>
                <a:gd name="connsiteX6" fmla="*/ 23060 w 2629356"/>
                <a:gd name="connsiteY6" fmla="*/ 725790 h 2773680"/>
                <a:gd name="connsiteX7" fmla="*/ 1242516 w 2629356"/>
                <a:gd name="connsiteY7" fmla="*/ 0 h 277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9356" h="2773680">
                  <a:moveTo>
                    <a:pt x="1242516" y="0"/>
                  </a:moveTo>
                  <a:cubicBezTo>
                    <a:pt x="2008447" y="0"/>
                    <a:pt x="2629356" y="620909"/>
                    <a:pt x="2629356" y="1386840"/>
                  </a:cubicBezTo>
                  <a:cubicBezTo>
                    <a:pt x="2629356" y="2152771"/>
                    <a:pt x="2008447" y="2773680"/>
                    <a:pt x="1242516" y="2773680"/>
                  </a:cubicBezTo>
                  <a:cubicBezTo>
                    <a:pt x="715939" y="2773680"/>
                    <a:pt x="257907" y="2480204"/>
                    <a:pt x="23060" y="2047891"/>
                  </a:cubicBezTo>
                  <a:lnTo>
                    <a:pt x="0" y="2000021"/>
                  </a:lnTo>
                  <a:lnTo>
                    <a:pt x="0" y="773659"/>
                  </a:lnTo>
                  <a:lnTo>
                    <a:pt x="23060" y="725790"/>
                  </a:lnTo>
                  <a:cubicBezTo>
                    <a:pt x="257907" y="293477"/>
                    <a:pt x="715939" y="0"/>
                    <a:pt x="1242516" y="0"/>
                  </a:cubicBezTo>
                  <a:close/>
                </a:path>
              </a:pathLst>
            </a:custGeom>
          </p:spPr>
        </p:pic>
        <p:pic>
          <p:nvPicPr>
            <p:cNvPr id="904" name="Picture 903">
              <a:extLst>
                <a:ext uri="{FF2B5EF4-FFF2-40B4-BE49-F238E27FC236}">
                  <a16:creationId xmlns:a16="http://schemas.microsoft.com/office/drawing/2014/main" id="{ECEBDFA5-FEC5-40ED-A91C-3CB9003D09AA}"/>
                </a:ext>
              </a:extLst>
            </p:cNvPr>
            <p:cNvPicPr>
              <a:picLocks noChangeAspect="1"/>
            </p:cNvPicPr>
            <p:nvPr/>
          </p:nvPicPr>
          <p:blipFill>
            <a:blip r:embed="rId16" cstate="screen">
              <a:duotone>
                <a:prstClr val="black"/>
                <a:schemeClr val="accent4">
                  <a:tint val="45000"/>
                  <a:satMod val="400000"/>
                </a:schemeClr>
              </a:duotone>
              <a:extLst>
                <a:ext uri="{28A0092B-C50C-407E-A947-70E740481C1C}">
                  <a14:useLocalDpi xmlns:a14="http://schemas.microsoft.com/office/drawing/2010/main"/>
                </a:ext>
              </a:extLst>
            </a:blip>
            <a:srcRect/>
            <a:stretch>
              <a:fillRect/>
            </a:stretch>
          </p:blipFill>
          <p:spPr>
            <a:xfrm>
              <a:off x="11324042" y="2433319"/>
              <a:ext cx="917392" cy="972970"/>
            </a:xfrm>
            <a:custGeom>
              <a:avLst/>
              <a:gdLst>
                <a:gd name="connsiteX0" fmla="*/ 430907 w 917392"/>
                <a:gd name="connsiteY0" fmla="*/ 0 h 972970"/>
                <a:gd name="connsiteX1" fmla="*/ 917392 w 917392"/>
                <a:gd name="connsiteY1" fmla="*/ 486485 h 972970"/>
                <a:gd name="connsiteX2" fmla="*/ 430907 w 917392"/>
                <a:gd name="connsiteY2" fmla="*/ 972970 h 972970"/>
                <a:gd name="connsiteX3" fmla="*/ 27506 w 917392"/>
                <a:gd name="connsiteY3" fmla="*/ 758483 h 972970"/>
                <a:gd name="connsiteX4" fmla="*/ 0 w 917392"/>
                <a:gd name="connsiteY4" fmla="*/ 707807 h 972970"/>
                <a:gd name="connsiteX5" fmla="*/ 0 w 917392"/>
                <a:gd name="connsiteY5" fmla="*/ 265163 h 972970"/>
                <a:gd name="connsiteX6" fmla="*/ 27506 w 917392"/>
                <a:gd name="connsiteY6" fmla="*/ 214487 h 972970"/>
                <a:gd name="connsiteX7" fmla="*/ 430907 w 917392"/>
                <a:gd name="connsiteY7" fmla="*/ 0 h 97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7392" h="972970">
                  <a:moveTo>
                    <a:pt x="430907" y="0"/>
                  </a:moveTo>
                  <a:cubicBezTo>
                    <a:pt x="699585" y="0"/>
                    <a:pt x="917392" y="217807"/>
                    <a:pt x="917392" y="486485"/>
                  </a:cubicBezTo>
                  <a:cubicBezTo>
                    <a:pt x="917392" y="755163"/>
                    <a:pt x="699585" y="972970"/>
                    <a:pt x="430907" y="972970"/>
                  </a:cubicBezTo>
                  <a:cubicBezTo>
                    <a:pt x="262983" y="972970"/>
                    <a:pt x="114931" y="887889"/>
                    <a:pt x="27506" y="758483"/>
                  </a:cubicBezTo>
                  <a:lnTo>
                    <a:pt x="0" y="707807"/>
                  </a:lnTo>
                  <a:lnTo>
                    <a:pt x="0" y="265163"/>
                  </a:lnTo>
                  <a:lnTo>
                    <a:pt x="27506" y="214487"/>
                  </a:lnTo>
                  <a:cubicBezTo>
                    <a:pt x="114931" y="85081"/>
                    <a:pt x="262983" y="0"/>
                    <a:pt x="430907" y="0"/>
                  </a:cubicBezTo>
                  <a:close/>
                </a:path>
              </a:pathLst>
            </a:custGeom>
          </p:spPr>
        </p:pic>
        <p:sp>
          <p:nvSpPr>
            <p:cNvPr id="905" name="Freeform: Shape 904">
              <a:extLst>
                <a:ext uri="{FF2B5EF4-FFF2-40B4-BE49-F238E27FC236}">
                  <a16:creationId xmlns:a16="http://schemas.microsoft.com/office/drawing/2014/main" id="{65890E7C-6DBE-49F3-B176-DE49E88D6CA3}"/>
                </a:ext>
              </a:extLst>
            </p:cNvPr>
            <p:cNvSpPr/>
            <p:nvPr/>
          </p:nvSpPr>
          <p:spPr>
            <a:xfrm>
              <a:off x="11311716" y="2433320"/>
              <a:ext cx="929718" cy="936185"/>
            </a:xfrm>
            <a:custGeom>
              <a:avLst/>
              <a:gdLst>
                <a:gd name="connsiteX0" fmla="*/ 443233 w 929718"/>
                <a:gd name="connsiteY0" fmla="*/ 0 h 936185"/>
                <a:gd name="connsiteX1" fmla="*/ 929718 w 929718"/>
                <a:gd name="connsiteY1" fmla="*/ 486485 h 936185"/>
                <a:gd name="connsiteX2" fmla="*/ 632595 w 929718"/>
                <a:gd name="connsiteY2" fmla="*/ 934740 h 936185"/>
                <a:gd name="connsiteX3" fmla="*/ 627939 w 929718"/>
                <a:gd name="connsiteY3" fmla="*/ 936185 h 936185"/>
                <a:gd name="connsiteX4" fmla="*/ 593792 w 929718"/>
                <a:gd name="connsiteY4" fmla="*/ 919736 h 936185"/>
                <a:gd name="connsiteX5" fmla="*/ 35386 w 929718"/>
                <a:gd name="connsiteY5" fmla="*/ 361330 h 936185"/>
                <a:gd name="connsiteX6" fmla="*/ 0 w 929718"/>
                <a:gd name="connsiteY6" fmla="*/ 287872 h 936185"/>
                <a:gd name="connsiteX7" fmla="*/ 39832 w 929718"/>
                <a:gd name="connsiteY7" fmla="*/ 214487 h 936185"/>
                <a:gd name="connsiteX8" fmla="*/ 443233 w 929718"/>
                <a:gd name="connsiteY8" fmla="*/ 0 h 93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9718" h="936185">
                  <a:moveTo>
                    <a:pt x="443233" y="0"/>
                  </a:moveTo>
                  <a:cubicBezTo>
                    <a:pt x="711911" y="0"/>
                    <a:pt x="929718" y="217807"/>
                    <a:pt x="929718" y="486485"/>
                  </a:cubicBezTo>
                  <a:cubicBezTo>
                    <a:pt x="929718" y="687994"/>
                    <a:pt x="807202" y="860887"/>
                    <a:pt x="632595" y="934740"/>
                  </a:cubicBezTo>
                  <a:lnTo>
                    <a:pt x="627939" y="936185"/>
                  </a:lnTo>
                  <a:lnTo>
                    <a:pt x="593792" y="919736"/>
                  </a:lnTo>
                  <a:cubicBezTo>
                    <a:pt x="357985" y="791638"/>
                    <a:pt x="163484" y="597138"/>
                    <a:pt x="35386" y="361330"/>
                  </a:cubicBezTo>
                  <a:lnTo>
                    <a:pt x="0" y="287872"/>
                  </a:lnTo>
                  <a:lnTo>
                    <a:pt x="39832" y="214487"/>
                  </a:lnTo>
                  <a:cubicBezTo>
                    <a:pt x="127257" y="85081"/>
                    <a:pt x="275309" y="0"/>
                    <a:pt x="443233" y="0"/>
                  </a:cubicBezTo>
                  <a:close/>
                </a:path>
              </a:pathLst>
            </a:cu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400"/>
            </a:p>
          </p:txBody>
        </p:sp>
        <p:sp>
          <p:nvSpPr>
            <p:cNvPr id="906" name="Isosceles Triangle 22">
              <a:extLst>
                <a:ext uri="{FF2B5EF4-FFF2-40B4-BE49-F238E27FC236}">
                  <a16:creationId xmlns:a16="http://schemas.microsoft.com/office/drawing/2014/main" id="{4EB77C95-F140-4247-81DF-E5E4AF586FE0}"/>
                </a:ext>
              </a:extLst>
            </p:cNvPr>
            <p:cNvSpPr/>
            <p:nvPr/>
          </p:nvSpPr>
          <p:spPr>
            <a:xfrm rot="5400000">
              <a:off x="11252982" y="2821568"/>
              <a:ext cx="353612" cy="325361"/>
            </a:xfrm>
            <a:custGeom>
              <a:avLst/>
              <a:gdLst>
                <a:gd name="connsiteX0" fmla="*/ 0 w 857250"/>
                <a:gd name="connsiteY0" fmla="*/ 739009 h 739009"/>
                <a:gd name="connsiteX1" fmla="*/ 428625 w 857250"/>
                <a:gd name="connsiteY1" fmla="*/ 0 h 739009"/>
                <a:gd name="connsiteX2" fmla="*/ 857250 w 857250"/>
                <a:gd name="connsiteY2" fmla="*/ 739009 h 739009"/>
                <a:gd name="connsiteX3" fmla="*/ 0 w 857250"/>
                <a:gd name="connsiteY3" fmla="*/ 739009 h 739009"/>
                <a:gd name="connsiteX0" fmla="*/ 0 w 857250"/>
                <a:gd name="connsiteY0" fmla="*/ 739009 h 739009"/>
                <a:gd name="connsiteX1" fmla="*/ 428625 w 857250"/>
                <a:gd name="connsiteY1" fmla="*/ 0 h 739009"/>
                <a:gd name="connsiteX2" fmla="*/ 490538 w 857250"/>
                <a:gd name="connsiteY2" fmla="*/ 104775 h 739009"/>
                <a:gd name="connsiteX3" fmla="*/ 857250 w 857250"/>
                <a:gd name="connsiteY3" fmla="*/ 739009 h 739009"/>
                <a:gd name="connsiteX4" fmla="*/ 0 w 857250"/>
                <a:gd name="connsiteY4" fmla="*/ 739009 h 739009"/>
                <a:gd name="connsiteX0" fmla="*/ 0 w 857250"/>
                <a:gd name="connsiteY0" fmla="*/ 739009 h 739009"/>
                <a:gd name="connsiteX1" fmla="*/ 369094 w 857250"/>
                <a:gd name="connsiteY1" fmla="*/ 104775 h 739009"/>
                <a:gd name="connsiteX2" fmla="*/ 428625 w 857250"/>
                <a:gd name="connsiteY2" fmla="*/ 0 h 739009"/>
                <a:gd name="connsiteX3" fmla="*/ 490538 w 857250"/>
                <a:gd name="connsiteY3" fmla="*/ 104775 h 739009"/>
                <a:gd name="connsiteX4" fmla="*/ 857250 w 857250"/>
                <a:gd name="connsiteY4" fmla="*/ 739009 h 739009"/>
                <a:gd name="connsiteX5" fmla="*/ 0 w 857250"/>
                <a:gd name="connsiteY5" fmla="*/ 739009 h 739009"/>
                <a:gd name="connsiteX0" fmla="*/ 0 w 857250"/>
                <a:gd name="connsiteY0" fmla="*/ 739009 h 739009"/>
                <a:gd name="connsiteX1" fmla="*/ 61913 w 857250"/>
                <a:gd name="connsiteY1" fmla="*/ 633412 h 739009"/>
                <a:gd name="connsiteX2" fmla="*/ 369094 w 857250"/>
                <a:gd name="connsiteY2" fmla="*/ 104775 h 739009"/>
                <a:gd name="connsiteX3" fmla="*/ 428625 w 857250"/>
                <a:gd name="connsiteY3" fmla="*/ 0 h 739009"/>
                <a:gd name="connsiteX4" fmla="*/ 490538 w 857250"/>
                <a:gd name="connsiteY4" fmla="*/ 104775 h 739009"/>
                <a:gd name="connsiteX5" fmla="*/ 857250 w 857250"/>
                <a:gd name="connsiteY5" fmla="*/ 739009 h 739009"/>
                <a:gd name="connsiteX6" fmla="*/ 0 w 857250"/>
                <a:gd name="connsiteY6" fmla="*/ 739009 h 739009"/>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857250 w 857250"/>
                <a:gd name="connsiteY5" fmla="*/ 739009 h 740568"/>
                <a:gd name="connsiteX6" fmla="*/ 114300 w 857250"/>
                <a:gd name="connsiteY6" fmla="*/ 740568 h 740568"/>
                <a:gd name="connsiteX7" fmla="*/ 0 w 857250"/>
                <a:gd name="connsiteY7"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114300 w 857250"/>
                <a:gd name="connsiteY7" fmla="*/ 740568 h 740568"/>
                <a:gd name="connsiteX8" fmla="*/ 0 w 857250"/>
                <a:gd name="connsiteY8"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750094 w 857250"/>
                <a:gd name="connsiteY7" fmla="*/ 738186 h 740568"/>
                <a:gd name="connsiteX8" fmla="*/ 114300 w 857250"/>
                <a:gd name="connsiteY8" fmla="*/ 740568 h 740568"/>
                <a:gd name="connsiteX9" fmla="*/ 0 w 857250"/>
                <a:gd name="connsiteY9" fmla="*/ 739009 h 740568"/>
                <a:gd name="connsiteX0" fmla="*/ 0 w 797719"/>
                <a:gd name="connsiteY0" fmla="*/ 739009 h 740568"/>
                <a:gd name="connsiteX1" fmla="*/ 61913 w 797719"/>
                <a:gd name="connsiteY1" fmla="*/ 633412 h 740568"/>
                <a:gd name="connsiteX2" fmla="*/ 369094 w 797719"/>
                <a:gd name="connsiteY2" fmla="*/ 104775 h 740568"/>
                <a:gd name="connsiteX3" fmla="*/ 428625 w 797719"/>
                <a:gd name="connsiteY3" fmla="*/ 0 h 740568"/>
                <a:gd name="connsiteX4" fmla="*/ 490538 w 797719"/>
                <a:gd name="connsiteY4" fmla="*/ 104775 h 740568"/>
                <a:gd name="connsiteX5" fmla="*/ 797719 w 797719"/>
                <a:gd name="connsiteY5" fmla="*/ 638174 h 740568"/>
                <a:gd name="connsiteX6" fmla="*/ 750094 w 797719"/>
                <a:gd name="connsiteY6" fmla="*/ 738186 h 740568"/>
                <a:gd name="connsiteX7" fmla="*/ 114300 w 797719"/>
                <a:gd name="connsiteY7" fmla="*/ 740568 h 740568"/>
                <a:gd name="connsiteX8" fmla="*/ 0 w 797719"/>
                <a:gd name="connsiteY8" fmla="*/ 739009 h 740568"/>
                <a:gd name="connsiteX0" fmla="*/ 0 w 812104"/>
                <a:gd name="connsiteY0" fmla="*/ 739009 h 740568"/>
                <a:gd name="connsiteX1" fmla="*/ 61913 w 812104"/>
                <a:gd name="connsiteY1" fmla="*/ 633412 h 740568"/>
                <a:gd name="connsiteX2" fmla="*/ 369094 w 812104"/>
                <a:gd name="connsiteY2" fmla="*/ 104775 h 740568"/>
                <a:gd name="connsiteX3" fmla="*/ 428625 w 812104"/>
                <a:gd name="connsiteY3" fmla="*/ 0 h 740568"/>
                <a:gd name="connsiteX4" fmla="*/ 490538 w 812104"/>
                <a:gd name="connsiteY4" fmla="*/ 104775 h 740568"/>
                <a:gd name="connsiteX5" fmla="*/ 797719 w 812104"/>
                <a:gd name="connsiteY5" fmla="*/ 638174 h 740568"/>
                <a:gd name="connsiteX6" fmla="*/ 750094 w 812104"/>
                <a:gd name="connsiteY6" fmla="*/ 738186 h 740568"/>
                <a:gd name="connsiteX7" fmla="*/ 114300 w 812104"/>
                <a:gd name="connsiteY7" fmla="*/ 740568 h 740568"/>
                <a:gd name="connsiteX8" fmla="*/ 0 w 812104"/>
                <a:gd name="connsiteY8" fmla="*/ 739009 h 740568"/>
                <a:gd name="connsiteX0" fmla="*/ 0 w 818915"/>
                <a:gd name="connsiteY0" fmla="*/ 739009 h 740568"/>
                <a:gd name="connsiteX1" fmla="*/ 61913 w 818915"/>
                <a:gd name="connsiteY1" fmla="*/ 633412 h 740568"/>
                <a:gd name="connsiteX2" fmla="*/ 369094 w 818915"/>
                <a:gd name="connsiteY2" fmla="*/ 104775 h 740568"/>
                <a:gd name="connsiteX3" fmla="*/ 428625 w 818915"/>
                <a:gd name="connsiteY3" fmla="*/ 0 h 740568"/>
                <a:gd name="connsiteX4" fmla="*/ 490538 w 818915"/>
                <a:gd name="connsiteY4" fmla="*/ 104775 h 740568"/>
                <a:gd name="connsiteX5" fmla="*/ 797719 w 818915"/>
                <a:gd name="connsiteY5" fmla="*/ 638174 h 740568"/>
                <a:gd name="connsiteX6" fmla="*/ 750094 w 818915"/>
                <a:gd name="connsiteY6" fmla="*/ 738186 h 740568"/>
                <a:gd name="connsiteX7" fmla="*/ 114300 w 818915"/>
                <a:gd name="connsiteY7" fmla="*/ 740568 h 740568"/>
                <a:gd name="connsiteX8" fmla="*/ 0 w 818915"/>
                <a:gd name="connsiteY8" fmla="*/ 739009 h 740568"/>
                <a:gd name="connsiteX0" fmla="*/ 52387 w 757002"/>
                <a:gd name="connsiteY0" fmla="*/ 740568 h 740568"/>
                <a:gd name="connsiteX1" fmla="*/ 0 w 757002"/>
                <a:gd name="connsiteY1" fmla="*/ 633412 h 740568"/>
                <a:gd name="connsiteX2" fmla="*/ 307181 w 757002"/>
                <a:gd name="connsiteY2" fmla="*/ 104775 h 740568"/>
                <a:gd name="connsiteX3" fmla="*/ 366712 w 757002"/>
                <a:gd name="connsiteY3" fmla="*/ 0 h 740568"/>
                <a:gd name="connsiteX4" fmla="*/ 428625 w 757002"/>
                <a:gd name="connsiteY4" fmla="*/ 104775 h 740568"/>
                <a:gd name="connsiteX5" fmla="*/ 735806 w 757002"/>
                <a:gd name="connsiteY5" fmla="*/ 638174 h 740568"/>
                <a:gd name="connsiteX6" fmla="*/ 688181 w 757002"/>
                <a:gd name="connsiteY6" fmla="*/ 738186 h 740568"/>
                <a:gd name="connsiteX7" fmla="*/ 52387 w 757002"/>
                <a:gd name="connsiteY7" fmla="*/ 740568 h 740568"/>
                <a:gd name="connsiteX0" fmla="*/ 61912 w 766527"/>
                <a:gd name="connsiteY0" fmla="*/ 740568 h 740568"/>
                <a:gd name="connsiteX1" fmla="*/ 0 w 766527"/>
                <a:gd name="connsiteY1" fmla="*/ 645318 h 740568"/>
                <a:gd name="connsiteX2" fmla="*/ 316706 w 766527"/>
                <a:gd name="connsiteY2" fmla="*/ 104775 h 740568"/>
                <a:gd name="connsiteX3" fmla="*/ 376237 w 766527"/>
                <a:gd name="connsiteY3" fmla="*/ 0 h 740568"/>
                <a:gd name="connsiteX4" fmla="*/ 438150 w 766527"/>
                <a:gd name="connsiteY4" fmla="*/ 104775 h 740568"/>
                <a:gd name="connsiteX5" fmla="*/ 745331 w 766527"/>
                <a:gd name="connsiteY5" fmla="*/ 638174 h 740568"/>
                <a:gd name="connsiteX6" fmla="*/ 697706 w 766527"/>
                <a:gd name="connsiteY6" fmla="*/ 738186 h 740568"/>
                <a:gd name="connsiteX7" fmla="*/ 61912 w 766527"/>
                <a:gd name="connsiteY7" fmla="*/ 740568 h 740568"/>
                <a:gd name="connsiteX0" fmla="*/ 71526 w 776141"/>
                <a:gd name="connsiteY0" fmla="*/ 740568 h 740568"/>
                <a:gd name="connsiteX1" fmla="*/ 9614 w 776141"/>
                <a:gd name="connsiteY1" fmla="*/ 645318 h 740568"/>
                <a:gd name="connsiteX2" fmla="*/ 326320 w 776141"/>
                <a:gd name="connsiteY2" fmla="*/ 104775 h 740568"/>
                <a:gd name="connsiteX3" fmla="*/ 385851 w 776141"/>
                <a:gd name="connsiteY3" fmla="*/ 0 h 740568"/>
                <a:gd name="connsiteX4" fmla="*/ 447764 w 776141"/>
                <a:gd name="connsiteY4" fmla="*/ 104775 h 740568"/>
                <a:gd name="connsiteX5" fmla="*/ 754945 w 776141"/>
                <a:gd name="connsiteY5" fmla="*/ 638174 h 740568"/>
                <a:gd name="connsiteX6" fmla="*/ 707320 w 776141"/>
                <a:gd name="connsiteY6" fmla="*/ 738186 h 740568"/>
                <a:gd name="connsiteX7" fmla="*/ 71526 w 776141"/>
                <a:gd name="connsiteY7" fmla="*/ 740568 h 740568"/>
                <a:gd name="connsiteX0" fmla="*/ 78919 w 783534"/>
                <a:gd name="connsiteY0" fmla="*/ 740568 h 740614"/>
                <a:gd name="connsiteX1" fmla="*/ 17007 w 783534"/>
                <a:gd name="connsiteY1" fmla="*/ 645318 h 740614"/>
                <a:gd name="connsiteX2" fmla="*/ 333713 w 783534"/>
                <a:gd name="connsiteY2" fmla="*/ 104775 h 740614"/>
                <a:gd name="connsiteX3" fmla="*/ 393244 w 783534"/>
                <a:gd name="connsiteY3" fmla="*/ 0 h 740614"/>
                <a:gd name="connsiteX4" fmla="*/ 455157 w 783534"/>
                <a:gd name="connsiteY4" fmla="*/ 104775 h 740614"/>
                <a:gd name="connsiteX5" fmla="*/ 762338 w 783534"/>
                <a:gd name="connsiteY5" fmla="*/ 638174 h 740614"/>
                <a:gd name="connsiteX6" fmla="*/ 714713 w 783534"/>
                <a:gd name="connsiteY6" fmla="*/ 738186 h 740614"/>
                <a:gd name="connsiteX7" fmla="*/ 78919 w 783534"/>
                <a:gd name="connsiteY7" fmla="*/ 740568 h 740614"/>
                <a:gd name="connsiteX0" fmla="*/ 78919 w 783534"/>
                <a:gd name="connsiteY0" fmla="*/ 635793 h 635839"/>
                <a:gd name="connsiteX1" fmla="*/ 17007 w 783534"/>
                <a:gd name="connsiteY1" fmla="*/ 540543 h 635839"/>
                <a:gd name="connsiteX2" fmla="*/ 333713 w 783534"/>
                <a:gd name="connsiteY2" fmla="*/ 0 h 635839"/>
                <a:gd name="connsiteX3" fmla="*/ 455157 w 783534"/>
                <a:gd name="connsiteY3" fmla="*/ 0 h 635839"/>
                <a:gd name="connsiteX4" fmla="*/ 762338 w 783534"/>
                <a:gd name="connsiteY4" fmla="*/ 533399 h 635839"/>
                <a:gd name="connsiteX5" fmla="*/ 714713 w 783534"/>
                <a:gd name="connsiteY5" fmla="*/ 633411 h 635839"/>
                <a:gd name="connsiteX6" fmla="*/ 78919 w 783534"/>
                <a:gd name="connsiteY6" fmla="*/ 635793 h 635839"/>
                <a:gd name="connsiteX0" fmla="*/ 78919 w 783534"/>
                <a:gd name="connsiteY0" fmla="*/ 667542 h 667588"/>
                <a:gd name="connsiteX1" fmla="*/ 17007 w 783534"/>
                <a:gd name="connsiteY1" fmla="*/ 572292 h 667588"/>
                <a:gd name="connsiteX2" fmla="*/ 333713 w 783534"/>
                <a:gd name="connsiteY2" fmla="*/ 31749 h 667588"/>
                <a:gd name="connsiteX3" fmla="*/ 455157 w 783534"/>
                <a:gd name="connsiteY3" fmla="*/ 31749 h 667588"/>
                <a:gd name="connsiteX4" fmla="*/ 762338 w 783534"/>
                <a:gd name="connsiteY4" fmla="*/ 565148 h 667588"/>
                <a:gd name="connsiteX5" fmla="*/ 714713 w 783534"/>
                <a:gd name="connsiteY5" fmla="*/ 665160 h 667588"/>
                <a:gd name="connsiteX6" fmla="*/ 78919 w 783534"/>
                <a:gd name="connsiteY6" fmla="*/ 667542 h 667588"/>
                <a:gd name="connsiteX0" fmla="*/ 78919 w 783534"/>
                <a:gd name="connsiteY0" fmla="*/ 691171 h 691217"/>
                <a:gd name="connsiteX1" fmla="*/ 17007 w 783534"/>
                <a:gd name="connsiteY1" fmla="*/ 595921 h 691217"/>
                <a:gd name="connsiteX2" fmla="*/ 333713 w 783534"/>
                <a:gd name="connsiteY2" fmla="*/ 55378 h 691217"/>
                <a:gd name="connsiteX3" fmla="*/ 455157 w 783534"/>
                <a:gd name="connsiteY3" fmla="*/ 55378 h 691217"/>
                <a:gd name="connsiteX4" fmla="*/ 762338 w 783534"/>
                <a:gd name="connsiteY4" fmla="*/ 588777 h 691217"/>
                <a:gd name="connsiteX5" fmla="*/ 714713 w 783534"/>
                <a:gd name="connsiteY5" fmla="*/ 688789 h 691217"/>
                <a:gd name="connsiteX6" fmla="*/ 78919 w 783534"/>
                <a:gd name="connsiteY6" fmla="*/ 691171 h 691217"/>
                <a:gd name="connsiteX0" fmla="*/ 78919 w 783534"/>
                <a:gd name="connsiteY0" fmla="*/ 693838 h 693884"/>
                <a:gd name="connsiteX1" fmla="*/ 17007 w 783534"/>
                <a:gd name="connsiteY1" fmla="*/ 598588 h 693884"/>
                <a:gd name="connsiteX2" fmla="*/ 333713 w 783534"/>
                <a:gd name="connsiteY2" fmla="*/ 58045 h 693884"/>
                <a:gd name="connsiteX3" fmla="*/ 455157 w 783534"/>
                <a:gd name="connsiteY3" fmla="*/ 58045 h 693884"/>
                <a:gd name="connsiteX4" fmla="*/ 762338 w 783534"/>
                <a:gd name="connsiteY4" fmla="*/ 591444 h 693884"/>
                <a:gd name="connsiteX5" fmla="*/ 714713 w 783534"/>
                <a:gd name="connsiteY5" fmla="*/ 691456 h 693884"/>
                <a:gd name="connsiteX6" fmla="*/ 78919 w 783534"/>
                <a:gd name="connsiteY6" fmla="*/ 693838 h 69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534" h="693884">
                  <a:moveTo>
                    <a:pt x="78919" y="693838"/>
                  </a:moveTo>
                  <a:cubicBezTo>
                    <a:pt x="3514" y="695425"/>
                    <a:pt x="-19506" y="656532"/>
                    <a:pt x="17007" y="598588"/>
                  </a:cubicBezTo>
                  <a:lnTo>
                    <a:pt x="333713" y="58045"/>
                  </a:lnTo>
                  <a:cubicBezTo>
                    <a:pt x="374195" y="-20535"/>
                    <a:pt x="417057" y="-18155"/>
                    <a:pt x="455157" y="58045"/>
                  </a:cubicBezTo>
                  <a:lnTo>
                    <a:pt x="762338" y="591444"/>
                  </a:lnTo>
                  <a:cubicBezTo>
                    <a:pt x="808375" y="648593"/>
                    <a:pt x="773450" y="691457"/>
                    <a:pt x="714713" y="691456"/>
                  </a:cubicBezTo>
                  <a:lnTo>
                    <a:pt x="78919" y="693838"/>
                  </a:lnTo>
                  <a:close/>
                </a:path>
              </a:pathLst>
            </a:custGeom>
            <a:solidFill>
              <a:schemeClr val="accent2"/>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grpSp>
      <p:sp>
        <p:nvSpPr>
          <p:cNvPr id="260" name="Rectangle 259">
            <a:extLst>
              <a:ext uri="{FF2B5EF4-FFF2-40B4-BE49-F238E27FC236}">
                <a16:creationId xmlns:a16="http://schemas.microsoft.com/office/drawing/2014/main" id="{FE5730A9-4077-4DDC-A062-17C01FE41A27}"/>
              </a:ext>
            </a:extLst>
          </p:cNvPr>
          <p:cNvSpPr/>
          <p:nvPr/>
        </p:nvSpPr>
        <p:spPr>
          <a:xfrm>
            <a:off x="488453" y="1169281"/>
            <a:ext cx="2107302" cy="276999"/>
          </a:xfrm>
          <a:prstGeom prst="rect">
            <a:avLst/>
          </a:prstGeom>
          <a:noFill/>
          <a:ln w="25400" cap="flat" cmpd="sng" algn="ctr">
            <a:noFill/>
            <a:prstDash val="solid"/>
          </a:ln>
          <a:effectLst/>
        </p:spPr>
        <p:txBody>
          <a:bodyPr wrap="square" lIns="0" tIns="0" rIns="0" bIns="0" rtlCol="0" anchor="ctr">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lang="en-US" kern="0">
                <a:solidFill>
                  <a:schemeClr val="accent2"/>
                </a:solidFill>
                <a:latin typeface="+mn-lt"/>
                <a:cs typeface="+mn-cs"/>
              </a:rPr>
              <a:t>Business evolution</a:t>
            </a:r>
          </a:p>
        </p:txBody>
      </p:sp>
      <p:sp>
        <p:nvSpPr>
          <p:cNvPr id="261" name="Rectangle 260">
            <a:extLst>
              <a:ext uri="{FF2B5EF4-FFF2-40B4-BE49-F238E27FC236}">
                <a16:creationId xmlns:a16="http://schemas.microsoft.com/office/drawing/2014/main" id="{0642EB24-3393-4B73-B60D-AFA733ED973C}"/>
              </a:ext>
            </a:extLst>
          </p:cNvPr>
          <p:cNvSpPr/>
          <p:nvPr/>
        </p:nvSpPr>
        <p:spPr>
          <a:xfrm>
            <a:off x="4835295" y="1169281"/>
            <a:ext cx="2107302" cy="276999"/>
          </a:xfrm>
          <a:prstGeom prst="rect">
            <a:avLst/>
          </a:prstGeom>
          <a:noFill/>
          <a:ln w="25400" cap="flat" cmpd="sng" algn="ctr">
            <a:noFill/>
            <a:prstDash val="solid"/>
          </a:ln>
          <a:effectLst/>
        </p:spPr>
        <p:txBody>
          <a:bodyPr wrap="square" lIns="0" tIns="0" rIns="0" bIns="0" rtlCol="0" anchor="ctr">
            <a:spAutoFit/>
          </a:bodyPr>
          <a:lstStyle/>
          <a:p>
            <a:pPr marL="0" marR="0" lvl="0" indent="0" defTabSz="685783" eaLnBrk="1" fontAlgn="auto" latinLnBrk="0" hangingPunct="1">
              <a:lnSpc>
                <a:spcPct val="100000"/>
              </a:lnSpc>
              <a:spcBef>
                <a:spcPts val="0"/>
              </a:spcBef>
              <a:spcAft>
                <a:spcPts val="0"/>
              </a:spcAft>
              <a:buClrTx/>
              <a:buSzTx/>
              <a:buFontTx/>
              <a:buNone/>
              <a:tabLst/>
              <a:defRPr/>
            </a:pPr>
            <a:r>
              <a:rPr lang="en-US" kern="0">
                <a:solidFill>
                  <a:schemeClr val="accent2"/>
                </a:solidFill>
                <a:latin typeface="+mn-lt"/>
                <a:cs typeface="+mn-cs"/>
              </a:rPr>
              <a:t>Security pressures</a:t>
            </a:r>
          </a:p>
        </p:txBody>
      </p:sp>
      <p:grpSp>
        <p:nvGrpSpPr>
          <p:cNvPr id="262" name="Group 261">
            <a:extLst>
              <a:ext uri="{FF2B5EF4-FFF2-40B4-BE49-F238E27FC236}">
                <a16:creationId xmlns:a16="http://schemas.microsoft.com/office/drawing/2014/main" id="{54E03B6F-D46F-4569-89F5-3AEF2611DE83}"/>
              </a:ext>
            </a:extLst>
          </p:cNvPr>
          <p:cNvGrpSpPr/>
          <p:nvPr/>
        </p:nvGrpSpPr>
        <p:grpSpPr>
          <a:xfrm>
            <a:off x="7203281" y="2978149"/>
            <a:ext cx="1188244" cy="996950"/>
            <a:chOff x="7203281" y="2978149"/>
            <a:chExt cx="1188244" cy="996950"/>
          </a:xfrm>
        </p:grpSpPr>
        <p:sp>
          <p:nvSpPr>
            <p:cNvPr id="264" name="Freeform: Shape 263">
              <a:extLst>
                <a:ext uri="{FF2B5EF4-FFF2-40B4-BE49-F238E27FC236}">
                  <a16:creationId xmlns:a16="http://schemas.microsoft.com/office/drawing/2014/main" id="{25E1ECAB-E92E-4C1F-9685-DB5BC4CB9769}"/>
                </a:ext>
              </a:extLst>
            </p:cNvPr>
            <p:cNvSpPr/>
            <p:nvPr/>
          </p:nvSpPr>
          <p:spPr>
            <a:xfrm>
              <a:off x="7546134" y="3069242"/>
              <a:ext cx="606501" cy="606500"/>
            </a:xfrm>
            <a:custGeom>
              <a:avLst/>
              <a:gdLst>
                <a:gd name="connsiteX0" fmla="*/ 156628 w 156627"/>
                <a:gd name="connsiteY0" fmla="*/ 78314 h 156627"/>
                <a:gd name="connsiteX1" fmla="*/ 78314 w 156627"/>
                <a:gd name="connsiteY1" fmla="*/ 156628 h 156627"/>
                <a:gd name="connsiteX2" fmla="*/ 0 w 156627"/>
                <a:gd name="connsiteY2" fmla="*/ 78314 h 156627"/>
                <a:gd name="connsiteX3" fmla="*/ 78314 w 156627"/>
                <a:gd name="connsiteY3" fmla="*/ 0 h 156627"/>
                <a:gd name="connsiteX4" fmla="*/ 156628 w 156627"/>
                <a:gd name="connsiteY4" fmla="*/ 78314 h 15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27" h="156627">
                  <a:moveTo>
                    <a:pt x="156628" y="78314"/>
                  </a:moveTo>
                  <a:cubicBezTo>
                    <a:pt x="156628" y="121566"/>
                    <a:pt x="121566" y="156628"/>
                    <a:pt x="78314" y="156628"/>
                  </a:cubicBezTo>
                  <a:cubicBezTo>
                    <a:pt x="35062" y="156628"/>
                    <a:pt x="0" y="121566"/>
                    <a:pt x="0" y="78314"/>
                  </a:cubicBezTo>
                  <a:cubicBezTo>
                    <a:pt x="0" y="35062"/>
                    <a:pt x="35062" y="0"/>
                    <a:pt x="78314" y="0"/>
                  </a:cubicBezTo>
                  <a:cubicBezTo>
                    <a:pt x="121566" y="0"/>
                    <a:pt x="156628" y="35062"/>
                    <a:pt x="156628" y="78314"/>
                  </a:cubicBezTo>
                  <a:close/>
                </a:path>
              </a:pathLst>
            </a:custGeom>
            <a:solidFill>
              <a:schemeClr val="accent5">
                <a:alpha val="60000"/>
              </a:schemeClr>
            </a:solidFill>
            <a:ln w="4775" cap="flat">
              <a:noFill/>
              <a:prstDash val="solid"/>
              <a:miter/>
            </a:ln>
          </p:spPr>
          <p:txBody>
            <a:bodyPr rtlCol="0" anchor="ctr"/>
            <a:lstStyle/>
            <a:p>
              <a:endParaRPr lang="en-US"/>
            </a:p>
          </p:txBody>
        </p:sp>
        <p:pic>
          <p:nvPicPr>
            <p:cNvPr id="265" name="Picture 264" descr="A hand holding a black umbrella&#10;&#10;Description automatically generated">
              <a:extLst>
                <a:ext uri="{FF2B5EF4-FFF2-40B4-BE49-F238E27FC236}">
                  <a16:creationId xmlns:a16="http://schemas.microsoft.com/office/drawing/2014/main" id="{3F0FFAC4-E92B-4EF3-A5E3-D2B6E0ABFA5D}"/>
                </a:ext>
              </a:extLst>
            </p:cNvPr>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a:xfrm>
              <a:off x="7203281" y="2978149"/>
              <a:ext cx="1188244" cy="996950"/>
            </a:xfrm>
            <a:custGeom>
              <a:avLst/>
              <a:gdLst>
                <a:gd name="connsiteX0" fmla="*/ 195402 w 1188244"/>
                <a:gd name="connsiteY0" fmla="*/ 0 h 996950"/>
                <a:gd name="connsiteX1" fmla="*/ 992843 w 1188244"/>
                <a:gd name="connsiteY1" fmla="*/ 0 h 996950"/>
                <a:gd name="connsiteX2" fmla="*/ 1014230 w 1188244"/>
                <a:gd name="connsiteY2" fmla="*/ 17646 h 996950"/>
                <a:gd name="connsiteX3" fmla="*/ 1188244 w 1188244"/>
                <a:gd name="connsiteY3" fmla="*/ 437754 h 996950"/>
                <a:gd name="connsiteX4" fmla="*/ 825382 w 1188244"/>
                <a:gd name="connsiteY4" fmla="*/ 985187 h 996950"/>
                <a:gd name="connsiteX5" fmla="*/ 787487 w 1188244"/>
                <a:gd name="connsiteY5" fmla="*/ 996950 h 996950"/>
                <a:gd name="connsiteX6" fmla="*/ 400757 w 1188244"/>
                <a:gd name="connsiteY6" fmla="*/ 996950 h 996950"/>
                <a:gd name="connsiteX7" fmla="*/ 362863 w 1188244"/>
                <a:gd name="connsiteY7" fmla="*/ 985187 h 996950"/>
                <a:gd name="connsiteX8" fmla="*/ 0 w 1188244"/>
                <a:gd name="connsiteY8" fmla="*/ 437754 h 996950"/>
                <a:gd name="connsiteX9" fmla="*/ 174014 w 1188244"/>
                <a:gd name="connsiteY9" fmla="*/ 17646 h 996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8244" h="996950">
                  <a:moveTo>
                    <a:pt x="195402" y="0"/>
                  </a:moveTo>
                  <a:lnTo>
                    <a:pt x="992843" y="0"/>
                  </a:lnTo>
                  <a:lnTo>
                    <a:pt x="1014230" y="17646"/>
                  </a:lnTo>
                  <a:cubicBezTo>
                    <a:pt x="1121745" y="125161"/>
                    <a:pt x="1188244" y="273692"/>
                    <a:pt x="1188244" y="437754"/>
                  </a:cubicBezTo>
                  <a:cubicBezTo>
                    <a:pt x="1188244" y="683848"/>
                    <a:pt x="1038621" y="894995"/>
                    <a:pt x="825382" y="985187"/>
                  </a:cubicBezTo>
                  <a:lnTo>
                    <a:pt x="787487" y="996950"/>
                  </a:lnTo>
                  <a:lnTo>
                    <a:pt x="400757" y="996950"/>
                  </a:lnTo>
                  <a:lnTo>
                    <a:pt x="362863" y="985187"/>
                  </a:lnTo>
                  <a:cubicBezTo>
                    <a:pt x="149624" y="894995"/>
                    <a:pt x="0" y="683848"/>
                    <a:pt x="0" y="437754"/>
                  </a:cubicBezTo>
                  <a:cubicBezTo>
                    <a:pt x="0" y="273692"/>
                    <a:pt x="66500" y="125161"/>
                    <a:pt x="174014" y="17646"/>
                  </a:cubicBezTo>
                  <a:close/>
                </a:path>
              </a:pathLst>
            </a:custGeom>
          </p:spPr>
        </p:pic>
        <p:sp>
          <p:nvSpPr>
            <p:cNvPr id="266" name="Freeform: Shape 265">
              <a:extLst>
                <a:ext uri="{FF2B5EF4-FFF2-40B4-BE49-F238E27FC236}">
                  <a16:creationId xmlns:a16="http://schemas.microsoft.com/office/drawing/2014/main" id="{E669B8A1-A917-47E1-A625-FFAE0F82139E}"/>
                </a:ext>
              </a:extLst>
            </p:cNvPr>
            <p:cNvSpPr/>
            <p:nvPr/>
          </p:nvSpPr>
          <p:spPr>
            <a:xfrm>
              <a:off x="7604389" y="3340161"/>
              <a:ext cx="512513" cy="512512"/>
            </a:xfrm>
            <a:custGeom>
              <a:avLst/>
              <a:gdLst>
                <a:gd name="connsiteX0" fmla="*/ 0 w 1667159"/>
                <a:gd name="connsiteY0" fmla="*/ 1600184 h 1667159"/>
                <a:gd name="connsiteX1" fmla="*/ 0 w 1667159"/>
                <a:gd name="connsiteY1" fmla="*/ 63511 h 1667159"/>
                <a:gd name="connsiteX2" fmla="*/ 63511 w 1667159"/>
                <a:gd name="connsiteY2" fmla="*/ 0 h 1667159"/>
                <a:gd name="connsiteX3" fmla="*/ 1600184 w 1667159"/>
                <a:gd name="connsiteY3" fmla="*/ 0 h 1667159"/>
                <a:gd name="connsiteX4" fmla="*/ 1647459 w 1667159"/>
                <a:gd name="connsiteY4" fmla="*/ 114128 h 1667159"/>
                <a:gd name="connsiteX5" fmla="*/ 114128 w 1667159"/>
                <a:gd name="connsiteY5" fmla="*/ 1647459 h 1667159"/>
                <a:gd name="connsiteX6" fmla="*/ 0 w 1667159"/>
                <a:gd name="connsiteY6" fmla="*/ 1600184 h 166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7159" h="1667159">
                  <a:moveTo>
                    <a:pt x="0" y="1600184"/>
                  </a:moveTo>
                  <a:lnTo>
                    <a:pt x="0" y="63511"/>
                  </a:lnTo>
                  <a:cubicBezTo>
                    <a:pt x="0" y="28174"/>
                    <a:pt x="28651" y="0"/>
                    <a:pt x="63511" y="0"/>
                  </a:cubicBezTo>
                  <a:lnTo>
                    <a:pt x="1600184" y="0"/>
                  </a:lnTo>
                  <a:cubicBezTo>
                    <a:pt x="1659875" y="0"/>
                    <a:pt x="1689481" y="72106"/>
                    <a:pt x="1647459" y="114128"/>
                  </a:cubicBezTo>
                  <a:lnTo>
                    <a:pt x="114128" y="1647459"/>
                  </a:lnTo>
                  <a:cubicBezTo>
                    <a:pt x="72106" y="1689481"/>
                    <a:pt x="0" y="1659874"/>
                    <a:pt x="0" y="1600184"/>
                  </a:cubicBezTo>
                  <a:close/>
                </a:path>
              </a:pathLst>
            </a:custGeom>
            <a:solidFill>
              <a:schemeClr val="accent6">
                <a:alpha val="60000"/>
              </a:schemeClr>
            </a:solidFill>
            <a:ln w="4775" cap="flat">
              <a:no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DF5680BA-7CA1-49C5-A44C-721F6E9C71E5}"/>
                </a:ext>
              </a:extLst>
            </p:cNvPr>
            <p:cNvSpPr/>
            <p:nvPr/>
          </p:nvSpPr>
          <p:spPr>
            <a:xfrm>
              <a:off x="7935422" y="3810944"/>
              <a:ext cx="48149" cy="48149"/>
            </a:xfrm>
            <a:custGeom>
              <a:avLst/>
              <a:gdLst>
                <a:gd name="connsiteX0" fmla="*/ 156628 w 156627"/>
                <a:gd name="connsiteY0" fmla="*/ 78314 h 156627"/>
                <a:gd name="connsiteX1" fmla="*/ 78314 w 156627"/>
                <a:gd name="connsiteY1" fmla="*/ 156628 h 156627"/>
                <a:gd name="connsiteX2" fmla="*/ 0 w 156627"/>
                <a:gd name="connsiteY2" fmla="*/ 78314 h 156627"/>
                <a:gd name="connsiteX3" fmla="*/ 78314 w 156627"/>
                <a:gd name="connsiteY3" fmla="*/ 0 h 156627"/>
                <a:gd name="connsiteX4" fmla="*/ 156628 w 156627"/>
                <a:gd name="connsiteY4" fmla="*/ 78314 h 156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627" h="156627">
                  <a:moveTo>
                    <a:pt x="156628" y="78314"/>
                  </a:moveTo>
                  <a:cubicBezTo>
                    <a:pt x="156628" y="121566"/>
                    <a:pt x="121566" y="156628"/>
                    <a:pt x="78314" y="156628"/>
                  </a:cubicBezTo>
                  <a:cubicBezTo>
                    <a:pt x="35062" y="156628"/>
                    <a:pt x="0" y="121566"/>
                    <a:pt x="0" y="78314"/>
                  </a:cubicBezTo>
                  <a:cubicBezTo>
                    <a:pt x="0" y="35062"/>
                    <a:pt x="35062" y="0"/>
                    <a:pt x="78314" y="0"/>
                  </a:cubicBezTo>
                  <a:cubicBezTo>
                    <a:pt x="121566" y="0"/>
                    <a:pt x="156628" y="35062"/>
                    <a:pt x="156628" y="78314"/>
                  </a:cubicBezTo>
                  <a:close/>
                </a:path>
              </a:pathLst>
            </a:custGeom>
            <a:solidFill>
              <a:schemeClr val="accent5"/>
            </a:solidFill>
            <a:ln w="4775" cap="flat">
              <a:noFill/>
              <a:prstDash val="solid"/>
              <a:miter/>
            </a:ln>
          </p:spPr>
          <p:txBody>
            <a:bodyPr rtlCol="0" anchor="ctr"/>
            <a:lstStyle/>
            <a:p>
              <a:endParaRPr lang="en-US"/>
            </a:p>
          </p:txBody>
        </p:sp>
        <p:sp>
          <p:nvSpPr>
            <p:cNvPr id="269" name="Freeform: Shape 268">
              <a:extLst>
                <a:ext uri="{FF2B5EF4-FFF2-40B4-BE49-F238E27FC236}">
                  <a16:creationId xmlns:a16="http://schemas.microsoft.com/office/drawing/2014/main" id="{9FDAF1F6-9B18-4699-8AB2-DD96018E44F3}"/>
                </a:ext>
              </a:extLst>
            </p:cNvPr>
            <p:cNvSpPr/>
            <p:nvPr/>
          </p:nvSpPr>
          <p:spPr>
            <a:xfrm>
              <a:off x="7588829" y="3286286"/>
              <a:ext cx="113772" cy="97767"/>
            </a:xfrm>
            <a:custGeom>
              <a:avLst/>
              <a:gdLst>
                <a:gd name="connsiteX0" fmla="*/ 0 w 370090"/>
                <a:gd name="connsiteY0" fmla="*/ 25309 h 318030"/>
                <a:gd name="connsiteX1" fmla="*/ 3343 w 370090"/>
                <a:gd name="connsiteY1" fmla="*/ 12893 h 318030"/>
                <a:gd name="connsiteX2" fmla="*/ 25786 w 370090"/>
                <a:gd name="connsiteY2" fmla="*/ 0 h 318030"/>
                <a:gd name="connsiteX3" fmla="*/ 344295 w 370090"/>
                <a:gd name="connsiteY3" fmla="*/ 0 h 318030"/>
                <a:gd name="connsiteX4" fmla="*/ 366739 w 370090"/>
                <a:gd name="connsiteY4" fmla="*/ 12893 h 318030"/>
                <a:gd name="connsiteX5" fmla="*/ 366261 w 370090"/>
                <a:gd name="connsiteY5" fmla="*/ 38679 h 318030"/>
                <a:gd name="connsiteX6" fmla="*/ 207246 w 370090"/>
                <a:gd name="connsiteY6" fmla="*/ 305615 h 318030"/>
                <a:gd name="connsiteX7" fmla="*/ 185279 w 370090"/>
                <a:gd name="connsiteY7" fmla="*/ 318031 h 318030"/>
                <a:gd name="connsiteX8" fmla="*/ 163313 w 370090"/>
                <a:gd name="connsiteY8" fmla="*/ 305615 h 318030"/>
                <a:gd name="connsiteX9" fmla="*/ 3343 w 370090"/>
                <a:gd name="connsiteY9" fmla="*/ 38679 h 318030"/>
                <a:gd name="connsiteX10" fmla="*/ 0 w 370090"/>
                <a:gd name="connsiteY10" fmla="*/ 25309 h 318030"/>
                <a:gd name="connsiteX11" fmla="*/ 355278 w 370090"/>
                <a:gd name="connsiteY11" fmla="*/ 25309 h 318030"/>
                <a:gd name="connsiteX12" fmla="*/ 353846 w 370090"/>
                <a:gd name="connsiteY12" fmla="*/ 19578 h 318030"/>
                <a:gd name="connsiteX13" fmla="*/ 344295 w 370090"/>
                <a:gd name="connsiteY13" fmla="*/ 13848 h 318030"/>
                <a:gd name="connsiteX14" fmla="*/ 25786 w 370090"/>
                <a:gd name="connsiteY14" fmla="*/ 13848 h 318030"/>
                <a:gd name="connsiteX15" fmla="*/ 16236 w 370090"/>
                <a:gd name="connsiteY15" fmla="*/ 19578 h 318030"/>
                <a:gd name="connsiteX16" fmla="*/ 16236 w 370090"/>
                <a:gd name="connsiteY16" fmla="*/ 31039 h 318030"/>
                <a:gd name="connsiteX17" fmla="*/ 175251 w 370090"/>
                <a:gd name="connsiteY17" fmla="*/ 297975 h 318030"/>
                <a:gd name="connsiteX18" fmla="*/ 184802 w 370090"/>
                <a:gd name="connsiteY18" fmla="*/ 303228 h 318030"/>
                <a:gd name="connsiteX19" fmla="*/ 194352 w 370090"/>
                <a:gd name="connsiteY19" fmla="*/ 297975 h 318030"/>
                <a:gd name="connsiteX20" fmla="*/ 194352 w 370090"/>
                <a:gd name="connsiteY20" fmla="*/ 297975 h 318030"/>
                <a:gd name="connsiteX21" fmla="*/ 353368 w 370090"/>
                <a:gd name="connsiteY21" fmla="*/ 31039 h 318030"/>
                <a:gd name="connsiteX22" fmla="*/ 355278 w 370090"/>
                <a:gd name="connsiteY22" fmla="*/ 25309 h 31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0090" h="318030">
                  <a:moveTo>
                    <a:pt x="0" y="25309"/>
                  </a:moveTo>
                  <a:cubicBezTo>
                    <a:pt x="0" y="21011"/>
                    <a:pt x="955" y="16713"/>
                    <a:pt x="3343" y="12893"/>
                  </a:cubicBezTo>
                  <a:cubicBezTo>
                    <a:pt x="8118" y="4775"/>
                    <a:pt x="16236" y="0"/>
                    <a:pt x="25786" y="0"/>
                  </a:cubicBezTo>
                  <a:lnTo>
                    <a:pt x="344295" y="0"/>
                  </a:lnTo>
                  <a:cubicBezTo>
                    <a:pt x="353846" y="0"/>
                    <a:pt x="361963" y="4775"/>
                    <a:pt x="366739" y="12893"/>
                  </a:cubicBezTo>
                  <a:cubicBezTo>
                    <a:pt x="371514" y="21011"/>
                    <a:pt x="371036" y="30562"/>
                    <a:pt x="366261" y="38679"/>
                  </a:cubicBezTo>
                  <a:lnTo>
                    <a:pt x="207246" y="305615"/>
                  </a:lnTo>
                  <a:cubicBezTo>
                    <a:pt x="202470" y="313256"/>
                    <a:pt x="194352" y="318031"/>
                    <a:pt x="185279" y="318031"/>
                  </a:cubicBezTo>
                  <a:cubicBezTo>
                    <a:pt x="176207" y="318031"/>
                    <a:pt x="168089" y="313256"/>
                    <a:pt x="163313" y="305615"/>
                  </a:cubicBezTo>
                  <a:lnTo>
                    <a:pt x="3343" y="38679"/>
                  </a:lnTo>
                  <a:cubicBezTo>
                    <a:pt x="955" y="34382"/>
                    <a:pt x="0" y="30084"/>
                    <a:pt x="0" y="25309"/>
                  </a:cubicBezTo>
                  <a:close/>
                  <a:moveTo>
                    <a:pt x="355278" y="25309"/>
                  </a:moveTo>
                  <a:cubicBezTo>
                    <a:pt x="355278" y="23399"/>
                    <a:pt x="354801" y="21489"/>
                    <a:pt x="353846" y="19578"/>
                  </a:cubicBezTo>
                  <a:cubicBezTo>
                    <a:pt x="351936" y="16236"/>
                    <a:pt x="348115" y="13848"/>
                    <a:pt x="344295" y="13848"/>
                  </a:cubicBezTo>
                  <a:lnTo>
                    <a:pt x="25786" y="13848"/>
                  </a:lnTo>
                  <a:cubicBezTo>
                    <a:pt x="21489" y="13848"/>
                    <a:pt x="18146" y="15758"/>
                    <a:pt x="16236" y="19578"/>
                  </a:cubicBezTo>
                  <a:cubicBezTo>
                    <a:pt x="14326" y="22921"/>
                    <a:pt x="14326" y="27219"/>
                    <a:pt x="16236" y="31039"/>
                  </a:cubicBezTo>
                  <a:lnTo>
                    <a:pt x="175251" y="297975"/>
                  </a:lnTo>
                  <a:cubicBezTo>
                    <a:pt x="177162" y="301318"/>
                    <a:pt x="180982" y="303228"/>
                    <a:pt x="184802" y="303228"/>
                  </a:cubicBezTo>
                  <a:cubicBezTo>
                    <a:pt x="188622" y="303228"/>
                    <a:pt x="192442" y="301318"/>
                    <a:pt x="194352" y="297975"/>
                  </a:cubicBezTo>
                  <a:cubicBezTo>
                    <a:pt x="194352" y="297975"/>
                    <a:pt x="194352" y="297975"/>
                    <a:pt x="194352" y="297975"/>
                  </a:cubicBezTo>
                  <a:lnTo>
                    <a:pt x="353368" y="31039"/>
                  </a:lnTo>
                  <a:cubicBezTo>
                    <a:pt x="354323" y="29606"/>
                    <a:pt x="355278" y="27696"/>
                    <a:pt x="355278" y="25309"/>
                  </a:cubicBezTo>
                  <a:close/>
                </a:path>
              </a:pathLst>
            </a:custGeom>
            <a:solidFill>
              <a:srgbClr val="6CBD4B"/>
            </a:solidFill>
            <a:ln w="4775" cap="flat">
              <a:noFill/>
              <a:prstDash val="solid"/>
              <a:miter/>
            </a:ln>
          </p:spPr>
          <p:txBody>
            <a:bodyPr rtlCol="0" anchor="ctr"/>
            <a:lstStyle/>
            <a:p>
              <a:endParaRPr lang="en-US"/>
            </a:p>
          </p:txBody>
        </p:sp>
        <p:grpSp>
          <p:nvGrpSpPr>
            <p:cNvPr id="270" name="Graphic 3">
              <a:extLst>
                <a:ext uri="{FF2B5EF4-FFF2-40B4-BE49-F238E27FC236}">
                  <a16:creationId xmlns:a16="http://schemas.microsoft.com/office/drawing/2014/main" id="{9643B0EF-F59B-4850-8DFB-B66454BA708F}"/>
                </a:ext>
              </a:extLst>
            </p:cNvPr>
            <p:cNvGrpSpPr/>
            <p:nvPr/>
          </p:nvGrpSpPr>
          <p:grpSpPr>
            <a:xfrm>
              <a:off x="8074550" y="3388274"/>
              <a:ext cx="23708" cy="23671"/>
              <a:chOff x="5394053" y="2295073"/>
              <a:chExt cx="77120" cy="77000"/>
            </a:xfrm>
            <a:solidFill>
              <a:schemeClr val="accent5">
                <a:alpha val="60000"/>
              </a:schemeClr>
            </a:solidFill>
          </p:grpSpPr>
          <p:sp>
            <p:nvSpPr>
              <p:cNvPr id="305" name="Freeform: Shape 304">
                <a:extLst>
                  <a:ext uri="{FF2B5EF4-FFF2-40B4-BE49-F238E27FC236}">
                    <a16:creationId xmlns:a16="http://schemas.microsoft.com/office/drawing/2014/main" id="{2C8C13F1-9491-4909-96EE-2B671854C59E}"/>
                  </a:ext>
                </a:extLst>
              </p:cNvPr>
              <p:cNvSpPr/>
              <p:nvPr/>
            </p:nvSpPr>
            <p:spPr>
              <a:xfrm>
                <a:off x="5394053" y="2295073"/>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4445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1"/>
                      <a:pt x="-836" y="66018"/>
                      <a:pt x="2507" y="62675"/>
                    </a:cubicBezTo>
                    <a:lnTo>
                      <a:pt x="62675" y="2507"/>
                    </a:lnTo>
                    <a:cubicBezTo>
                      <a:pt x="66018" y="-836"/>
                      <a:pt x="71270" y="-836"/>
                      <a:pt x="74613" y="2507"/>
                    </a:cubicBezTo>
                    <a:cubicBezTo>
                      <a:pt x="77956" y="5850"/>
                      <a:pt x="77956" y="11102"/>
                      <a:pt x="74613" y="14445"/>
                    </a:cubicBezTo>
                    <a:lnTo>
                      <a:pt x="14445" y="74613"/>
                    </a:lnTo>
                    <a:cubicBezTo>
                      <a:pt x="12535" y="76046"/>
                      <a:pt x="10625" y="77001"/>
                      <a:pt x="8237" y="77001"/>
                    </a:cubicBezTo>
                    <a:close/>
                  </a:path>
                </a:pathLst>
              </a:custGeom>
              <a:grpFill/>
              <a:ln w="4775" cap="flat">
                <a:noFill/>
                <a:prstDash val="solid"/>
                <a:miter/>
              </a:ln>
            </p:spPr>
            <p:txBody>
              <a:bodyPr rtlCol="0" anchor="ctr"/>
              <a:lstStyle/>
              <a:p>
                <a:endParaRPr lang="en-US"/>
              </a:p>
            </p:txBody>
          </p:sp>
          <p:sp>
            <p:nvSpPr>
              <p:cNvPr id="306" name="Freeform: Shape 305">
                <a:extLst>
                  <a:ext uri="{FF2B5EF4-FFF2-40B4-BE49-F238E27FC236}">
                    <a16:creationId xmlns:a16="http://schemas.microsoft.com/office/drawing/2014/main" id="{D51C2190-020D-4BC7-9A59-C2B3D0494C3D}"/>
                  </a:ext>
                </a:extLst>
              </p:cNvPr>
              <p:cNvSpPr/>
              <p:nvPr/>
            </p:nvSpPr>
            <p:spPr>
              <a:xfrm>
                <a:off x="5394053" y="2295073"/>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5"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1"/>
                      <a:pt x="74613" y="74613"/>
                    </a:cubicBezTo>
                    <a:cubicBezTo>
                      <a:pt x="72703" y="76046"/>
                      <a:pt x="70316" y="77001"/>
                      <a:pt x="68405" y="77001"/>
                    </a:cubicBezTo>
                    <a:close/>
                  </a:path>
                </a:pathLst>
              </a:custGeom>
              <a:grpFill/>
              <a:ln w="4775" cap="flat">
                <a:noFill/>
                <a:prstDash val="solid"/>
                <a:miter/>
              </a:ln>
            </p:spPr>
            <p:txBody>
              <a:bodyPr rtlCol="0" anchor="ctr"/>
              <a:lstStyle/>
              <a:p>
                <a:endParaRPr lang="en-US"/>
              </a:p>
            </p:txBody>
          </p:sp>
        </p:grpSp>
        <p:grpSp>
          <p:nvGrpSpPr>
            <p:cNvPr id="272" name="Graphic 3">
              <a:extLst>
                <a:ext uri="{FF2B5EF4-FFF2-40B4-BE49-F238E27FC236}">
                  <a16:creationId xmlns:a16="http://schemas.microsoft.com/office/drawing/2014/main" id="{A800DD90-FBD6-4F6C-9BA0-91E36584517B}"/>
                </a:ext>
              </a:extLst>
            </p:cNvPr>
            <p:cNvGrpSpPr/>
            <p:nvPr/>
          </p:nvGrpSpPr>
          <p:grpSpPr>
            <a:xfrm>
              <a:off x="8168208" y="3493235"/>
              <a:ext cx="23708" cy="23671"/>
              <a:chOff x="5698714" y="2636503"/>
              <a:chExt cx="77120" cy="77000"/>
            </a:xfrm>
            <a:solidFill>
              <a:schemeClr val="accent6">
                <a:alpha val="60000"/>
              </a:schemeClr>
            </a:solidFill>
          </p:grpSpPr>
          <p:sp>
            <p:nvSpPr>
              <p:cNvPr id="303" name="Freeform: Shape 302">
                <a:extLst>
                  <a:ext uri="{FF2B5EF4-FFF2-40B4-BE49-F238E27FC236}">
                    <a16:creationId xmlns:a16="http://schemas.microsoft.com/office/drawing/2014/main" id="{3CC3E611-70BF-47CB-9442-0CE4398EC6C1}"/>
                  </a:ext>
                </a:extLst>
              </p:cNvPr>
              <p:cNvSpPr/>
              <p:nvPr/>
            </p:nvSpPr>
            <p:spPr>
              <a:xfrm>
                <a:off x="5698714" y="2636503"/>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4445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1"/>
                      <a:pt x="-836" y="66018"/>
                      <a:pt x="2507" y="62675"/>
                    </a:cubicBezTo>
                    <a:lnTo>
                      <a:pt x="62675" y="2507"/>
                    </a:lnTo>
                    <a:cubicBezTo>
                      <a:pt x="66018" y="-836"/>
                      <a:pt x="71271" y="-836"/>
                      <a:pt x="74613" y="2507"/>
                    </a:cubicBezTo>
                    <a:cubicBezTo>
                      <a:pt x="77956" y="5850"/>
                      <a:pt x="77956" y="11102"/>
                      <a:pt x="74613" y="14445"/>
                    </a:cubicBezTo>
                    <a:lnTo>
                      <a:pt x="14445" y="74613"/>
                    </a:lnTo>
                    <a:cubicBezTo>
                      <a:pt x="12535" y="76046"/>
                      <a:pt x="10625" y="77001"/>
                      <a:pt x="8237" y="77001"/>
                    </a:cubicBezTo>
                    <a:close/>
                  </a:path>
                </a:pathLst>
              </a:custGeom>
              <a:grpFill/>
              <a:ln w="4775" cap="flat">
                <a:noFill/>
                <a:prstDash val="solid"/>
                <a:miter/>
              </a:ln>
            </p:spPr>
            <p:txBody>
              <a:bodyPr rtlCol="0" anchor="ctr"/>
              <a:lstStyle/>
              <a:p>
                <a:endParaRPr lang="en-US"/>
              </a:p>
            </p:txBody>
          </p:sp>
          <p:sp>
            <p:nvSpPr>
              <p:cNvPr id="304" name="Freeform: Shape 303">
                <a:extLst>
                  <a:ext uri="{FF2B5EF4-FFF2-40B4-BE49-F238E27FC236}">
                    <a16:creationId xmlns:a16="http://schemas.microsoft.com/office/drawing/2014/main" id="{3A9FB222-FDF6-4680-9172-5FD2297ED766}"/>
                  </a:ext>
                </a:extLst>
              </p:cNvPr>
              <p:cNvSpPr/>
              <p:nvPr/>
            </p:nvSpPr>
            <p:spPr>
              <a:xfrm>
                <a:off x="5698714" y="2636503"/>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5"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1"/>
                      <a:pt x="74613" y="74613"/>
                    </a:cubicBezTo>
                    <a:cubicBezTo>
                      <a:pt x="72703" y="76046"/>
                      <a:pt x="70316" y="77001"/>
                      <a:pt x="68405" y="77001"/>
                    </a:cubicBezTo>
                    <a:close/>
                  </a:path>
                </a:pathLst>
              </a:custGeom>
              <a:grpFill/>
              <a:ln w="4775" cap="flat">
                <a:noFill/>
                <a:prstDash val="solid"/>
                <a:miter/>
              </a:ln>
            </p:spPr>
            <p:txBody>
              <a:bodyPr rtlCol="0" anchor="ctr"/>
              <a:lstStyle/>
              <a:p>
                <a:endParaRPr lang="en-US"/>
              </a:p>
            </p:txBody>
          </p:sp>
        </p:grpSp>
        <p:grpSp>
          <p:nvGrpSpPr>
            <p:cNvPr id="273" name="Graphic 3">
              <a:extLst>
                <a:ext uri="{FF2B5EF4-FFF2-40B4-BE49-F238E27FC236}">
                  <a16:creationId xmlns:a16="http://schemas.microsoft.com/office/drawing/2014/main" id="{0ACFDB3B-A8B1-4511-86A7-B3C9AE65D4A2}"/>
                </a:ext>
              </a:extLst>
            </p:cNvPr>
            <p:cNvGrpSpPr/>
            <p:nvPr/>
          </p:nvGrpSpPr>
          <p:grpSpPr>
            <a:xfrm>
              <a:off x="8261865" y="3546229"/>
              <a:ext cx="23708" cy="23671"/>
              <a:chOff x="6003374" y="2808889"/>
              <a:chExt cx="77120" cy="77000"/>
            </a:xfrm>
            <a:solidFill>
              <a:schemeClr val="accent6">
                <a:alpha val="60000"/>
              </a:schemeClr>
            </a:solidFill>
          </p:grpSpPr>
          <p:sp>
            <p:nvSpPr>
              <p:cNvPr id="301" name="Freeform: Shape 300">
                <a:extLst>
                  <a:ext uri="{FF2B5EF4-FFF2-40B4-BE49-F238E27FC236}">
                    <a16:creationId xmlns:a16="http://schemas.microsoft.com/office/drawing/2014/main" id="{550E13B7-B8A4-4374-B8E6-4EF326FFC864}"/>
                  </a:ext>
                </a:extLst>
              </p:cNvPr>
              <p:cNvSpPr/>
              <p:nvPr/>
            </p:nvSpPr>
            <p:spPr>
              <a:xfrm>
                <a:off x="6003374" y="2808889"/>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4445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1"/>
                      <a:pt x="-836" y="66018"/>
                      <a:pt x="2507" y="62675"/>
                    </a:cubicBezTo>
                    <a:lnTo>
                      <a:pt x="62675" y="2507"/>
                    </a:lnTo>
                    <a:cubicBezTo>
                      <a:pt x="66018" y="-836"/>
                      <a:pt x="71271" y="-836"/>
                      <a:pt x="74613" y="2507"/>
                    </a:cubicBezTo>
                    <a:cubicBezTo>
                      <a:pt x="77956" y="5850"/>
                      <a:pt x="77956" y="11102"/>
                      <a:pt x="74613" y="14445"/>
                    </a:cubicBezTo>
                    <a:lnTo>
                      <a:pt x="14445" y="74613"/>
                    </a:lnTo>
                    <a:cubicBezTo>
                      <a:pt x="12535" y="76046"/>
                      <a:pt x="10625" y="77001"/>
                      <a:pt x="8237" y="77001"/>
                    </a:cubicBezTo>
                    <a:close/>
                  </a:path>
                </a:pathLst>
              </a:custGeom>
              <a:grpFill/>
              <a:ln w="4775" cap="flat">
                <a:noFill/>
                <a:prstDash val="solid"/>
                <a:miter/>
              </a:ln>
            </p:spPr>
            <p:txBody>
              <a:bodyPr rtlCol="0" anchor="ctr"/>
              <a:lstStyle/>
              <a:p>
                <a:endParaRPr lang="en-US"/>
              </a:p>
            </p:txBody>
          </p:sp>
          <p:sp>
            <p:nvSpPr>
              <p:cNvPr id="302" name="Freeform: Shape 301">
                <a:extLst>
                  <a:ext uri="{FF2B5EF4-FFF2-40B4-BE49-F238E27FC236}">
                    <a16:creationId xmlns:a16="http://schemas.microsoft.com/office/drawing/2014/main" id="{1A145344-9474-408D-8763-86D7F858F17F}"/>
                  </a:ext>
                </a:extLst>
              </p:cNvPr>
              <p:cNvSpPr/>
              <p:nvPr/>
            </p:nvSpPr>
            <p:spPr>
              <a:xfrm>
                <a:off x="6003374" y="2808889"/>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5"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1"/>
                      <a:pt x="74613" y="74613"/>
                    </a:cubicBezTo>
                    <a:cubicBezTo>
                      <a:pt x="72703" y="76046"/>
                      <a:pt x="70316" y="77001"/>
                      <a:pt x="68405" y="77001"/>
                    </a:cubicBezTo>
                    <a:close/>
                  </a:path>
                </a:pathLst>
              </a:custGeom>
              <a:grpFill/>
              <a:ln w="4775" cap="flat">
                <a:noFill/>
                <a:prstDash val="solid"/>
                <a:miter/>
              </a:ln>
            </p:spPr>
            <p:txBody>
              <a:bodyPr rtlCol="0" anchor="ctr"/>
              <a:lstStyle/>
              <a:p>
                <a:endParaRPr lang="en-US"/>
              </a:p>
            </p:txBody>
          </p:sp>
        </p:grpSp>
        <p:grpSp>
          <p:nvGrpSpPr>
            <p:cNvPr id="275" name="Graphic 3">
              <a:extLst>
                <a:ext uri="{FF2B5EF4-FFF2-40B4-BE49-F238E27FC236}">
                  <a16:creationId xmlns:a16="http://schemas.microsoft.com/office/drawing/2014/main" id="{52C069FE-6074-4456-8DDE-C9939F686089}"/>
                </a:ext>
              </a:extLst>
            </p:cNvPr>
            <p:cNvGrpSpPr/>
            <p:nvPr/>
          </p:nvGrpSpPr>
          <p:grpSpPr>
            <a:xfrm>
              <a:off x="8216651" y="3652659"/>
              <a:ext cx="23855" cy="23671"/>
              <a:chOff x="5856297" y="3155094"/>
              <a:chExt cx="77597" cy="77000"/>
            </a:xfrm>
            <a:solidFill>
              <a:schemeClr val="accent6">
                <a:alpha val="60000"/>
              </a:schemeClr>
            </a:solidFill>
          </p:grpSpPr>
          <p:sp>
            <p:nvSpPr>
              <p:cNvPr id="299" name="Freeform: Shape 298">
                <a:extLst>
                  <a:ext uri="{FF2B5EF4-FFF2-40B4-BE49-F238E27FC236}">
                    <a16:creationId xmlns:a16="http://schemas.microsoft.com/office/drawing/2014/main" id="{95E22C3D-D257-43B3-BFB9-5FFBE210AE4C}"/>
                  </a:ext>
                </a:extLst>
              </p:cNvPr>
              <p:cNvSpPr/>
              <p:nvPr/>
            </p:nvSpPr>
            <p:spPr>
              <a:xfrm>
                <a:off x="5856775" y="3155094"/>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3968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1"/>
                      <a:pt x="-836" y="66018"/>
                      <a:pt x="2507" y="62675"/>
                    </a:cubicBezTo>
                    <a:lnTo>
                      <a:pt x="62675" y="2507"/>
                    </a:lnTo>
                    <a:cubicBezTo>
                      <a:pt x="66018" y="-836"/>
                      <a:pt x="71270" y="-836"/>
                      <a:pt x="74613" y="2507"/>
                    </a:cubicBezTo>
                    <a:cubicBezTo>
                      <a:pt x="77956" y="5850"/>
                      <a:pt x="77956" y="11102"/>
                      <a:pt x="74613" y="14445"/>
                    </a:cubicBezTo>
                    <a:lnTo>
                      <a:pt x="13968" y="74613"/>
                    </a:lnTo>
                    <a:cubicBezTo>
                      <a:pt x="12535" y="76046"/>
                      <a:pt x="10147" y="77001"/>
                      <a:pt x="8237" y="77001"/>
                    </a:cubicBezTo>
                    <a:close/>
                  </a:path>
                </a:pathLst>
              </a:custGeom>
              <a:grpFill/>
              <a:ln w="4775" cap="flat">
                <a:noFill/>
                <a:prstDash val="solid"/>
                <a:miter/>
              </a:ln>
            </p:spPr>
            <p:txBody>
              <a:bodyPr rtlCol="0" anchor="ctr"/>
              <a:lstStyle/>
              <a:p>
                <a:endParaRPr lang="en-US"/>
              </a:p>
            </p:txBody>
          </p:sp>
          <p:sp>
            <p:nvSpPr>
              <p:cNvPr id="300" name="Freeform: Shape 299">
                <a:extLst>
                  <a:ext uri="{FF2B5EF4-FFF2-40B4-BE49-F238E27FC236}">
                    <a16:creationId xmlns:a16="http://schemas.microsoft.com/office/drawing/2014/main" id="{0D24BFF9-A0AD-42E8-B924-B1BDEC43D0E4}"/>
                  </a:ext>
                </a:extLst>
              </p:cNvPr>
              <p:cNvSpPr/>
              <p:nvPr/>
            </p:nvSpPr>
            <p:spPr>
              <a:xfrm>
                <a:off x="5856297" y="3155094"/>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5"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1"/>
                      <a:pt x="74613" y="74613"/>
                    </a:cubicBezTo>
                    <a:cubicBezTo>
                      <a:pt x="72703" y="76046"/>
                      <a:pt x="70793" y="77001"/>
                      <a:pt x="68405" y="77001"/>
                    </a:cubicBezTo>
                    <a:close/>
                  </a:path>
                </a:pathLst>
              </a:custGeom>
              <a:grpFill/>
              <a:ln w="4775" cap="flat">
                <a:noFill/>
                <a:prstDash val="solid"/>
                <a:miter/>
              </a:ln>
            </p:spPr>
            <p:txBody>
              <a:bodyPr rtlCol="0" anchor="ctr"/>
              <a:lstStyle/>
              <a:p>
                <a:endParaRPr lang="en-US"/>
              </a:p>
            </p:txBody>
          </p:sp>
        </p:grpSp>
        <p:grpSp>
          <p:nvGrpSpPr>
            <p:cNvPr id="276" name="Graphic 3">
              <a:extLst>
                <a:ext uri="{FF2B5EF4-FFF2-40B4-BE49-F238E27FC236}">
                  <a16:creationId xmlns:a16="http://schemas.microsoft.com/office/drawing/2014/main" id="{C0C5F431-2522-4496-9419-D80C7404C758}"/>
                </a:ext>
              </a:extLst>
            </p:cNvPr>
            <p:cNvGrpSpPr/>
            <p:nvPr/>
          </p:nvGrpSpPr>
          <p:grpSpPr>
            <a:xfrm>
              <a:off x="8122699" y="3601279"/>
              <a:ext cx="23855" cy="23671"/>
              <a:chOff x="5550681" y="2987961"/>
              <a:chExt cx="77597" cy="77000"/>
            </a:xfrm>
            <a:solidFill>
              <a:schemeClr val="accent5">
                <a:alpha val="60000"/>
              </a:schemeClr>
            </a:solidFill>
          </p:grpSpPr>
          <p:sp>
            <p:nvSpPr>
              <p:cNvPr id="297" name="Freeform: Shape 296">
                <a:extLst>
                  <a:ext uri="{FF2B5EF4-FFF2-40B4-BE49-F238E27FC236}">
                    <a16:creationId xmlns:a16="http://schemas.microsoft.com/office/drawing/2014/main" id="{9F37A5B0-8BFF-4395-89BE-DCAEA1AE5EB1}"/>
                  </a:ext>
                </a:extLst>
              </p:cNvPr>
              <p:cNvSpPr/>
              <p:nvPr/>
            </p:nvSpPr>
            <p:spPr>
              <a:xfrm>
                <a:off x="5551159" y="2987961"/>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3968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1"/>
                      <a:pt x="-836" y="66018"/>
                      <a:pt x="2507" y="62675"/>
                    </a:cubicBezTo>
                    <a:lnTo>
                      <a:pt x="62675" y="2507"/>
                    </a:lnTo>
                    <a:cubicBezTo>
                      <a:pt x="66018" y="-836"/>
                      <a:pt x="71270" y="-836"/>
                      <a:pt x="74613" y="2507"/>
                    </a:cubicBezTo>
                    <a:cubicBezTo>
                      <a:pt x="77956" y="5850"/>
                      <a:pt x="77956" y="11102"/>
                      <a:pt x="74613" y="14445"/>
                    </a:cubicBezTo>
                    <a:lnTo>
                      <a:pt x="13968" y="74613"/>
                    </a:lnTo>
                    <a:cubicBezTo>
                      <a:pt x="12535" y="76523"/>
                      <a:pt x="10147" y="77001"/>
                      <a:pt x="8237" y="77001"/>
                    </a:cubicBezTo>
                    <a:close/>
                  </a:path>
                </a:pathLst>
              </a:custGeom>
              <a:grpFill/>
              <a:ln w="4775" cap="flat">
                <a:noFill/>
                <a:prstDash val="solid"/>
                <a:miter/>
              </a:ln>
            </p:spPr>
            <p:txBody>
              <a:bodyPr rtlCol="0" anchor="ctr"/>
              <a:lstStyle/>
              <a:p>
                <a:endParaRPr lang="en-US"/>
              </a:p>
            </p:txBody>
          </p:sp>
          <p:sp>
            <p:nvSpPr>
              <p:cNvPr id="298" name="Freeform: Shape 297">
                <a:extLst>
                  <a:ext uri="{FF2B5EF4-FFF2-40B4-BE49-F238E27FC236}">
                    <a16:creationId xmlns:a16="http://schemas.microsoft.com/office/drawing/2014/main" id="{5DF885BF-D182-411C-B699-D1A0BF07890D}"/>
                  </a:ext>
                </a:extLst>
              </p:cNvPr>
              <p:cNvSpPr/>
              <p:nvPr/>
            </p:nvSpPr>
            <p:spPr>
              <a:xfrm>
                <a:off x="5550681" y="2987961"/>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5"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1"/>
                      <a:pt x="74613" y="74613"/>
                    </a:cubicBezTo>
                    <a:cubicBezTo>
                      <a:pt x="72703" y="76523"/>
                      <a:pt x="70793" y="77001"/>
                      <a:pt x="68405" y="77001"/>
                    </a:cubicBezTo>
                    <a:close/>
                  </a:path>
                </a:pathLst>
              </a:custGeom>
              <a:grpFill/>
              <a:ln w="4775" cap="flat">
                <a:noFill/>
                <a:prstDash val="solid"/>
                <a:miter/>
              </a:ln>
            </p:spPr>
            <p:txBody>
              <a:bodyPr rtlCol="0" anchor="ctr"/>
              <a:lstStyle/>
              <a:p>
                <a:endParaRPr lang="en-US"/>
              </a:p>
            </p:txBody>
          </p:sp>
        </p:grpSp>
        <p:grpSp>
          <p:nvGrpSpPr>
            <p:cNvPr id="278" name="Graphic 3">
              <a:extLst>
                <a:ext uri="{FF2B5EF4-FFF2-40B4-BE49-F238E27FC236}">
                  <a16:creationId xmlns:a16="http://schemas.microsoft.com/office/drawing/2014/main" id="{57BEC1C3-3D88-48CA-B882-C8F7F68FEF34}"/>
                </a:ext>
              </a:extLst>
            </p:cNvPr>
            <p:cNvGrpSpPr/>
            <p:nvPr/>
          </p:nvGrpSpPr>
          <p:grpSpPr>
            <a:xfrm>
              <a:off x="8026987" y="3546229"/>
              <a:ext cx="23708" cy="23671"/>
              <a:chOff x="5239335" y="2808889"/>
              <a:chExt cx="77120" cy="77000"/>
            </a:xfrm>
            <a:solidFill>
              <a:schemeClr val="accent5">
                <a:alpha val="60000"/>
              </a:schemeClr>
            </a:solidFill>
          </p:grpSpPr>
          <p:sp>
            <p:nvSpPr>
              <p:cNvPr id="288" name="Freeform: Shape 287">
                <a:extLst>
                  <a:ext uri="{FF2B5EF4-FFF2-40B4-BE49-F238E27FC236}">
                    <a16:creationId xmlns:a16="http://schemas.microsoft.com/office/drawing/2014/main" id="{76D8D76A-3C3A-46D4-8659-7C23401F7777}"/>
                  </a:ext>
                </a:extLst>
              </p:cNvPr>
              <p:cNvSpPr/>
              <p:nvPr/>
            </p:nvSpPr>
            <p:spPr>
              <a:xfrm>
                <a:off x="5239335" y="2808889"/>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4445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1"/>
                      <a:pt x="-836" y="66018"/>
                      <a:pt x="2507" y="62675"/>
                    </a:cubicBezTo>
                    <a:lnTo>
                      <a:pt x="62675" y="2507"/>
                    </a:lnTo>
                    <a:cubicBezTo>
                      <a:pt x="66018" y="-836"/>
                      <a:pt x="71271" y="-836"/>
                      <a:pt x="74613" y="2507"/>
                    </a:cubicBezTo>
                    <a:cubicBezTo>
                      <a:pt x="77956" y="5850"/>
                      <a:pt x="77956" y="11102"/>
                      <a:pt x="74613" y="14445"/>
                    </a:cubicBezTo>
                    <a:lnTo>
                      <a:pt x="14445" y="74613"/>
                    </a:lnTo>
                    <a:cubicBezTo>
                      <a:pt x="12535" y="76046"/>
                      <a:pt x="10625" y="77001"/>
                      <a:pt x="8237" y="77001"/>
                    </a:cubicBezTo>
                    <a:close/>
                  </a:path>
                </a:pathLst>
              </a:custGeom>
              <a:grpFill/>
              <a:ln w="4775" cap="flat">
                <a:noFill/>
                <a:prstDash val="solid"/>
                <a:miter/>
              </a:ln>
            </p:spPr>
            <p:txBody>
              <a:bodyPr rtlCol="0" anchor="ctr"/>
              <a:lstStyle/>
              <a:p>
                <a:endParaRPr lang="en-US"/>
              </a:p>
            </p:txBody>
          </p:sp>
          <p:sp>
            <p:nvSpPr>
              <p:cNvPr id="296" name="Freeform: Shape 295">
                <a:extLst>
                  <a:ext uri="{FF2B5EF4-FFF2-40B4-BE49-F238E27FC236}">
                    <a16:creationId xmlns:a16="http://schemas.microsoft.com/office/drawing/2014/main" id="{81401209-9137-4FE0-B21E-F69C80ACC772}"/>
                  </a:ext>
                </a:extLst>
              </p:cNvPr>
              <p:cNvSpPr/>
              <p:nvPr/>
            </p:nvSpPr>
            <p:spPr>
              <a:xfrm>
                <a:off x="5239335" y="2808889"/>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5"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1"/>
                      <a:pt x="74613" y="74613"/>
                    </a:cubicBezTo>
                    <a:cubicBezTo>
                      <a:pt x="72703" y="76046"/>
                      <a:pt x="70316" y="77001"/>
                      <a:pt x="68405" y="77001"/>
                    </a:cubicBezTo>
                    <a:close/>
                  </a:path>
                </a:pathLst>
              </a:custGeom>
              <a:grpFill/>
              <a:ln w="4775" cap="flat">
                <a:noFill/>
                <a:prstDash val="solid"/>
                <a:miter/>
              </a:ln>
            </p:spPr>
            <p:txBody>
              <a:bodyPr rtlCol="0" anchor="ctr"/>
              <a:lstStyle/>
              <a:p>
                <a:endParaRPr lang="en-US"/>
              </a:p>
            </p:txBody>
          </p:sp>
        </p:grpSp>
        <p:grpSp>
          <p:nvGrpSpPr>
            <p:cNvPr id="280" name="Graphic 3">
              <a:extLst>
                <a:ext uri="{FF2B5EF4-FFF2-40B4-BE49-F238E27FC236}">
                  <a16:creationId xmlns:a16="http://schemas.microsoft.com/office/drawing/2014/main" id="{CD71DE7D-7730-4D81-BE42-E2D16C2081CB}"/>
                </a:ext>
              </a:extLst>
            </p:cNvPr>
            <p:cNvGrpSpPr/>
            <p:nvPr/>
          </p:nvGrpSpPr>
          <p:grpSpPr>
            <a:xfrm>
              <a:off x="8074550" y="3704479"/>
              <a:ext cx="23708" cy="23671"/>
              <a:chOff x="5394053" y="3323660"/>
              <a:chExt cx="77120" cy="77000"/>
            </a:xfrm>
            <a:solidFill>
              <a:schemeClr val="accent5"/>
            </a:solidFill>
          </p:grpSpPr>
          <p:sp>
            <p:nvSpPr>
              <p:cNvPr id="286" name="Freeform: Shape 285">
                <a:extLst>
                  <a:ext uri="{FF2B5EF4-FFF2-40B4-BE49-F238E27FC236}">
                    <a16:creationId xmlns:a16="http://schemas.microsoft.com/office/drawing/2014/main" id="{DB3EC299-65A8-4359-856C-2C0A59D77C4B}"/>
                  </a:ext>
                </a:extLst>
              </p:cNvPr>
              <p:cNvSpPr/>
              <p:nvPr/>
            </p:nvSpPr>
            <p:spPr>
              <a:xfrm>
                <a:off x="5394053" y="3323660"/>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4445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0"/>
                      <a:pt x="-836" y="66018"/>
                      <a:pt x="2507" y="62675"/>
                    </a:cubicBezTo>
                    <a:lnTo>
                      <a:pt x="62675" y="2507"/>
                    </a:lnTo>
                    <a:cubicBezTo>
                      <a:pt x="66018" y="-836"/>
                      <a:pt x="71270" y="-836"/>
                      <a:pt x="74613" y="2507"/>
                    </a:cubicBezTo>
                    <a:cubicBezTo>
                      <a:pt x="77956" y="5850"/>
                      <a:pt x="77956" y="11102"/>
                      <a:pt x="74613" y="14445"/>
                    </a:cubicBezTo>
                    <a:lnTo>
                      <a:pt x="14445" y="74613"/>
                    </a:lnTo>
                    <a:cubicBezTo>
                      <a:pt x="12535" y="76046"/>
                      <a:pt x="10625" y="77001"/>
                      <a:pt x="8237" y="77001"/>
                    </a:cubicBezTo>
                    <a:close/>
                  </a:path>
                </a:pathLst>
              </a:custGeom>
              <a:grpFill/>
              <a:ln w="4775" cap="flat">
                <a:noFill/>
                <a:prstDash val="solid"/>
                <a:miter/>
              </a:ln>
            </p:spPr>
            <p:txBody>
              <a:bodyPr rtlCol="0" anchor="ctr"/>
              <a:lstStyle/>
              <a:p>
                <a:endParaRPr lang="en-US"/>
              </a:p>
            </p:txBody>
          </p:sp>
          <p:sp>
            <p:nvSpPr>
              <p:cNvPr id="287" name="Freeform: Shape 286">
                <a:extLst>
                  <a:ext uri="{FF2B5EF4-FFF2-40B4-BE49-F238E27FC236}">
                    <a16:creationId xmlns:a16="http://schemas.microsoft.com/office/drawing/2014/main" id="{A4DD676E-96BE-4409-AAC2-D9618AB95E0A}"/>
                  </a:ext>
                </a:extLst>
              </p:cNvPr>
              <p:cNvSpPr/>
              <p:nvPr/>
            </p:nvSpPr>
            <p:spPr>
              <a:xfrm>
                <a:off x="5394053" y="3323660"/>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5"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0"/>
                      <a:pt x="74613" y="74613"/>
                    </a:cubicBezTo>
                    <a:cubicBezTo>
                      <a:pt x="72703" y="76046"/>
                      <a:pt x="70316" y="77001"/>
                      <a:pt x="68405" y="77001"/>
                    </a:cubicBezTo>
                    <a:close/>
                  </a:path>
                </a:pathLst>
              </a:custGeom>
              <a:grpFill/>
              <a:ln w="4775" cap="flat">
                <a:noFill/>
                <a:prstDash val="solid"/>
                <a:miter/>
              </a:ln>
            </p:spPr>
            <p:txBody>
              <a:bodyPr rtlCol="0" anchor="ctr"/>
              <a:lstStyle/>
              <a:p>
                <a:endParaRPr lang="en-US"/>
              </a:p>
            </p:txBody>
          </p:sp>
        </p:grpSp>
        <p:grpSp>
          <p:nvGrpSpPr>
            <p:cNvPr id="281" name="Graphic 3">
              <a:extLst>
                <a:ext uri="{FF2B5EF4-FFF2-40B4-BE49-F238E27FC236}">
                  <a16:creationId xmlns:a16="http://schemas.microsoft.com/office/drawing/2014/main" id="{411B558B-4A74-465F-A1BA-305CAECE1ECF}"/>
                </a:ext>
              </a:extLst>
            </p:cNvPr>
            <p:cNvGrpSpPr/>
            <p:nvPr/>
          </p:nvGrpSpPr>
          <p:grpSpPr>
            <a:xfrm>
              <a:off x="8356697" y="3599077"/>
              <a:ext cx="23855" cy="23671"/>
              <a:chOff x="6311855" y="2980798"/>
              <a:chExt cx="77597" cy="77000"/>
            </a:xfrm>
            <a:solidFill>
              <a:schemeClr val="accent6">
                <a:alpha val="60000"/>
              </a:schemeClr>
            </a:solidFill>
          </p:grpSpPr>
          <p:sp>
            <p:nvSpPr>
              <p:cNvPr id="284" name="Freeform: Shape 283">
                <a:extLst>
                  <a:ext uri="{FF2B5EF4-FFF2-40B4-BE49-F238E27FC236}">
                    <a16:creationId xmlns:a16="http://schemas.microsoft.com/office/drawing/2014/main" id="{BFFAF590-B6C4-4FE5-9C03-8D699D4910C2}"/>
                  </a:ext>
                </a:extLst>
              </p:cNvPr>
              <p:cNvSpPr/>
              <p:nvPr/>
            </p:nvSpPr>
            <p:spPr>
              <a:xfrm>
                <a:off x="6312333" y="2980798"/>
                <a:ext cx="77120" cy="77000"/>
              </a:xfrm>
              <a:custGeom>
                <a:avLst/>
                <a:gdLst>
                  <a:gd name="connsiteX0" fmla="*/ 8237 w 77120"/>
                  <a:gd name="connsiteY0" fmla="*/ 77001 h 77000"/>
                  <a:gd name="connsiteX1" fmla="*/ 2507 w 77120"/>
                  <a:gd name="connsiteY1" fmla="*/ 74613 h 77000"/>
                  <a:gd name="connsiteX2" fmla="*/ 2507 w 77120"/>
                  <a:gd name="connsiteY2" fmla="*/ 62675 h 77000"/>
                  <a:gd name="connsiteX3" fmla="*/ 62675 w 77120"/>
                  <a:gd name="connsiteY3" fmla="*/ 2507 h 77000"/>
                  <a:gd name="connsiteX4" fmla="*/ 74613 w 77120"/>
                  <a:gd name="connsiteY4" fmla="*/ 2507 h 77000"/>
                  <a:gd name="connsiteX5" fmla="*/ 74613 w 77120"/>
                  <a:gd name="connsiteY5" fmla="*/ 14445 h 77000"/>
                  <a:gd name="connsiteX6" fmla="*/ 14445 w 77120"/>
                  <a:gd name="connsiteY6" fmla="*/ 74613 h 77000"/>
                  <a:gd name="connsiteX7" fmla="*/ 8237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8237" y="77001"/>
                    </a:moveTo>
                    <a:cubicBezTo>
                      <a:pt x="6327" y="77001"/>
                      <a:pt x="3940" y="76046"/>
                      <a:pt x="2507" y="74613"/>
                    </a:cubicBezTo>
                    <a:cubicBezTo>
                      <a:pt x="-836" y="71271"/>
                      <a:pt x="-836" y="66018"/>
                      <a:pt x="2507" y="62675"/>
                    </a:cubicBezTo>
                    <a:lnTo>
                      <a:pt x="62675" y="2507"/>
                    </a:lnTo>
                    <a:cubicBezTo>
                      <a:pt x="66018" y="-836"/>
                      <a:pt x="71270" y="-836"/>
                      <a:pt x="74613" y="2507"/>
                    </a:cubicBezTo>
                    <a:cubicBezTo>
                      <a:pt x="77956" y="5850"/>
                      <a:pt x="77956" y="11102"/>
                      <a:pt x="74613" y="14445"/>
                    </a:cubicBezTo>
                    <a:lnTo>
                      <a:pt x="14445" y="74613"/>
                    </a:lnTo>
                    <a:cubicBezTo>
                      <a:pt x="12057" y="76523"/>
                      <a:pt x="10147" y="77001"/>
                      <a:pt x="8237" y="77001"/>
                    </a:cubicBezTo>
                    <a:close/>
                  </a:path>
                </a:pathLst>
              </a:custGeom>
              <a:grpFill/>
              <a:ln w="4775" cap="flat">
                <a:noFill/>
                <a:prstDash val="solid"/>
                <a:miter/>
              </a:ln>
            </p:spPr>
            <p:txBody>
              <a:bodyPr rtlCol="0" anchor="ctr"/>
              <a:lstStyle/>
              <a:p>
                <a:endParaRPr lang="en-US"/>
              </a:p>
            </p:txBody>
          </p:sp>
          <p:sp>
            <p:nvSpPr>
              <p:cNvPr id="285" name="Freeform: Shape 284">
                <a:extLst>
                  <a:ext uri="{FF2B5EF4-FFF2-40B4-BE49-F238E27FC236}">
                    <a16:creationId xmlns:a16="http://schemas.microsoft.com/office/drawing/2014/main" id="{30599EE4-728D-4A38-9280-1119A860DF37}"/>
                  </a:ext>
                </a:extLst>
              </p:cNvPr>
              <p:cNvSpPr/>
              <p:nvPr/>
            </p:nvSpPr>
            <p:spPr>
              <a:xfrm>
                <a:off x="6311855" y="2980798"/>
                <a:ext cx="77120" cy="77000"/>
              </a:xfrm>
              <a:custGeom>
                <a:avLst/>
                <a:gdLst>
                  <a:gd name="connsiteX0" fmla="*/ 68405 w 77120"/>
                  <a:gd name="connsiteY0" fmla="*/ 77001 h 77000"/>
                  <a:gd name="connsiteX1" fmla="*/ 62675 w 77120"/>
                  <a:gd name="connsiteY1" fmla="*/ 74613 h 77000"/>
                  <a:gd name="connsiteX2" fmla="*/ 2507 w 77120"/>
                  <a:gd name="connsiteY2" fmla="*/ 14445 h 77000"/>
                  <a:gd name="connsiteX3" fmla="*/ 2507 w 77120"/>
                  <a:gd name="connsiteY3" fmla="*/ 2507 h 77000"/>
                  <a:gd name="connsiteX4" fmla="*/ 14445 w 77120"/>
                  <a:gd name="connsiteY4" fmla="*/ 2507 h 77000"/>
                  <a:gd name="connsiteX5" fmla="*/ 74613 w 77120"/>
                  <a:gd name="connsiteY5" fmla="*/ 62675 h 77000"/>
                  <a:gd name="connsiteX6" fmla="*/ 74613 w 77120"/>
                  <a:gd name="connsiteY6" fmla="*/ 74613 h 77000"/>
                  <a:gd name="connsiteX7" fmla="*/ 68405 w 77120"/>
                  <a:gd name="connsiteY7" fmla="*/ 77001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120" h="77000">
                    <a:moveTo>
                      <a:pt x="68405" y="77001"/>
                    </a:moveTo>
                    <a:cubicBezTo>
                      <a:pt x="66496" y="77001"/>
                      <a:pt x="64108" y="76046"/>
                      <a:pt x="62675" y="74613"/>
                    </a:cubicBezTo>
                    <a:lnTo>
                      <a:pt x="2507" y="14445"/>
                    </a:lnTo>
                    <a:cubicBezTo>
                      <a:pt x="-836" y="11102"/>
                      <a:pt x="-836" y="5850"/>
                      <a:pt x="2507" y="2507"/>
                    </a:cubicBezTo>
                    <a:cubicBezTo>
                      <a:pt x="5850" y="-836"/>
                      <a:pt x="11102" y="-836"/>
                      <a:pt x="14445" y="2507"/>
                    </a:cubicBezTo>
                    <a:lnTo>
                      <a:pt x="74613" y="62675"/>
                    </a:lnTo>
                    <a:cubicBezTo>
                      <a:pt x="77956" y="66018"/>
                      <a:pt x="77956" y="71271"/>
                      <a:pt x="74613" y="74613"/>
                    </a:cubicBezTo>
                    <a:cubicBezTo>
                      <a:pt x="72703" y="76523"/>
                      <a:pt x="70793" y="77001"/>
                      <a:pt x="68405" y="77001"/>
                    </a:cubicBezTo>
                    <a:close/>
                  </a:path>
                </a:pathLst>
              </a:custGeom>
              <a:grpFill/>
              <a:ln w="4775" cap="flat">
                <a:noFill/>
                <a:prstDash val="solid"/>
                <a:miter/>
              </a:ln>
            </p:spPr>
            <p:txBody>
              <a:bodyPr rtlCol="0" anchor="ctr"/>
              <a:lstStyle/>
              <a:p>
                <a:endParaRPr lang="en-US"/>
              </a:p>
            </p:txBody>
          </p:sp>
        </p:grpSp>
        <p:sp>
          <p:nvSpPr>
            <p:cNvPr id="282" name="Freeform: Shape 281">
              <a:extLst>
                <a:ext uri="{FF2B5EF4-FFF2-40B4-BE49-F238E27FC236}">
                  <a16:creationId xmlns:a16="http://schemas.microsoft.com/office/drawing/2014/main" id="{4F418D29-657B-487D-9BD1-EF8CC4A2610E}"/>
                </a:ext>
              </a:extLst>
            </p:cNvPr>
            <p:cNvSpPr/>
            <p:nvPr/>
          </p:nvSpPr>
          <p:spPr>
            <a:xfrm>
              <a:off x="8095112" y="3749897"/>
              <a:ext cx="220243" cy="189261"/>
            </a:xfrm>
            <a:custGeom>
              <a:avLst/>
              <a:gdLst>
                <a:gd name="connsiteX0" fmla="*/ 370090 w 370090"/>
                <a:gd name="connsiteY0" fmla="*/ 25309 h 318030"/>
                <a:gd name="connsiteX1" fmla="*/ 366748 w 370090"/>
                <a:gd name="connsiteY1" fmla="*/ 12893 h 318030"/>
                <a:gd name="connsiteX2" fmla="*/ 344304 w 370090"/>
                <a:gd name="connsiteY2" fmla="*/ 0 h 318030"/>
                <a:gd name="connsiteX3" fmla="*/ 25795 w 370090"/>
                <a:gd name="connsiteY3" fmla="*/ 0 h 318030"/>
                <a:gd name="connsiteX4" fmla="*/ 3352 w 370090"/>
                <a:gd name="connsiteY4" fmla="*/ 12893 h 318030"/>
                <a:gd name="connsiteX5" fmla="*/ 3829 w 370090"/>
                <a:gd name="connsiteY5" fmla="*/ 38679 h 318030"/>
                <a:gd name="connsiteX6" fmla="*/ 162845 w 370090"/>
                <a:gd name="connsiteY6" fmla="*/ 305615 h 318030"/>
                <a:gd name="connsiteX7" fmla="*/ 184811 w 370090"/>
                <a:gd name="connsiteY7" fmla="*/ 318031 h 318030"/>
                <a:gd name="connsiteX8" fmla="*/ 206777 w 370090"/>
                <a:gd name="connsiteY8" fmla="*/ 305615 h 318030"/>
                <a:gd name="connsiteX9" fmla="*/ 365792 w 370090"/>
                <a:gd name="connsiteY9" fmla="*/ 38679 h 318030"/>
                <a:gd name="connsiteX10" fmla="*/ 370090 w 370090"/>
                <a:gd name="connsiteY10" fmla="*/ 25309 h 318030"/>
                <a:gd name="connsiteX11" fmla="*/ 14812 w 370090"/>
                <a:gd name="connsiteY11" fmla="*/ 25309 h 318030"/>
                <a:gd name="connsiteX12" fmla="*/ 16245 w 370090"/>
                <a:gd name="connsiteY12" fmla="*/ 19578 h 318030"/>
                <a:gd name="connsiteX13" fmla="*/ 25795 w 370090"/>
                <a:gd name="connsiteY13" fmla="*/ 13848 h 318030"/>
                <a:gd name="connsiteX14" fmla="*/ 344304 w 370090"/>
                <a:gd name="connsiteY14" fmla="*/ 13848 h 318030"/>
                <a:gd name="connsiteX15" fmla="*/ 353854 w 370090"/>
                <a:gd name="connsiteY15" fmla="*/ 19578 h 318030"/>
                <a:gd name="connsiteX16" fmla="*/ 353854 w 370090"/>
                <a:gd name="connsiteY16" fmla="*/ 31039 h 318030"/>
                <a:gd name="connsiteX17" fmla="*/ 194839 w 370090"/>
                <a:gd name="connsiteY17" fmla="*/ 297975 h 318030"/>
                <a:gd name="connsiteX18" fmla="*/ 185288 w 370090"/>
                <a:gd name="connsiteY18" fmla="*/ 303228 h 318030"/>
                <a:gd name="connsiteX19" fmla="*/ 175738 w 370090"/>
                <a:gd name="connsiteY19" fmla="*/ 297975 h 318030"/>
                <a:gd name="connsiteX20" fmla="*/ 175738 w 370090"/>
                <a:gd name="connsiteY20" fmla="*/ 297975 h 318030"/>
                <a:gd name="connsiteX21" fmla="*/ 16722 w 370090"/>
                <a:gd name="connsiteY21" fmla="*/ 31039 h 318030"/>
                <a:gd name="connsiteX22" fmla="*/ 14812 w 370090"/>
                <a:gd name="connsiteY22" fmla="*/ 25309 h 318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0090" h="318030">
                  <a:moveTo>
                    <a:pt x="370090" y="25309"/>
                  </a:moveTo>
                  <a:cubicBezTo>
                    <a:pt x="370090" y="21011"/>
                    <a:pt x="369135" y="16713"/>
                    <a:pt x="366748" y="12893"/>
                  </a:cubicBezTo>
                  <a:cubicBezTo>
                    <a:pt x="361972" y="4775"/>
                    <a:pt x="353854" y="0"/>
                    <a:pt x="344304" y="0"/>
                  </a:cubicBezTo>
                  <a:lnTo>
                    <a:pt x="25795" y="0"/>
                  </a:lnTo>
                  <a:cubicBezTo>
                    <a:pt x="16245" y="0"/>
                    <a:pt x="8127" y="4775"/>
                    <a:pt x="3352" y="12893"/>
                  </a:cubicBezTo>
                  <a:cubicBezTo>
                    <a:pt x="-1424" y="21011"/>
                    <a:pt x="-946" y="30561"/>
                    <a:pt x="3829" y="38679"/>
                  </a:cubicBezTo>
                  <a:lnTo>
                    <a:pt x="162845" y="305615"/>
                  </a:lnTo>
                  <a:cubicBezTo>
                    <a:pt x="167620" y="313256"/>
                    <a:pt x="175738" y="318031"/>
                    <a:pt x="184811" y="318031"/>
                  </a:cubicBezTo>
                  <a:cubicBezTo>
                    <a:pt x="193884" y="318031"/>
                    <a:pt x="202002" y="313256"/>
                    <a:pt x="206777" y="305615"/>
                  </a:cubicBezTo>
                  <a:lnTo>
                    <a:pt x="365792" y="38679"/>
                  </a:lnTo>
                  <a:cubicBezTo>
                    <a:pt x="368658" y="34382"/>
                    <a:pt x="370090" y="29606"/>
                    <a:pt x="370090" y="25309"/>
                  </a:cubicBezTo>
                  <a:close/>
                  <a:moveTo>
                    <a:pt x="14812" y="25309"/>
                  </a:moveTo>
                  <a:cubicBezTo>
                    <a:pt x="14812" y="23399"/>
                    <a:pt x="15290" y="21489"/>
                    <a:pt x="16245" y="19578"/>
                  </a:cubicBezTo>
                  <a:cubicBezTo>
                    <a:pt x="18155" y="16236"/>
                    <a:pt x="21975" y="13848"/>
                    <a:pt x="25795" y="13848"/>
                  </a:cubicBezTo>
                  <a:lnTo>
                    <a:pt x="344304" y="13848"/>
                  </a:lnTo>
                  <a:cubicBezTo>
                    <a:pt x="348602" y="13848"/>
                    <a:pt x="351944" y="15758"/>
                    <a:pt x="353854" y="19578"/>
                  </a:cubicBezTo>
                  <a:cubicBezTo>
                    <a:pt x="355765" y="22921"/>
                    <a:pt x="355765" y="27219"/>
                    <a:pt x="353854" y="31039"/>
                  </a:cubicBezTo>
                  <a:lnTo>
                    <a:pt x="194839" y="297975"/>
                  </a:lnTo>
                  <a:cubicBezTo>
                    <a:pt x="192929" y="301318"/>
                    <a:pt x="189108" y="303228"/>
                    <a:pt x="185288" y="303228"/>
                  </a:cubicBezTo>
                  <a:cubicBezTo>
                    <a:pt x="181468" y="303228"/>
                    <a:pt x="177648" y="301318"/>
                    <a:pt x="175738" y="297975"/>
                  </a:cubicBezTo>
                  <a:cubicBezTo>
                    <a:pt x="175738" y="297975"/>
                    <a:pt x="175738" y="297975"/>
                    <a:pt x="175738" y="297975"/>
                  </a:cubicBezTo>
                  <a:lnTo>
                    <a:pt x="16722" y="31039"/>
                  </a:lnTo>
                  <a:cubicBezTo>
                    <a:pt x="15290" y="29129"/>
                    <a:pt x="14812" y="27219"/>
                    <a:pt x="14812" y="25309"/>
                  </a:cubicBezTo>
                  <a:close/>
                </a:path>
              </a:pathLst>
            </a:custGeom>
            <a:solidFill>
              <a:schemeClr val="accent5"/>
            </a:solidFill>
            <a:ln w="4775" cap="flat">
              <a:noFill/>
              <a:prstDash val="solid"/>
              <a:miter/>
            </a:ln>
          </p:spPr>
          <p:txBody>
            <a:bodyPr rtlCol="0" anchor="ctr"/>
            <a:lstStyle/>
            <a:p>
              <a:endParaRPr lang="en-US"/>
            </a:p>
          </p:txBody>
        </p:sp>
        <p:pic>
          <p:nvPicPr>
            <p:cNvPr id="283" name="Picture 282" descr="A hand holding a black umbrella&#10;&#10;Description automatically generated">
              <a:extLst>
                <a:ext uri="{FF2B5EF4-FFF2-40B4-BE49-F238E27FC236}">
                  <a16:creationId xmlns:a16="http://schemas.microsoft.com/office/drawing/2014/main" id="{C2A5AE95-DDEA-4E24-8B48-6817AE354829}"/>
                </a:ext>
              </a:extLst>
            </p:cNvPr>
            <p:cNvPicPr>
              <a:picLocks noChangeAspect="1"/>
            </p:cNvPicPr>
            <p:nvPr/>
          </p:nvPicPr>
          <p:blipFill>
            <a:blip r:embed="rId18" cstate="screen">
              <a:duotone>
                <a:prstClr val="black"/>
                <a:schemeClr val="accent6">
                  <a:tint val="45000"/>
                  <a:satMod val="400000"/>
                </a:schemeClr>
              </a:duotone>
              <a:extLst>
                <a:ext uri="{28A0092B-C50C-407E-A947-70E740481C1C}">
                  <a14:useLocalDpi xmlns:a14="http://schemas.microsoft.com/office/drawing/2010/main"/>
                </a:ext>
              </a:extLst>
            </a:blip>
            <a:srcRect/>
            <a:stretch>
              <a:fillRect/>
            </a:stretch>
          </p:blipFill>
          <p:spPr>
            <a:xfrm>
              <a:off x="7604390" y="3340161"/>
              <a:ext cx="512513" cy="512512"/>
            </a:xfrm>
            <a:custGeom>
              <a:avLst/>
              <a:gdLst>
                <a:gd name="connsiteX0" fmla="*/ 19525 w 512513"/>
                <a:gd name="connsiteY0" fmla="*/ 0 h 512512"/>
                <a:gd name="connsiteX1" fmla="*/ 491924 w 512513"/>
                <a:gd name="connsiteY1" fmla="*/ 0 h 512512"/>
                <a:gd name="connsiteX2" fmla="*/ 506457 w 512513"/>
                <a:gd name="connsiteY2" fmla="*/ 35085 h 512512"/>
                <a:gd name="connsiteX3" fmla="*/ 35085 w 512513"/>
                <a:gd name="connsiteY3" fmla="*/ 506456 h 512512"/>
                <a:gd name="connsiteX4" fmla="*/ 0 w 512513"/>
                <a:gd name="connsiteY4" fmla="*/ 491923 h 512512"/>
                <a:gd name="connsiteX5" fmla="*/ 0 w 512513"/>
                <a:gd name="connsiteY5" fmla="*/ 19524 h 512512"/>
                <a:gd name="connsiteX6" fmla="*/ 19525 w 512513"/>
                <a:gd name="connsiteY6" fmla="*/ 0 h 51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13" h="512512">
                  <a:moveTo>
                    <a:pt x="19525" y="0"/>
                  </a:moveTo>
                  <a:lnTo>
                    <a:pt x="491924" y="0"/>
                  </a:lnTo>
                  <a:cubicBezTo>
                    <a:pt x="510274" y="0"/>
                    <a:pt x="519375" y="22167"/>
                    <a:pt x="506457" y="35085"/>
                  </a:cubicBezTo>
                  <a:lnTo>
                    <a:pt x="35085" y="506456"/>
                  </a:lnTo>
                  <a:cubicBezTo>
                    <a:pt x="22167" y="519374"/>
                    <a:pt x="0" y="510273"/>
                    <a:pt x="0" y="491923"/>
                  </a:cubicBezTo>
                  <a:lnTo>
                    <a:pt x="0" y="19524"/>
                  </a:lnTo>
                  <a:cubicBezTo>
                    <a:pt x="0" y="8661"/>
                    <a:pt x="8808" y="0"/>
                    <a:pt x="19525" y="0"/>
                  </a:cubicBezTo>
                  <a:close/>
                </a:path>
              </a:pathLst>
            </a:custGeom>
          </p:spPr>
        </p:pic>
      </p:grpSp>
      <p:pic>
        <p:nvPicPr>
          <p:cNvPr id="307" name="Picture 306" descr="A computer sitting on top of a table&#10;&#10;Description automatically generated">
            <a:extLst>
              <a:ext uri="{FF2B5EF4-FFF2-40B4-BE49-F238E27FC236}">
                <a16:creationId xmlns:a16="http://schemas.microsoft.com/office/drawing/2014/main" id="{4CA72DCB-D386-41E1-9217-2C65575FB31A}"/>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45733" y="1576878"/>
            <a:ext cx="572755" cy="615206"/>
          </a:xfrm>
          <a:prstGeom prst="rect">
            <a:avLst/>
          </a:prstGeom>
        </p:spPr>
      </p:pic>
      <p:sp>
        <p:nvSpPr>
          <p:cNvPr id="397" name="Isosceles Triangle 49">
            <a:extLst>
              <a:ext uri="{FF2B5EF4-FFF2-40B4-BE49-F238E27FC236}">
                <a16:creationId xmlns:a16="http://schemas.microsoft.com/office/drawing/2014/main" id="{1C4E43A5-00D8-4419-AF9A-7AB89C7FFB7C}"/>
              </a:ext>
            </a:extLst>
          </p:cNvPr>
          <p:cNvSpPr/>
          <p:nvPr/>
        </p:nvSpPr>
        <p:spPr>
          <a:xfrm>
            <a:off x="986332" y="1722484"/>
            <a:ext cx="227846" cy="19872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1">
              <a:alpha val="6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308" name="Group 307">
            <a:extLst>
              <a:ext uri="{FF2B5EF4-FFF2-40B4-BE49-F238E27FC236}">
                <a16:creationId xmlns:a16="http://schemas.microsoft.com/office/drawing/2014/main" id="{F80D2876-9C89-4225-AC52-689B169FEDD2}"/>
              </a:ext>
            </a:extLst>
          </p:cNvPr>
          <p:cNvGrpSpPr/>
          <p:nvPr/>
        </p:nvGrpSpPr>
        <p:grpSpPr>
          <a:xfrm>
            <a:off x="5205413" y="3058505"/>
            <a:ext cx="1163954" cy="937628"/>
            <a:chOff x="5205413" y="3058505"/>
            <a:chExt cx="1163954" cy="937628"/>
          </a:xfrm>
        </p:grpSpPr>
        <p:grpSp>
          <p:nvGrpSpPr>
            <p:cNvPr id="309" name="Graphic 1">
              <a:extLst>
                <a:ext uri="{FF2B5EF4-FFF2-40B4-BE49-F238E27FC236}">
                  <a16:creationId xmlns:a16="http://schemas.microsoft.com/office/drawing/2014/main" id="{43F165BE-4668-43CD-89B4-822B10F49F34}"/>
                </a:ext>
              </a:extLst>
            </p:cNvPr>
            <p:cNvGrpSpPr/>
            <p:nvPr/>
          </p:nvGrpSpPr>
          <p:grpSpPr>
            <a:xfrm>
              <a:off x="5427008" y="3146016"/>
              <a:ext cx="706742" cy="706902"/>
              <a:chOff x="3453884" y="801171"/>
              <a:chExt cx="2092880" cy="2093356"/>
            </a:xfrm>
            <a:solidFill>
              <a:schemeClr val="accent6"/>
            </a:solidFill>
          </p:grpSpPr>
          <p:sp>
            <p:nvSpPr>
              <p:cNvPr id="316" name="Freeform: Shape 315">
                <a:extLst>
                  <a:ext uri="{FF2B5EF4-FFF2-40B4-BE49-F238E27FC236}">
                    <a16:creationId xmlns:a16="http://schemas.microsoft.com/office/drawing/2014/main" id="{5D466F13-2EB7-4C4F-A618-CB903177268C}"/>
                  </a:ext>
                </a:extLst>
              </p:cNvPr>
              <p:cNvSpPr/>
              <p:nvPr/>
            </p:nvSpPr>
            <p:spPr>
              <a:xfrm>
                <a:off x="4134921" y="1482623"/>
                <a:ext cx="1350882" cy="1350944"/>
              </a:xfrm>
              <a:custGeom>
                <a:avLst/>
                <a:gdLst>
                  <a:gd name="connsiteX0" fmla="*/ 1324332 w 1350882"/>
                  <a:gd name="connsiteY0" fmla="*/ 4229 h 1350944"/>
                  <a:gd name="connsiteX1" fmla="*/ 4643 w 1350882"/>
                  <a:gd name="connsiteY1" fmla="*/ 1324394 h 1350944"/>
                  <a:gd name="connsiteX2" fmla="*/ 4643 w 1350882"/>
                  <a:gd name="connsiteY2" fmla="*/ 1346301 h 1350944"/>
                  <a:gd name="connsiteX3" fmla="*/ 26551 w 1350882"/>
                  <a:gd name="connsiteY3" fmla="*/ 1346301 h 1350944"/>
                  <a:gd name="connsiteX4" fmla="*/ 1346240 w 1350882"/>
                  <a:gd name="connsiteY4" fmla="*/ 26612 h 1350944"/>
                  <a:gd name="connsiteX5" fmla="*/ 1346240 w 1350882"/>
                  <a:gd name="connsiteY5" fmla="*/ 4705 h 1350944"/>
                  <a:gd name="connsiteX6" fmla="*/ 1324332 w 1350882"/>
                  <a:gd name="connsiteY6" fmla="*/ 4229 h 135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2" h="1350944">
                    <a:moveTo>
                      <a:pt x="1324332" y="4229"/>
                    </a:moveTo>
                    <a:lnTo>
                      <a:pt x="4643" y="1324394"/>
                    </a:lnTo>
                    <a:cubicBezTo>
                      <a:pt x="-1548" y="1330585"/>
                      <a:pt x="-1548" y="1340110"/>
                      <a:pt x="4643" y="1346301"/>
                    </a:cubicBezTo>
                    <a:cubicBezTo>
                      <a:pt x="10835" y="1352492"/>
                      <a:pt x="20360" y="1352492"/>
                      <a:pt x="26551" y="1346301"/>
                    </a:cubicBezTo>
                    <a:lnTo>
                      <a:pt x="1346240" y="26612"/>
                    </a:lnTo>
                    <a:cubicBezTo>
                      <a:pt x="1352431" y="20421"/>
                      <a:pt x="1352431" y="10896"/>
                      <a:pt x="1346240" y="4705"/>
                    </a:cubicBezTo>
                    <a:cubicBezTo>
                      <a:pt x="1340048" y="-1486"/>
                      <a:pt x="1330523" y="-1486"/>
                      <a:pt x="1324332" y="4229"/>
                    </a:cubicBezTo>
                    <a:close/>
                  </a:path>
                </a:pathLst>
              </a:custGeom>
              <a:grpFill/>
              <a:ln w="4763" cap="flat">
                <a:noFill/>
                <a:prstDash val="solid"/>
                <a:miter/>
              </a:ln>
            </p:spPr>
            <p:txBody>
              <a:bodyPr rtlCol="0" anchor="ctr"/>
              <a:lstStyle/>
              <a:p>
                <a:endParaRPr lang="en-US"/>
              </a:p>
            </p:txBody>
          </p:sp>
          <p:sp>
            <p:nvSpPr>
              <p:cNvPr id="317" name="Freeform: Shape 316">
                <a:extLst>
                  <a:ext uri="{FF2B5EF4-FFF2-40B4-BE49-F238E27FC236}">
                    <a16:creationId xmlns:a16="http://schemas.microsoft.com/office/drawing/2014/main" id="{FC4554C0-9DD4-4A0C-9687-60DA5C9AE231}"/>
                  </a:ext>
                </a:extLst>
              </p:cNvPr>
              <p:cNvSpPr/>
              <p:nvPr/>
            </p:nvSpPr>
            <p:spPr>
              <a:xfrm>
                <a:off x="4037766" y="1385411"/>
                <a:ext cx="1407556" cy="1407199"/>
              </a:xfrm>
              <a:custGeom>
                <a:avLst/>
                <a:gdLst>
                  <a:gd name="connsiteX0" fmla="*/ 1381006 w 1407556"/>
                  <a:gd name="connsiteY0" fmla="*/ 4286 h 1407199"/>
                  <a:gd name="connsiteX1" fmla="*/ 4643 w 1407556"/>
                  <a:gd name="connsiteY1" fmla="*/ 1380649 h 1407199"/>
                  <a:gd name="connsiteX2" fmla="*/ 4643 w 1407556"/>
                  <a:gd name="connsiteY2" fmla="*/ 1402556 h 1407199"/>
                  <a:gd name="connsiteX3" fmla="*/ 26551 w 1407556"/>
                  <a:gd name="connsiteY3" fmla="*/ 1402556 h 1407199"/>
                  <a:gd name="connsiteX4" fmla="*/ 1402914 w 1407556"/>
                  <a:gd name="connsiteY4" fmla="*/ 26194 h 1407199"/>
                  <a:gd name="connsiteX5" fmla="*/ 1402914 w 1407556"/>
                  <a:gd name="connsiteY5" fmla="*/ 4286 h 1407199"/>
                  <a:gd name="connsiteX6" fmla="*/ 1381006 w 1407556"/>
                  <a:gd name="connsiteY6" fmla="*/ 4286 h 140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199">
                    <a:moveTo>
                      <a:pt x="1381006" y="4286"/>
                    </a:moveTo>
                    <a:lnTo>
                      <a:pt x="4643" y="1380649"/>
                    </a:lnTo>
                    <a:cubicBezTo>
                      <a:pt x="-1548" y="1386840"/>
                      <a:pt x="-1548" y="1396365"/>
                      <a:pt x="4643" y="1402556"/>
                    </a:cubicBezTo>
                    <a:cubicBezTo>
                      <a:pt x="10835" y="1408748"/>
                      <a:pt x="20360" y="1408748"/>
                      <a:pt x="26551" y="1402556"/>
                    </a:cubicBezTo>
                    <a:lnTo>
                      <a:pt x="1402914" y="26194"/>
                    </a:lnTo>
                    <a:cubicBezTo>
                      <a:pt x="1409105" y="20003"/>
                      <a:pt x="1409105" y="10478"/>
                      <a:pt x="1402914" y="4286"/>
                    </a:cubicBezTo>
                    <a:cubicBezTo>
                      <a:pt x="1396722" y="-1429"/>
                      <a:pt x="1386721" y="-1429"/>
                      <a:pt x="1381006" y="4286"/>
                    </a:cubicBezTo>
                    <a:close/>
                  </a:path>
                </a:pathLst>
              </a:custGeom>
              <a:grpFill/>
              <a:ln w="4763" cap="flat">
                <a:noFill/>
                <a:prstDash val="solid"/>
                <a:miter/>
              </a:ln>
            </p:spPr>
            <p:txBody>
              <a:bodyPr rtlCol="0" anchor="ctr"/>
              <a:lstStyle/>
              <a:p>
                <a:endParaRPr lang="en-US"/>
              </a:p>
            </p:txBody>
          </p:sp>
          <p:sp>
            <p:nvSpPr>
              <p:cNvPr id="318" name="Freeform: Shape 317">
                <a:extLst>
                  <a:ext uri="{FF2B5EF4-FFF2-40B4-BE49-F238E27FC236}">
                    <a16:creationId xmlns:a16="http://schemas.microsoft.com/office/drawing/2014/main" id="{8433DB36-C861-4157-B4A8-BD5F1270CF63}"/>
                  </a:ext>
                </a:extLst>
              </p:cNvPr>
              <p:cNvSpPr/>
              <p:nvPr/>
            </p:nvSpPr>
            <p:spPr>
              <a:xfrm>
                <a:off x="3948707" y="1295995"/>
                <a:ext cx="1448038" cy="1448038"/>
              </a:xfrm>
              <a:custGeom>
                <a:avLst/>
                <a:gdLst>
                  <a:gd name="connsiteX0" fmla="*/ 1421487 w 1448038"/>
                  <a:gd name="connsiteY0" fmla="*/ 4644 h 1448038"/>
                  <a:gd name="connsiteX1" fmla="*/ 4643 w 1448038"/>
                  <a:gd name="connsiteY1" fmla="*/ 1421487 h 1448038"/>
                  <a:gd name="connsiteX2" fmla="*/ 4643 w 1448038"/>
                  <a:gd name="connsiteY2" fmla="*/ 1443395 h 1448038"/>
                  <a:gd name="connsiteX3" fmla="*/ 26551 w 1448038"/>
                  <a:gd name="connsiteY3" fmla="*/ 1443395 h 1448038"/>
                  <a:gd name="connsiteX4" fmla="*/ 1443395 w 1448038"/>
                  <a:gd name="connsiteY4" fmla="*/ 26551 h 1448038"/>
                  <a:gd name="connsiteX5" fmla="*/ 1443395 w 1448038"/>
                  <a:gd name="connsiteY5" fmla="*/ 4644 h 1448038"/>
                  <a:gd name="connsiteX6" fmla="*/ 1421487 w 1448038"/>
                  <a:gd name="connsiteY6" fmla="*/ 4644 h 1448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8" h="1448038">
                    <a:moveTo>
                      <a:pt x="1421487" y="4644"/>
                    </a:moveTo>
                    <a:lnTo>
                      <a:pt x="4643" y="1421487"/>
                    </a:lnTo>
                    <a:cubicBezTo>
                      <a:pt x="-1548" y="1427679"/>
                      <a:pt x="-1548" y="1437204"/>
                      <a:pt x="4643" y="1443395"/>
                    </a:cubicBezTo>
                    <a:cubicBezTo>
                      <a:pt x="10835" y="1449586"/>
                      <a:pt x="20360" y="1449586"/>
                      <a:pt x="26551" y="1443395"/>
                    </a:cubicBezTo>
                    <a:lnTo>
                      <a:pt x="1443395" y="26551"/>
                    </a:lnTo>
                    <a:cubicBezTo>
                      <a:pt x="1449586" y="20360"/>
                      <a:pt x="1449586" y="10835"/>
                      <a:pt x="1443395" y="4644"/>
                    </a:cubicBezTo>
                    <a:cubicBezTo>
                      <a:pt x="1437204" y="-1548"/>
                      <a:pt x="1427203" y="-1548"/>
                      <a:pt x="1421487" y="4644"/>
                    </a:cubicBezTo>
                    <a:close/>
                  </a:path>
                </a:pathLst>
              </a:custGeom>
              <a:grpFill/>
              <a:ln w="4763" cap="flat">
                <a:noFill/>
                <a:prstDash val="solid"/>
                <a:miter/>
              </a:ln>
            </p:spPr>
            <p:txBody>
              <a:bodyPr rtlCol="0" anchor="ctr"/>
              <a:lstStyle/>
              <a:p>
                <a:endParaRPr lang="en-US"/>
              </a:p>
            </p:txBody>
          </p:sp>
          <p:sp>
            <p:nvSpPr>
              <p:cNvPr id="319" name="Freeform: Shape 318">
                <a:extLst>
                  <a:ext uri="{FF2B5EF4-FFF2-40B4-BE49-F238E27FC236}">
                    <a16:creationId xmlns:a16="http://schemas.microsoft.com/office/drawing/2014/main" id="{C90EEBC4-45C9-4241-AE4D-375B019B24F8}"/>
                  </a:ext>
                </a:extLst>
              </p:cNvPr>
              <p:cNvSpPr/>
              <p:nvPr/>
            </p:nvSpPr>
            <p:spPr>
              <a:xfrm>
                <a:off x="4240649" y="1588351"/>
                <a:ext cx="1277064" cy="1276649"/>
              </a:xfrm>
              <a:custGeom>
                <a:avLst/>
                <a:gdLst>
                  <a:gd name="connsiteX0" fmla="*/ 1250514 w 1277064"/>
                  <a:gd name="connsiteY0" fmla="*/ 4705 h 1276649"/>
                  <a:gd name="connsiteX1" fmla="*/ 4644 w 1277064"/>
                  <a:gd name="connsiteY1" fmla="*/ 1250099 h 1276649"/>
                  <a:gd name="connsiteX2" fmla="*/ 4644 w 1277064"/>
                  <a:gd name="connsiteY2" fmla="*/ 1272006 h 1276649"/>
                  <a:gd name="connsiteX3" fmla="*/ 26551 w 1277064"/>
                  <a:gd name="connsiteY3" fmla="*/ 1272006 h 1276649"/>
                  <a:gd name="connsiteX4" fmla="*/ 1272421 w 1277064"/>
                  <a:gd name="connsiteY4" fmla="*/ 26136 h 1276649"/>
                  <a:gd name="connsiteX5" fmla="*/ 1272421 w 1277064"/>
                  <a:gd name="connsiteY5" fmla="*/ 4228 h 1276649"/>
                  <a:gd name="connsiteX6" fmla="*/ 1250514 w 1277064"/>
                  <a:gd name="connsiteY6" fmla="*/ 4705 h 127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6649">
                    <a:moveTo>
                      <a:pt x="1250514" y="4705"/>
                    </a:moveTo>
                    <a:lnTo>
                      <a:pt x="4644" y="1250099"/>
                    </a:lnTo>
                    <a:cubicBezTo>
                      <a:pt x="-1548" y="1256290"/>
                      <a:pt x="-1548" y="1265815"/>
                      <a:pt x="4644" y="1272006"/>
                    </a:cubicBezTo>
                    <a:cubicBezTo>
                      <a:pt x="10835" y="1278197"/>
                      <a:pt x="20360" y="1278197"/>
                      <a:pt x="26551" y="1272006"/>
                    </a:cubicBezTo>
                    <a:lnTo>
                      <a:pt x="1272421" y="26136"/>
                    </a:lnTo>
                    <a:cubicBezTo>
                      <a:pt x="1278612" y="19945"/>
                      <a:pt x="1278612" y="10420"/>
                      <a:pt x="1272421" y="4228"/>
                    </a:cubicBezTo>
                    <a:cubicBezTo>
                      <a:pt x="1266230" y="-1486"/>
                      <a:pt x="1256705" y="-1486"/>
                      <a:pt x="1250514" y="4705"/>
                    </a:cubicBezTo>
                    <a:close/>
                  </a:path>
                </a:pathLst>
              </a:custGeom>
              <a:grpFill/>
              <a:ln w="4763" cap="flat">
                <a:noFill/>
                <a:prstDash val="solid"/>
                <a:miter/>
              </a:ln>
            </p:spPr>
            <p:txBody>
              <a:bodyPr rtlCol="0" anchor="ctr"/>
              <a:lstStyle/>
              <a:p>
                <a:endParaRPr lang="en-US"/>
              </a:p>
            </p:txBody>
          </p:sp>
          <p:sp>
            <p:nvSpPr>
              <p:cNvPr id="320" name="Freeform: Shape 319">
                <a:extLst>
                  <a:ext uri="{FF2B5EF4-FFF2-40B4-BE49-F238E27FC236}">
                    <a16:creationId xmlns:a16="http://schemas.microsoft.com/office/drawing/2014/main" id="{939C826A-0F51-42CD-9D0E-D59483CC4E53}"/>
                  </a:ext>
                </a:extLst>
              </p:cNvPr>
              <p:cNvSpPr/>
              <p:nvPr/>
            </p:nvSpPr>
            <p:spPr>
              <a:xfrm>
                <a:off x="5116949" y="2464593"/>
                <a:ext cx="213598" cy="213240"/>
              </a:xfrm>
              <a:custGeom>
                <a:avLst/>
                <a:gdLst>
                  <a:gd name="connsiteX0" fmla="*/ 187047 w 213598"/>
                  <a:gd name="connsiteY0" fmla="*/ 4286 h 213240"/>
                  <a:gd name="connsiteX1" fmla="*/ 4644 w 213598"/>
                  <a:gd name="connsiteY1" fmla="*/ 186690 h 213240"/>
                  <a:gd name="connsiteX2" fmla="*/ 4644 w 213598"/>
                  <a:gd name="connsiteY2" fmla="*/ 208597 h 213240"/>
                  <a:gd name="connsiteX3" fmla="*/ 26551 w 213598"/>
                  <a:gd name="connsiteY3" fmla="*/ 208597 h 213240"/>
                  <a:gd name="connsiteX4" fmla="*/ 208955 w 213598"/>
                  <a:gd name="connsiteY4" fmla="*/ 26194 h 213240"/>
                  <a:gd name="connsiteX5" fmla="*/ 208955 w 213598"/>
                  <a:gd name="connsiteY5" fmla="*/ 4286 h 213240"/>
                  <a:gd name="connsiteX6" fmla="*/ 187047 w 213598"/>
                  <a:gd name="connsiteY6" fmla="*/ 4286 h 21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240">
                    <a:moveTo>
                      <a:pt x="187047" y="4286"/>
                    </a:moveTo>
                    <a:lnTo>
                      <a:pt x="4644" y="186690"/>
                    </a:lnTo>
                    <a:cubicBezTo>
                      <a:pt x="-1548" y="192881"/>
                      <a:pt x="-1548" y="202406"/>
                      <a:pt x="4644" y="208597"/>
                    </a:cubicBezTo>
                    <a:cubicBezTo>
                      <a:pt x="10835" y="214789"/>
                      <a:pt x="20360" y="214789"/>
                      <a:pt x="26551" y="208597"/>
                    </a:cubicBezTo>
                    <a:lnTo>
                      <a:pt x="208955" y="26194"/>
                    </a:lnTo>
                    <a:cubicBezTo>
                      <a:pt x="215146" y="20002"/>
                      <a:pt x="215146" y="10477"/>
                      <a:pt x="208955" y="4286"/>
                    </a:cubicBezTo>
                    <a:cubicBezTo>
                      <a:pt x="202764" y="-1429"/>
                      <a:pt x="192762" y="-1429"/>
                      <a:pt x="187047" y="4286"/>
                    </a:cubicBezTo>
                    <a:close/>
                  </a:path>
                </a:pathLst>
              </a:custGeom>
              <a:grpFill/>
              <a:ln w="4763" cap="flat">
                <a:noFill/>
                <a:prstDash val="solid"/>
                <a:miter/>
              </a:ln>
            </p:spPr>
            <p:txBody>
              <a:bodyPr rtlCol="0" anchor="ctr"/>
              <a:lstStyle/>
              <a:p>
                <a:endParaRPr lang="en-US"/>
              </a:p>
            </p:txBody>
          </p:sp>
          <p:sp>
            <p:nvSpPr>
              <p:cNvPr id="321" name="Freeform: Shape 320">
                <a:extLst>
                  <a:ext uri="{FF2B5EF4-FFF2-40B4-BE49-F238E27FC236}">
                    <a16:creationId xmlns:a16="http://schemas.microsoft.com/office/drawing/2014/main" id="{515D85B7-BB02-469C-B143-EF8B698FFD16}"/>
                  </a:ext>
                </a:extLst>
              </p:cNvPr>
              <p:cNvSpPr/>
              <p:nvPr/>
            </p:nvSpPr>
            <p:spPr>
              <a:xfrm>
                <a:off x="4817387" y="2165508"/>
                <a:ext cx="674131" cy="673774"/>
              </a:xfrm>
              <a:custGeom>
                <a:avLst/>
                <a:gdLst>
                  <a:gd name="connsiteX0" fmla="*/ 647581 w 674131"/>
                  <a:gd name="connsiteY0" fmla="*/ 4286 h 673774"/>
                  <a:gd name="connsiteX1" fmla="*/ 4643 w 674131"/>
                  <a:gd name="connsiteY1" fmla="*/ 647224 h 673774"/>
                  <a:gd name="connsiteX2" fmla="*/ 4643 w 674131"/>
                  <a:gd name="connsiteY2" fmla="*/ 669131 h 673774"/>
                  <a:gd name="connsiteX3" fmla="*/ 26551 w 674131"/>
                  <a:gd name="connsiteY3" fmla="*/ 669131 h 673774"/>
                  <a:gd name="connsiteX4" fmla="*/ 669488 w 674131"/>
                  <a:gd name="connsiteY4" fmla="*/ 26194 h 673774"/>
                  <a:gd name="connsiteX5" fmla="*/ 669488 w 674131"/>
                  <a:gd name="connsiteY5" fmla="*/ 4286 h 673774"/>
                  <a:gd name="connsiteX6" fmla="*/ 647581 w 674131"/>
                  <a:gd name="connsiteY6" fmla="*/ 4286 h 67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774">
                    <a:moveTo>
                      <a:pt x="647581" y="4286"/>
                    </a:moveTo>
                    <a:lnTo>
                      <a:pt x="4643" y="647224"/>
                    </a:lnTo>
                    <a:cubicBezTo>
                      <a:pt x="-1548" y="653415"/>
                      <a:pt x="-1548" y="662940"/>
                      <a:pt x="4643" y="669131"/>
                    </a:cubicBezTo>
                    <a:cubicBezTo>
                      <a:pt x="10835" y="675323"/>
                      <a:pt x="20360" y="675323"/>
                      <a:pt x="26551" y="669131"/>
                    </a:cubicBezTo>
                    <a:lnTo>
                      <a:pt x="669488" y="26194"/>
                    </a:lnTo>
                    <a:cubicBezTo>
                      <a:pt x="675680" y="20002"/>
                      <a:pt x="675680" y="10477"/>
                      <a:pt x="669488" y="4286"/>
                    </a:cubicBezTo>
                    <a:cubicBezTo>
                      <a:pt x="663774" y="-1429"/>
                      <a:pt x="653772" y="-1429"/>
                      <a:pt x="647581" y="4286"/>
                    </a:cubicBezTo>
                    <a:close/>
                  </a:path>
                </a:pathLst>
              </a:custGeom>
              <a:grpFill/>
              <a:ln w="4763" cap="flat">
                <a:noFill/>
                <a:prstDash val="solid"/>
                <a:miter/>
              </a:ln>
            </p:spPr>
            <p:txBody>
              <a:bodyPr rtlCol="0" anchor="ctr"/>
              <a:lstStyle/>
              <a:p>
                <a:endParaRPr lang="en-US"/>
              </a:p>
            </p:txBody>
          </p:sp>
          <p:sp>
            <p:nvSpPr>
              <p:cNvPr id="322" name="Freeform: Shape 321">
                <a:extLst>
                  <a:ext uri="{FF2B5EF4-FFF2-40B4-BE49-F238E27FC236}">
                    <a16:creationId xmlns:a16="http://schemas.microsoft.com/office/drawing/2014/main" id="{1EF4A023-3BB7-453F-9B48-0ADE7A304AC9}"/>
                  </a:ext>
                </a:extLst>
              </p:cNvPr>
              <p:cNvSpPr/>
              <p:nvPr/>
            </p:nvSpPr>
            <p:spPr>
              <a:xfrm>
                <a:off x="4357330" y="1704975"/>
                <a:ext cx="1181338" cy="1181457"/>
              </a:xfrm>
              <a:custGeom>
                <a:avLst/>
                <a:gdLst>
                  <a:gd name="connsiteX0" fmla="*/ 1155264 w 1181338"/>
                  <a:gd name="connsiteY0" fmla="*/ 4286 h 1181457"/>
                  <a:gd name="connsiteX1" fmla="*/ 4644 w 1181338"/>
                  <a:gd name="connsiteY1" fmla="*/ 1154906 h 1181457"/>
                  <a:gd name="connsiteX2" fmla="*/ 4644 w 1181338"/>
                  <a:gd name="connsiteY2" fmla="*/ 1176814 h 1181457"/>
                  <a:gd name="connsiteX3" fmla="*/ 26551 w 1181338"/>
                  <a:gd name="connsiteY3" fmla="*/ 1176814 h 1181457"/>
                  <a:gd name="connsiteX4" fmla="*/ 1176695 w 1181338"/>
                  <a:gd name="connsiteY4" fmla="*/ 26194 h 1181457"/>
                  <a:gd name="connsiteX5" fmla="*/ 1176695 w 1181338"/>
                  <a:gd name="connsiteY5" fmla="*/ 4286 h 1181457"/>
                  <a:gd name="connsiteX6" fmla="*/ 1155264 w 1181338"/>
                  <a:gd name="connsiteY6" fmla="*/ 4286 h 118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338" h="1181457">
                    <a:moveTo>
                      <a:pt x="1155264" y="4286"/>
                    </a:moveTo>
                    <a:lnTo>
                      <a:pt x="4644" y="1154906"/>
                    </a:lnTo>
                    <a:cubicBezTo>
                      <a:pt x="-1548" y="1161097"/>
                      <a:pt x="-1548" y="1170622"/>
                      <a:pt x="4644" y="1176814"/>
                    </a:cubicBezTo>
                    <a:cubicBezTo>
                      <a:pt x="10835" y="1183005"/>
                      <a:pt x="20360" y="1183005"/>
                      <a:pt x="26551" y="1176814"/>
                    </a:cubicBezTo>
                    <a:lnTo>
                      <a:pt x="1176695" y="26194"/>
                    </a:lnTo>
                    <a:cubicBezTo>
                      <a:pt x="1182886" y="20003"/>
                      <a:pt x="1182886" y="10478"/>
                      <a:pt x="1176695" y="4286"/>
                    </a:cubicBezTo>
                    <a:cubicBezTo>
                      <a:pt x="1170980" y="-1429"/>
                      <a:pt x="1160978" y="-1429"/>
                      <a:pt x="1155264" y="4286"/>
                    </a:cubicBezTo>
                    <a:close/>
                  </a:path>
                </a:pathLst>
              </a:custGeom>
              <a:grpFill/>
              <a:ln w="4763" cap="flat">
                <a:noFill/>
                <a:prstDash val="solid"/>
                <a:miter/>
              </a:ln>
            </p:spPr>
            <p:txBody>
              <a:bodyPr rtlCol="0" anchor="ctr"/>
              <a:lstStyle/>
              <a:p>
                <a:endParaRPr lang="en-US"/>
              </a:p>
            </p:txBody>
          </p:sp>
          <p:sp>
            <p:nvSpPr>
              <p:cNvPr id="324" name="Freeform: Shape 323">
                <a:extLst>
                  <a:ext uri="{FF2B5EF4-FFF2-40B4-BE49-F238E27FC236}">
                    <a16:creationId xmlns:a16="http://schemas.microsoft.com/office/drawing/2014/main" id="{C07EDFA7-51F6-4579-A776-69A3C0FDE5BD}"/>
                  </a:ext>
                </a:extLst>
              </p:cNvPr>
              <p:cNvSpPr/>
              <p:nvPr/>
            </p:nvSpPr>
            <p:spPr>
              <a:xfrm>
                <a:off x="4635936" y="1983639"/>
                <a:ext cx="899874" cy="899459"/>
              </a:xfrm>
              <a:custGeom>
                <a:avLst/>
                <a:gdLst>
                  <a:gd name="connsiteX0" fmla="*/ 873324 w 899874"/>
                  <a:gd name="connsiteY0" fmla="*/ 4705 h 899459"/>
                  <a:gd name="connsiteX1" fmla="*/ 4644 w 899874"/>
                  <a:gd name="connsiteY1" fmla="*/ 872908 h 899459"/>
                  <a:gd name="connsiteX2" fmla="*/ 4644 w 899874"/>
                  <a:gd name="connsiteY2" fmla="*/ 894816 h 899459"/>
                  <a:gd name="connsiteX3" fmla="*/ 26551 w 899874"/>
                  <a:gd name="connsiteY3" fmla="*/ 894816 h 899459"/>
                  <a:gd name="connsiteX4" fmla="*/ 895231 w 899874"/>
                  <a:gd name="connsiteY4" fmla="*/ 26136 h 899459"/>
                  <a:gd name="connsiteX5" fmla="*/ 895231 w 899874"/>
                  <a:gd name="connsiteY5" fmla="*/ 4228 h 899459"/>
                  <a:gd name="connsiteX6" fmla="*/ 873324 w 899874"/>
                  <a:gd name="connsiteY6" fmla="*/ 4705 h 899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459">
                    <a:moveTo>
                      <a:pt x="873324" y="4705"/>
                    </a:moveTo>
                    <a:lnTo>
                      <a:pt x="4644" y="872908"/>
                    </a:lnTo>
                    <a:cubicBezTo>
                      <a:pt x="-1548" y="879100"/>
                      <a:pt x="-1548" y="888625"/>
                      <a:pt x="4644" y="894816"/>
                    </a:cubicBezTo>
                    <a:cubicBezTo>
                      <a:pt x="10835" y="901007"/>
                      <a:pt x="20360" y="901007"/>
                      <a:pt x="26551" y="894816"/>
                    </a:cubicBezTo>
                    <a:lnTo>
                      <a:pt x="895231" y="26136"/>
                    </a:lnTo>
                    <a:cubicBezTo>
                      <a:pt x="901422" y="19945"/>
                      <a:pt x="901422" y="10420"/>
                      <a:pt x="895231" y="4228"/>
                    </a:cubicBezTo>
                    <a:cubicBezTo>
                      <a:pt x="889040" y="-1486"/>
                      <a:pt x="879039" y="-1486"/>
                      <a:pt x="873324" y="4705"/>
                    </a:cubicBezTo>
                    <a:close/>
                  </a:path>
                </a:pathLst>
              </a:custGeom>
              <a:grpFill/>
              <a:ln w="4763" cap="flat">
                <a:noFill/>
                <a:prstDash val="solid"/>
                <a:miter/>
              </a:ln>
            </p:spPr>
            <p:txBody>
              <a:bodyPr rtlCol="0" anchor="ctr"/>
              <a:lstStyle/>
              <a:p>
                <a:endParaRPr lang="en-US"/>
              </a:p>
            </p:txBody>
          </p:sp>
          <p:sp>
            <p:nvSpPr>
              <p:cNvPr id="325" name="Freeform: Shape 324">
                <a:extLst>
                  <a:ext uri="{FF2B5EF4-FFF2-40B4-BE49-F238E27FC236}">
                    <a16:creationId xmlns:a16="http://schemas.microsoft.com/office/drawing/2014/main" id="{4A8A17AA-419B-4EC1-8AC6-87F8E1831F6A}"/>
                  </a:ext>
                </a:extLst>
              </p:cNvPr>
              <p:cNvSpPr/>
              <p:nvPr/>
            </p:nvSpPr>
            <p:spPr>
              <a:xfrm>
                <a:off x="4486870" y="1834634"/>
                <a:ext cx="1059894" cy="1059894"/>
              </a:xfrm>
              <a:custGeom>
                <a:avLst/>
                <a:gdLst>
                  <a:gd name="connsiteX0" fmla="*/ 1033343 w 1059894"/>
                  <a:gd name="connsiteY0" fmla="*/ 4644 h 1059894"/>
                  <a:gd name="connsiteX1" fmla="*/ 4643 w 1059894"/>
                  <a:gd name="connsiteY1" fmla="*/ 1033344 h 1059894"/>
                  <a:gd name="connsiteX2" fmla="*/ 4643 w 1059894"/>
                  <a:gd name="connsiteY2" fmla="*/ 1055251 h 1059894"/>
                  <a:gd name="connsiteX3" fmla="*/ 26551 w 1059894"/>
                  <a:gd name="connsiteY3" fmla="*/ 1055251 h 1059894"/>
                  <a:gd name="connsiteX4" fmla="*/ 1055251 w 1059894"/>
                  <a:gd name="connsiteY4" fmla="*/ 26551 h 1059894"/>
                  <a:gd name="connsiteX5" fmla="*/ 1055251 w 1059894"/>
                  <a:gd name="connsiteY5" fmla="*/ 4644 h 1059894"/>
                  <a:gd name="connsiteX6" fmla="*/ 1033343 w 1059894"/>
                  <a:gd name="connsiteY6" fmla="*/ 4644 h 105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894">
                    <a:moveTo>
                      <a:pt x="1033343" y="4644"/>
                    </a:moveTo>
                    <a:lnTo>
                      <a:pt x="4643" y="1033344"/>
                    </a:lnTo>
                    <a:cubicBezTo>
                      <a:pt x="-1548" y="1039535"/>
                      <a:pt x="-1548" y="1049060"/>
                      <a:pt x="4643" y="1055251"/>
                    </a:cubicBezTo>
                    <a:cubicBezTo>
                      <a:pt x="10835" y="1061442"/>
                      <a:pt x="20360" y="1061442"/>
                      <a:pt x="26551" y="1055251"/>
                    </a:cubicBezTo>
                    <a:lnTo>
                      <a:pt x="1055251" y="26551"/>
                    </a:lnTo>
                    <a:cubicBezTo>
                      <a:pt x="1061442" y="20360"/>
                      <a:pt x="1061442" y="10835"/>
                      <a:pt x="1055251" y="4644"/>
                    </a:cubicBezTo>
                    <a:cubicBezTo>
                      <a:pt x="1049060" y="-1548"/>
                      <a:pt x="1039535" y="-1548"/>
                      <a:pt x="1033343" y="4644"/>
                    </a:cubicBezTo>
                    <a:close/>
                  </a:path>
                </a:pathLst>
              </a:custGeom>
              <a:grpFill/>
              <a:ln w="4763" cap="flat">
                <a:noFill/>
                <a:prstDash val="solid"/>
                <a:miter/>
              </a:ln>
            </p:spPr>
            <p:txBody>
              <a:bodyPr rtlCol="0" anchor="ctr"/>
              <a:lstStyle/>
              <a:p>
                <a:endParaRPr lang="en-US"/>
              </a:p>
            </p:txBody>
          </p:sp>
          <p:sp>
            <p:nvSpPr>
              <p:cNvPr id="328" name="Freeform: Shape 327">
                <a:extLst>
                  <a:ext uri="{FF2B5EF4-FFF2-40B4-BE49-F238E27FC236}">
                    <a16:creationId xmlns:a16="http://schemas.microsoft.com/office/drawing/2014/main" id="{1622D16F-6A81-409C-A286-38E24D63A713}"/>
                  </a:ext>
                </a:extLst>
              </p:cNvPr>
              <p:cNvSpPr/>
              <p:nvPr/>
            </p:nvSpPr>
            <p:spPr>
              <a:xfrm>
                <a:off x="3866316" y="1214019"/>
                <a:ext cx="1474708" cy="1474293"/>
              </a:xfrm>
              <a:custGeom>
                <a:avLst/>
                <a:gdLst>
                  <a:gd name="connsiteX0" fmla="*/ 1448157 w 1474708"/>
                  <a:gd name="connsiteY0" fmla="*/ 4705 h 1474293"/>
                  <a:gd name="connsiteX1" fmla="*/ 4643 w 1474708"/>
                  <a:gd name="connsiteY1" fmla="*/ 1447742 h 1474293"/>
                  <a:gd name="connsiteX2" fmla="*/ 4643 w 1474708"/>
                  <a:gd name="connsiteY2" fmla="*/ 1469650 h 1474293"/>
                  <a:gd name="connsiteX3" fmla="*/ 26551 w 1474708"/>
                  <a:gd name="connsiteY3" fmla="*/ 1469650 h 1474293"/>
                  <a:gd name="connsiteX4" fmla="*/ 1470065 w 1474708"/>
                  <a:gd name="connsiteY4" fmla="*/ 26136 h 1474293"/>
                  <a:gd name="connsiteX5" fmla="*/ 1470065 w 1474708"/>
                  <a:gd name="connsiteY5" fmla="*/ 4228 h 1474293"/>
                  <a:gd name="connsiteX6" fmla="*/ 1448157 w 1474708"/>
                  <a:gd name="connsiteY6" fmla="*/ 4705 h 147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293">
                    <a:moveTo>
                      <a:pt x="1448157" y="4705"/>
                    </a:moveTo>
                    <a:lnTo>
                      <a:pt x="4643" y="1447742"/>
                    </a:lnTo>
                    <a:cubicBezTo>
                      <a:pt x="-1548" y="1453934"/>
                      <a:pt x="-1548" y="1463459"/>
                      <a:pt x="4643" y="1469650"/>
                    </a:cubicBezTo>
                    <a:cubicBezTo>
                      <a:pt x="10835" y="1475841"/>
                      <a:pt x="20360" y="1475841"/>
                      <a:pt x="26551" y="1469650"/>
                    </a:cubicBezTo>
                    <a:lnTo>
                      <a:pt x="1470065" y="26136"/>
                    </a:lnTo>
                    <a:cubicBezTo>
                      <a:pt x="1476256" y="19945"/>
                      <a:pt x="1476256" y="10420"/>
                      <a:pt x="1470065" y="4228"/>
                    </a:cubicBezTo>
                    <a:cubicBezTo>
                      <a:pt x="1463873" y="-1486"/>
                      <a:pt x="1453872" y="-1486"/>
                      <a:pt x="1448157" y="4705"/>
                    </a:cubicBezTo>
                    <a:close/>
                  </a:path>
                </a:pathLst>
              </a:custGeom>
              <a:grpFill/>
              <a:ln w="4763" cap="flat">
                <a:noFill/>
                <a:prstDash val="solid"/>
                <a:miter/>
              </a:ln>
            </p:spPr>
            <p:txBody>
              <a:bodyPr rtlCol="0" anchor="ctr"/>
              <a:lstStyle/>
              <a:p>
                <a:endParaRPr lang="en-US"/>
              </a:p>
            </p:txBody>
          </p:sp>
          <p:sp>
            <p:nvSpPr>
              <p:cNvPr id="329" name="Freeform: Shape 328">
                <a:extLst>
                  <a:ext uri="{FF2B5EF4-FFF2-40B4-BE49-F238E27FC236}">
                    <a16:creationId xmlns:a16="http://schemas.microsoft.com/office/drawing/2014/main" id="{13F897E6-BA07-470D-8E63-592901E131F5}"/>
                  </a:ext>
                </a:extLst>
              </p:cNvPr>
              <p:cNvSpPr/>
              <p:nvPr/>
            </p:nvSpPr>
            <p:spPr>
              <a:xfrm>
                <a:off x="3791069" y="1138771"/>
                <a:ext cx="1487566" cy="1487152"/>
              </a:xfrm>
              <a:custGeom>
                <a:avLst/>
                <a:gdLst>
                  <a:gd name="connsiteX0" fmla="*/ 1461016 w 1487566"/>
                  <a:gd name="connsiteY0" fmla="*/ 4705 h 1487152"/>
                  <a:gd name="connsiteX1" fmla="*/ 4643 w 1487566"/>
                  <a:gd name="connsiteY1" fmla="*/ 1460601 h 1487152"/>
                  <a:gd name="connsiteX2" fmla="*/ 4643 w 1487566"/>
                  <a:gd name="connsiteY2" fmla="*/ 1482509 h 1487152"/>
                  <a:gd name="connsiteX3" fmla="*/ 26551 w 1487566"/>
                  <a:gd name="connsiteY3" fmla="*/ 1482509 h 1487152"/>
                  <a:gd name="connsiteX4" fmla="*/ 1482924 w 1487566"/>
                  <a:gd name="connsiteY4" fmla="*/ 26136 h 1487152"/>
                  <a:gd name="connsiteX5" fmla="*/ 1482924 w 1487566"/>
                  <a:gd name="connsiteY5" fmla="*/ 4228 h 1487152"/>
                  <a:gd name="connsiteX6" fmla="*/ 1461016 w 1487566"/>
                  <a:gd name="connsiteY6" fmla="*/ 4705 h 148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152">
                    <a:moveTo>
                      <a:pt x="1461016" y="4705"/>
                    </a:moveTo>
                    <a:lnTo>
                      <a:pt x="4643" y="1460601"/>
                    </a:lnTo>
                    <a:cubicBezTo>
                      <a:pt x="-1548" y="1466792"/>
                      <a:pt x="-1548" y="1476317"/>
                      <a:pt x="4643" y="1482509"/>
                    </a:cubicBezTo>
                    <a:cubicBezTo>
                      <a:pt x="10835" y="1488700"/>
                      <a:pt x="20360" y="1488700"/>
                      <a:pt x="26551" y="1482509"/>
                    </a:cubicBezTo>
                    <a:lnTo>
                      <a:pt x="1482924" y="26136"/>
                    </a:lnTo>
                    <a:cubicBezTo>
                      <a:pt x="1489114" y="19945"/>
                      <a:pt x="1489114" y="10420"/>
                      <a:pt x="1482924" y="4228"/>
                    </a:cubicBezTo>
                    <a:cubicBezTo>
                      <a:pt x="1476732" y="-1486"/>
                      <a:pt x="1466731" y="-1486"/>
                      <a:pt x="1461016" y="4705"/>
                    </a:cubicBezTo>
                    <a:close/>
                  </a:path>
                </a:pathLst>
              </a:custGeom>
              <a:grpFill/>
              <a:ln w="4763" cap="flat">
                <a:noFill/>
                <a:prstDash val="solid"/>
                <a:miter/>
              </a:ln>
            </p:spPr>
            <p:txBody>
              <a:bodyPr rtlCol="0" anchor="ctr"/>
              <a:lstStyle/>
              <a:p>
                <a:endParaRPr lang="en-US"/>
              </a:p>
            </p:txBody>
          </p:sp>
          <p:sp>
            <p:nvSpPr>
              <p:cNvPr id="330" name="Freeform: Shape 329">
                <a:extLst>
                  <a:ext uri="{FF2B5EF4-FFF2-40B4-BE49-F238E27FC236}">
                    <a16:creationId xmlns:a16="http://schemas.microsoft.com/office/drawing/2014/main" id="{D7312D86-A922-4E52-A021-37DE3ADBE37D}"/>
                  </a:ext>
                </a:extLst>
              </p:cNvPr>
              <p:cNvSpPr/>
              <p:nvPr/>
            </p:nvSpPr>
            <p:spPr>
              <a:xfrm>
                <a:off x="3508652" y="856416"/>
                <a:ext cx="674131" cy="673955"/>
              </a:xfrm>
              <a:custGeom>
                <a:avLst/>
                <a:gdLst>
                  <a:gd name="connsiteX0" fmla="*/ 26551 w 674131"/>
                  <a:gd name="connsiteY0" fmla="*/ 669488 h 673955"/>
                  <a:gd name="connsiteX1" fmla="*/ 669488 w 674131"/>
                  <a:gd name="connsiteY1" fmla="*/ 26551 h 673955"/>
                  <a:gd name="connsiteX2" fmla="*/ 669488 w 674131"/>
                  <a:gd name="connsiteY2" fmla="*/ 4643 h 673955"/>
                  <a:gd name="connsiteX3" fmla="*/ 647581 w 674131"/>
                  <a:gd name="connsiteY3" fmla="*/ 4643 h 673955"/>
                  <a:gd name="connsiteX4" fmla="*/ 4643 w 674131"/>
                  <a:gd name="connsiteY4" fmla="*/ 647581 h 673955"/>
                  <a:gd name="connsiteX5" fmla="*/ 4643 w 674131"/>
                  <a:gd name="connsiteY5" fmla="*/ 669488 h 673955"/>
                  <a:gd name="connsiteX6" fmla="*/ 26551 w 674131"/>
                  <a:gd name="connsiteY6" fmla="*/ 669488 h 67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955">
                    <a:moveTo>
                      <a:pt x="26551" y="669488"/>
                    </a:moveTo>
                    <a:lnTo>
                      <a:pt x="669488" y="26551"/>
                    </a:lnTo>
                    <a:cubicBezTo>
                      <a:pt x="675680" y="20360"/>
                      <a:pt x="675680" y="10835"/>
                      <a:pt x="669488" y="4643"/>
                    </a:cubicBezTo>
                    <a:cubicBezTo>
                      <a:pt x="663297" y="-1548"/>
                      <a:pt x="653772" y="-1548"/>
                      <a:pt x="647581" y="4643"/>
                    </a:cubicBezTo>
                    <a:lnTo>
                      <a:pt x="4643" y="647581"/>
                    </a:lnTo>
                    <a:cubicBezTo>
                      <a:pt x="-1548" y="653772"/>
                      <a:pt x="-1548" y="663297"/>
                      <a:pt x="4643" y="669488"/>
                    </a:cubicBezTo>
                    <a:cubicBezTo>
                      <a:pt x="10835" y="675680"/>
                      <a:pt x="20836" y="675203"/>
                      <a:pt x="26551" y="669488"/>
                    </a:cubicBezTo>
                    <a:close/>
                  </a:path>
                </a:pathLst>
              </a:custGeom>
              <a:grpFill/>
              <a:ln w="4763" cap="flat">
                <a:noFill/>
                <a:prstDash val="solid"/>
                <a:miter/>
              </a:ln>
            </p:spPr>
            <p:txBody>
              <a:bodyPr rtlCol="0" anchor="ctr"/>
              <a:lstStyle/>
              <a:p>
                <a:endParaRPr lang="en-US"/>
              </a:p>
            </p:txBody>
          </p:sp>
          <p:sp>
            <p:nvSpPr>
              <p:cNvPr id="331" name="Freeform: Shape 330">
                <a:extLst>
                  <a:ext uri="{FF2B5EF4-FFF2-40B4-BE49-F238E27FC236}">
                    <a16:creationId xmlns:a16="http://schemas.microsoft.com/office/drawing/2014/main" id="{9A0252AA-0763-498B-BB98-E13DE68CA74B}"/>
                  </a:ext>
                </a:extLst>
              </p:cNvPr>
              <p:cNvSpPr/>
              <p:nvPr/>
            </p:nvSpPr>
            <p:spPr>
              <a:xfrm>
                <a:off x="3670101" y="1017865"/>
                <a:ext cx="213598" cy="213421"/>
              </a:xfrm>
              <a:custGeom>
                <a:avLst/>
                <a:gdLst>
                  <a:gd name="connsiteX0" fmla="*/ 26551 w 213598"/>
                  <a:gd name="connsiteY0" fmla="*/ 208955 h 213421"/>
                  <a:gd name="connsiteX1" fmla="*/ 208955 w 213598"/>
                  <a:gd name="connsiteY1" fmla="*/ 26551 h 213421"/>
                  <a:gd name="connsiteX2" fmla="*/ 208955 w 213598"/>
                  <a:gd name="connsiteY2" fmla="*/ 4643 h 213421"/>
                  <a:gd name="connsiteX3" fmla="*/ 187047 w 213598"/>
                  <a:gd name="connsiteY3" fmla="*/ 4643 h 213421"/>
                  <a:gd name="connsiteX4" fmla="*/ 4643 w 213598"/>
                  <a:gd name="connsiteY4" fmla="*/ 187047 h 213421"/>
                  <a:gd name="connsiteX5" fmla="*/ 4643 w 213598"/>
                  <a:gd name="connsiteY5" fmla="*/ 208955 h 213421"/>
                  <a:gd name="connsiteX6" fmla="*/ 26551 w 213598"/>
                  <a:gd name="connsiteY6" fmla="*/ 208955 h 21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421">
                    <a:moveTo>
                      <a:pt x="26551" y="208955"/>
                    </a:moveTo>
                    <a:lnTo>
                      <a:pt x="208955" y="26551"/>
                    </a:lnTo>
                    <a:cubicBezTo>
                      <a:pt x="215146" y="20360"/>
                      <a:pt x="215146" y="10835"/>
                      <a:pt x="208955" y="4643"/>
                    </a:cubicBezTo>
                    <a:cubicBezTo>
                      <a:pt x="202764" y="-1548"/>
                      <a:pt x="193239" y="-1548"/>
                      <a:pt x="187047" y="4643"/>
                    </a:cubicBezTo>
                    <a:lnTo>
                      <a:pt x="4643" y="187047"/>
                    </a:lnTo>
                    <a:cubicBezTo>
                      <a:pt x="-1548" y="193238"/>
                      <a:pt x="-1548" y="202763"/>
                      <a:pt x="4643" y="208955"/>
                    </a:cubicBezTo>
                    <a:cubicBezTo>
                      <a:pt x="10835" y="215146"/>
                      <a:pt x="20360" y="214670"/>
                      <a:pt x="26551" y="208955"/>
                    </a:cubicBezTo>
                    <a:close/>
                  </a:path>
                </a:pathLst>
              </a:custGeom>
              <a:grpFill/>
              <a:ln w="4763" cap="flat">
                <a:noFill/>
                <a:prstDash val="solid"/>
                <a:miter/>
              </a:ln>
            </p:spPr>
            <p:txBody>
              <a:bodyPr rtlCol="0" anchor="ctr"/>
              <a:lstStyle/>
              <a:p>
                <a:endParaRPr lang="en-US"/>
              </a:p>
            </p:txBody>
          </p:sp>
          <p:sp>
            <p:nvSpPr>
              <p:cNvPr id="332" name="Freeform: Shape 331">
                <a:extLst>
                  <a:ext uri="{FF2B5EF4-FFF2-40B4-BE49-F238E27FC236}">
                    <a16:creationId xmlns:a16="http://schemas.microsoft.com/office/drawing/2014/main" id="{4B4B16D1-0175-4E4C-B431-243A684AB9AD}"/>
                  </a:ext>
                </a:extLst>
              </p:cNvPr>
              <p:cNvSpPr/>
              <p:nvPr/>
            </p:nvSpPr>
            <p:spPr>
              <a:xfrm>
                <a:off x="3461504" y="809267"/>
                <a:ext cx="1181814" cy="1181399"/>
              </a:xfrm>
              <a:custGeom>
                <a:avLst/>
                <a:gdLst>
                  <a:gd name="connsiteX0" fmla="*/ 26551 w 1181814"/>
                  <a:gd name="connsiteY0" fmla="*/ 1176695 h 1181399"/>
                  <a:gd name="connsiteX1" fmla="*/ 1177171 w 1181814"/>
                  <a:gd name="connsiteY1" fmla="*/ 26551 h 1181399"/>
                  <a:gd name="connsiteX2" fmla="*/ 1177171 w 1181814"/>
                  <a:gd name="connsiteY2" fmla="*/ 4643 h 1181399"/>
                  <a:gd name="connsiteX3" fmla="*/ 1155264 w 1181814"/>
                  <a:gd name="connsiteY3" fmla="*/ 4643 h 1181399"/>
                  <a:gd name="connsiteX4" fmla="*/ 4643 w 1181814"/>
                  <a:gd name="connsiteY4" fmla="*/ 1155263 h 1181399"/>
                  <a:gd name="connsiteX5" fmla="*/ 4643 w 1181814"/>
                  <a:gd name="connsiteY5" fmla="*/ 1177171 h 1181399"/>
                  <a:gd name="connsiteX6" fmla="*/ 26551 w 1181814"/>
                  <a:gd name="connsiteY6" fmla="*/ 1176695 h 118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814" h="1181399">
                    <a:moveTo>
                      <a:pt x="26551" y="1176695"/>
                    </a:moveTo>
                    <a:lnTo>
                      <a:pt x="1177171" y="26551"/>
                    </a:lnTo>
                    <a:cubicBezTo>
                      <a:pt x="1183362" y="20360"/>
                      <a:pt x="1183362" y="10835"/>
                      <a:pt x="1177171" y="4643"/>
                    </a:cubicBezTo>
                    <a:cubicBezTo>
                      <a:pt x="1170980" y="-1548"/>
                      <a:pt x="1161455" y="-1548"/>
                      <a:pt x="1155264" y="4643"/>
                    </a:cubicBezTo>
                    <a:lnTo>
                      <a:pt x="4643" y="1155263"/>
                    </a:lnTo>
                    <a:cubicBezTo>
                      <a:pt x="-1548" y="1161455"/>
                      <a:pt x="-1548" y="1170980"/>
                      <a:pt x="4643" y="1177171"/>
                    </a:cubicBezTo>
                    <a:cubicBezTo>
                      <a:pt x="10835" y="1182886"/>
                      <a:pt x="20836" y="1182886"/>
                      <a:pt x="26551" y="1176695"/>
                    </a:cubicBezTo>
                    <a:close/>
                  </a:path>
                </a:pathLst>
              </a:custGeom>
              <a:grpFill/>
              <a:ln w="4763" cap="flat">
                <a:noFill/>
                <a:prstDash val="solid"/>
                <a:miter/>
              </a:ln>
            </p:spPr>
            <p:txBody>
              <a:bodyPr rtlCol="0" anchor="ctr"/>
              <a:lstStyle/>
              <a:p>
                <a:endParaRPr lang="en-US"/>
              </a:p>
            </p:txBody>
          </p:sp>
          <p:sp>
            <p:nvSpPr>
              <p:cNvPr id="333" name="Freeform: Shape 332">
                <a:extLst>
                  <a:ext uri="{FF2B5EF4-FFF2-40B4-BE49-F238E27FC236}">
                    <a16:creationId xmlns:a16="http://schemas.microsoft.com/office/drawing/2014/main" id="{2D8AB72A-BB44-4B23-BC7A-BE172DB864D4}"/>
                  </a:ext>
                </a:extLst>
              </p:cNvPr>
              <p:cNvSpPr/>
              <p:nvPr/>
            </p:nvSpPr>
            <p:spPr>
              <a:xfrm>
                <a:off x="3453884" y="801171"/>
                <a:ext cx="1059894" cy="1059717"/>
              </a:xfrm>
              <a:custGeom>
                <a:avLst/>
                <a:gdLst>
                  <a:gd name="connsiteX0" fmla="*/ 26551 w 1059894"/>
                  <a:gd name="connsiteY0" fmla="*/ 1055251 h 1059717"/>
                  <a:gd name="connsiteX1" fmla="*/ 1055251 w 1059894"/>
                  <a:gd name="connsiteY1" fmla="*/ 26551 h 1059717"/>
                  <a:gd name="connsiteX2" fmla="*/ 1055251 w 1059894"/>
                  <a:gd name="connsiteY2" fmla="*/ 4643 h 1059717"/>
                  <a:gd name="connsiteX3" fmla="*/ 1033343 w 1059894"/>
                  <a:gd name="connsiteY3" fmla="*/ 4643 h 1059717"/>
                  <a:gd name="connsiteX4" fmla="*/ 4643 w 1059894"/>
                  <a:gd name="connsiteY4" fmla="*/ 1033344 h 1059717"/>
                  <a:gd name="connsiteX5" fmla="*/ 4643 w 1059894"/>
                  <a:gd name="connsiteY5" fmla="*/ 1055251 h 1059717"/>
                  <a:gd name="connsiteX6" fmla="*/ 26551 w 1059894"/>
                  <a:gd name="connsiteY6" fmla="*/ 1055251 h 105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717">
                    <a:moveTo>
                      <a:pt x="26551" y="1055251"/>
                    </a:moveTo>
                    <a:lnTo>
                      <a:pt x="1055251" y="26551"/>
                    </a:lnTo>
                    <a:cubicBezTo>
                      <a:pt x="1061442" y="20360"/>
                      <a:pt x="1061442" y="10835"/>
                      <a:pt x="1055251" y="4643"/>
                    </a:cubicBezTo>
                    <a:cubicBezTo>
                      <a:pt x="1049060" y="-1548"/>
                      <a:pt x="1039535" y="-1548"/>
                      <a:pt x="1033343" y="4643"/>
                    </a:cubicBezTo>
                    <a:lnTo>
                      <a:pt x="4643" y="1033344"/>
                    </a:lnTo>
                    <a:cubicBezTo>
                      <a:pt x="-1548" y="1039535"/>
                      <a:pt x="-1548" y="1049060"/>
                      <a:pt x="4643" y="1055251"/>
                    </a:cubicBezTo>
                    <a:cubicBezTo>
                      <a:pt x="10835" y="1061442"/>
                      <a:pt x="20360" y="1060966"/>
                      <a:pt x="26551" y="1055251"/>
                    </a:cubicBezTo>
                    <a:close/>
                  </a:path>
                </a:pathLst>
              </a:custGeom>
              <a:grpFill/>
              <a:ln w="4763" cap="flat">
                <a:noFill/>
                <a:prstDash val="solid"/>
                <a:miter/>
              </a:ln>
            </p:spPr>
            <p:txBody>
              <a:bodyPr rtlCol="0" anchor="ctr"/>
              <a:lstStyle/>
              <a:p>
                <a:endParaRPr lang="en-US"/>
              </a:p>
            </p:txBody>
          </p:sp>
          <p:sp>
            <p:nvSpPr>
              <p:cNvPr id="334" name="Freeform: Shape 333">
                <a:extLst>
                  <a:ext uri="{FF2B5EF4-FFF2-40B4-BE49-F238E27FC236}">
                    <a16:creationId xmlns:a16="http://schemas.microsoft.com/office/drawing/2014/main" id="{96F4170F-D07C-4EC3-8779-AC8048144E41}"/>
                  </a:ext>
                </a:extLst>
              </p:cNvPr>
              <p:cNvSpPr/>
              <p:nvPr/>
            </p:nvSpPr>
            <p:spPr>
              <a:xfrm>
                <a:off x="3464837" y="812125"/>
                <a:ext cx="899874" cy="899874"/>
              </a:xfrm>
              <a:custGeom>
                <a:avLst/>
                <a:gdLst>
                  <a:gd name="connsiteX0" fmla="*/ 26551 w 899874"/>
                  <a:gd name="connsiteY0" fmla="*/ 895231 h 899874"/>
                  <a:gd name="connsiteX1" fmla="*/ 895231 w 899874"/>
                  <a:gd name="connsiteY1" fmla="*/ 26551 h 899874"/>
                  <a:gd name="connsiteX2" fmla="*/ 895231 w 899874"/>
                  <a:gd name="connsiteY2" fmla="*/ 4643 h 899874"/>
                  <a:gd name="connsiteX3" fmla="*/ 873324 w 899874"/>
                  <a:gd name="connsiteY3" fmla="*/ 4643 h 899874"/>
                  <a:gd name="connsiteX4" fmla="*/ 4643 w 899874"/>
                  <a:gd name="connsiteY4" fmla="*/ 873323 h 899874"/>
                  <a:gd name="connsiteX5" fmla="*/ 4643 w 899874"/>
                  <a:gd name="connsiteY5" fmla="*/ 895231 h 899874"/>
                  <a:gd name="connsiteX6" fmla="*/ 26551 w 899874"/>
                  <a:gd name="connsiteY6" fmla="*/ 895231 h 89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874">
                    <a:moveTo>
                      <a:pt x="26551" y="895231"/>
                    </a:moveTo>
                    <a:lnTo>
                      <a:pt x="895231" y="26551"/>
                    </a:lnTo>
                    <a:cubicBezTo>
                      <a:pt x="901422" y="20360"/>
                      <a:pt x="901422" y="10835"/>
                      <a:pt x="895231" y="4643"/>
                    </a:cubicBezTo>
                    <a:cubicBezTo>
                      <a:pt x="889040" y="-1548"/>
                      <a:pt x="879515" y="-1548"/>
                      <a:pt x="873324" y="4643"/>
                    </a:cubicBezTo>
                    <a:lnTo>
                      <a:pt x="4643" y="873323"/>
                    </a:lnTo>
                    <a:cubicBezTo>
                      <a:pt x="-1548" y="879515"/>
                      <a:pt x="-1548" y="889040"/>
                      <a:pt x="4643" y="895231"/>
                    </a:cubicBezTo>
                    <a:cubicBezTo>
                      <a:pt x="10835" y="901422"/>
                      <a:pt x="20360" y="901422"/>
                      <a:pt x="26551" y="895231"/>
                    </a:cubicBezTo>
                    <a:close/>
                  </a:path>
                </a:pathLst>
              </a:custGeom>
              <a:grpFill/>
              <a:ln w="4763" cap="flat">
                <a:noFill/>
                <a:prstDash val="solid"/>
                <a:miter/>
              </a:ln>
            </p:spPr>
            <p:txBody>
              <a:bodyPr rtlCol="0" anchor="ctr"/>
              <a:lstStyle/>
              <a:p>
                <a:endParaRPr lang="en-US"/>
              </a:p>
            </p:txBody>
          </p:sp>
          <p:sp>
            <p:nvSpPr>
              <p:cNvPr id="335" name="Freeform: Shape 334">
                <a:extLst>
                  <a:ext uri="{FF2B5EF4-FFF2-40B4-BE49-F238E27FC236}">
                    <a16:creationId xmlns:a16="http://schemas.microsoft.com/office/drawing/2014/main" id="{16322F52-0119-4E3F-967A-1C35CA533754}"/>
                  </a:ext>
                </a:extLst>
              </p:cNvPr>
              <p:cNvSpPr/>
              <p:nvPr/>
            </p:nvSpPr>
            <p:spPr>
              <a:xfrm>
                <a:off x="3482935" y="830222"/>
                <a:ext cx="1277064" cy="1277064"/>
              </a:xfrm>
              <a:custGeom>
                <a:avLst/>
                <a:gdLst>
                  <a:gd name="connsiteX0" fmla="*/ 26551 w 1277064"/>
                  <a:gd name="connsiteY0" fmla="*/ 1272421 h 1277064"/>
                  <a:gd name="connsiteX1" fmla="*/ 1272421 w 1277064"/>
                  <a:gd name="connsiteY1" fmla="*/ 26551 h 1277064"/>
                  <a:gd name="connsiteX2" fmla="*/ 1272421 w 1277064"/>
                  <a:gd name="connsiteY2" fmla="*/ 4643 h 1277064"/>
                  <a:gd name="connsiteX3" fmla="*/ 1250514 w 1277064"/>
                  <a:gd name="connsiteY3" fmla="*/ 4643 h 1277064"/>
                  <a:gd name="connsiteX4" fmla="*/ 4643 w 1277064"/>
                  <a:gd name="connsiteY4" fmla="*/ 1250513 h 1277064"/>
                  <a:gd name="connsiteX5" fmla="*/ 4643 w 1277064"/>
                  <a:gd name="connsiteY5" fmla="*/ 1272421 h 1277064"/>
                  <a:gd name="connsiteX6" fmla="*/ 26551 w 1277064"/>
                  <a:gd name="connsiteY6" fmla="*/ 1272421 h 127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7064">
                    <a:moveTo>
                      <a:pt x="26551" y="1272421"/>
                    </a:moveTo>
                    <a:lnTo>
                      <a:pt x="1272421" y="26551"/>
                    </a:lnTo>
                    <a:cubicBezTo>
                      <a:pt x="1278612" y="20360"/>
                      <a:pt x="1278612" y="10835"/>
                      <a:pt x="1272421" y="4643"/>
                    </a:cubicBezTo>
                    <a:cubicBezTo>
                      <a:pt x="1266230" y="-1548"/>
                      <a:pt x="1256705" y="-1548"/>
                      <a:pt x="1250514" y="4643"/>
                    </a:cubicBezTo>
                    <a:lnTo>
                      <a:pt x="4643" y="1250513"/>
                    </a:lnTo>
                    <a:cubicBezTo>
                      <a:pt x="-1548" y="1256705"/>
                      <a:pt x="-1548" y="1266230"/>
                      <a:pt x="4643" y="1272421"/>
                    </a:cubicBezTo>
                    <a:cubicBezTo>
                      <a:pt x="10835" y="1278612"/>
                      <a:pt x="20360" y="1278612"/>
                      <a:pt x="26551" y="1272421"/>
                    </a:cubicBezTo>
                    <a:close/>
                  </a:path>
                </a:pathLst>
              </a:custGeom>
              <a:grpFill/>
              <a:ln w="4763" cap="flat">
                <a:noFill/>
                <a:prstDash val="solid"/>
                <a:miter/>
              </a:ln>
            </p:spPr>
            <p:txBody>
              <a:bodyPr rtlCol="0" anchor="ctr"/>
              <a:lstStyle/>
              <a:p>
                <a:endParaRPr lang="en-US"/>
              </a:p>
            </p:txBody>
          </p:sp>
          <p:sp>
            <p:nvSpPr>
              <p:cNvPr id="336" name="Freeform: Shape 335">
                <a:extLst>
                  <a:ext uri="{FF2B5EF4-FFF2-40B4-BE49-F238E27FC236}">
                    <a16:creationId xmlns:a16="http://schemas.microsoft.com/office/drawing/2014/main" id="{492A370F-46B2-4467-80F3-37AD6928D4AD}"/>
                  </a:ext>
                </a:extLst>
              </p:cNvPr>
              <p:cNvSpPr/>
              <p:nvPr/>
            </p:nvSpPr>
            <p:spPr>
              <a:xfrm>
                <a:off x="3722012" y="1069300"/>
                <a:ext cx="1487566" cy="1487811"/>
              </a:xfrm>
              <a:custGeom>
                <a:avLst/>
                <a:gdLst>
                  <a:gd name="connsiteX0" fmla="*/ 26551 w 1487566"/>
                  <a:gd name="connsiteY0" fmla="*/ 1482924 h 1487811"/>
                  <a:gd name="connsiteX1" fmla="*/ 1482924 w 1487566"/>
                  <a:gd name="connsiteY1" fmla="*/ 26551 h 1487811"/>
                  <a:gd name="connsiteX2" fmla="*/ 1482924 w 1487566"/>
                  <a:gd name="connsiteY2" fmla="*/ 4643 h 1487811"/>
                  <a:gd name="connsiteX3" fmla="*/ 1461016 w 1487566"/>
                  <a:gd name="connsiteY3" fmla="*/ 4643 h 1487811"/>
                  <a:gd name="connsiteX4" fmla="*/ 4643 w 1487566"/>
                  <a:gd name="connsiteY4" fmla="*/ 1461492 h 1487811"/>
                  <a:gd name="connsiteX5" fmla="*/ 4643 w 1487566"/>
                  <a:gd name="connsiteY5" fmla="*/ 1483400 h 1487811"/>
                  <a:gd name="connsiteX6" fmla="*/ 26551 w 1487566"/>
                  <a:gd name="connsiteY6" fmla="*/ 1482924 h 1487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811">
                    <a:moveTo>
                      <a:pt x="26551" y="1482924"/>
                    </a:moveTo>
                    <a:lnTo>
                      <a:pt x="1482924" y="26551"/>
                    </a:lnTo>
                    <a:cubicBezTo>
                      <a:pt x="1489114" y="20360"/>
                      <a:pt x="1489114" y="10835"/>
                      <a:pt x="1482924" y="4643"/>
                    </a:cubicBezTo>
                    <a:cubicBezTo>
                      <a:pt x="1476732" y="-1548"/>
                      <a:pt x="1467207" y="-1548"/>
                      <a:pt x="1461016" y="4643"/>
                    </a:cubicBezTo>
                    <a:lnTo>
                      <a:pt x="4643" y="1461492"/>
                    </a:lnTo>
                    <a:cubicBezTo>
                      <a:pt x="-1548" y="1467684"/>
                      <a:pt x="-1548" y="1477209"/>
                      <a:pt x="4643" y="1483400"/>
                    </a:cubicBezTo>
                    <a:cubicBezTo>
                      <a:pt x="10835" y="1489591"/>
                      <a:pt x="20360" y="1489115"/>
                      <a:pt x="26551" y="1482924"/>
                    </a:cubicBezTo>
                    <a:close/>
                  </a:path>
                </a:pathLst>
              </a:custGeom>
              <a:grpFill/>
              <a:ln w="4763" cap="flat">
                <a:noFill/>
                <a:prstDash val="solid"/>
                <a:miter/>
              </a:ln>
            </p:spPr>
            <p:txBody>
              <a:bodyPr rtlCol="0" anchor="ctr"/>
              <a:lstStyle/>
              <a:p>
                <a:endParaRPr lang="en-US"/>
              </a:p>
            </p:txBody>
          </p:sp>
          <p:sp>
            <p:nvSpPr>
              <p:cNvPr id="337" name="Freeform: Shape 336">
                <a:extLst>
                  <a:ext uri="{FF2B5EF4-FFF2-40B4-BE49-F238E27FC236}">
                    <a16:creationId xmlns:a16="http://schemas.microsoft.com/office/drawing/2014/main" id="{80FE4D53-BE6D-42CD-8BE3-F21A083C67E7}"/>
                  </a:ext>
                </a:extLst>
              </p:cNvPr>
              <p:cNvSpPr/>
              <p:nvPr/>
            </p:nvSpPr>
            <p:spPr>
              <a:xfrm>
                <a:off x="3659624" y="1006911"/>
                <a:ext cx="1474708" cy="1474708"/>
              </a:xfrm>
              <a:custGeom>
                <a:avLst/>
                <a:gdLst>
                  <a:gd name="connsiteX0" fmla="*/ 26551 w 1474708"/>
                  <a:gd name="connsiteY0" fmla="*/ 1470065 h 1474708"/>
                  <a:gd name="connsiteX1" fmla="*/ 1470065 w 1474708"/>
                  <a:gd name="connsiteY1" fmla="*/ 26551 h 1474708"/>
                  <a:gd name="connsiteX2" fmla="*/ 1470065 w 1474708"/>
                  <a:gd name="connsiteY2" fmla="*/ 4643 h 1474708"/>
                  <a:gd name="connsiteX3" fmla="*/ 1448157 w 1474708"/>
                  <a:gd name="connsiteY3" fmla="*/ 4643 h 1474708"/>
                  <a:gd name="connsiteX4" fmla="*/ 4644 w 1474708"/>
                  <a:gd name="connsiteY4" fmla="*/ 1448157 h 1474708"/>
                  <a:gd name="connsiteX5" fmla="*/ 4644 w 1474708"/>
                  <a:gd name="connsiteY5" fmla="*/ 1470065 h 1474708"/>
                  <a:gd name="connsiteX6" fmla="*/ 26551 w 1474708"/>
                  <a:gd name="connsiteY6" fmla="*/ 1470065 h 1474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708">
                    <a:moveTo>
                      <a:pt x="26551" y="1470065"/>
                    </a:moveTo>
                    <a:lnTo>
                      <a:pt x="1470065" y="26551"/>
                    </a:lnTo>
                    <a:cubicBezTo>
                      <a:pt x="1476256" y="20360"/>
                      <a:pt x="1476256" y="10835"/>
                      <a:pt x="1470065" y="4643"/>
                    </a:cubicBezTo>
                    <a:cubicBezTo>
                      <a:pt x="1463874" y="-1548"/>
                      <a:pt x="1454349" y="-1548"/>
                      <a:pt x="1448157" y="4643"/>
                    </a:cubicBezTo>
                    <a:lnTo>
                      <a:pt x="4644" y="1448157"/>
                    </a:lnTo>
                    <a:cubicBezTo>
                      <a:pt x="-1548" y="1454348"/>
                      <a:pt x="-1548" y="1463873"/>
                      <a:pt x="4644" y="1470065"/>
                    </a:cubicBezTo>
                    <a:cubicBezTo>
                      <a:pt x="10835" y="1476256"/>
                      <a:pt x="20360" y="1476256"/>
                      <a:pt x="26551" y="1470065"/>
                    </a:cubicBezTo>
                    <a:close/>
                  </a:path>
                </a:pathLst>
              </a:custGeom>
              <a:grpFill/>
              <a:ln w="4763" cap="flat">
                <a:noFill/>
                <a:prstDash val="solid"/>
                <a:miter/>
              </a:ln>
            </p:spPr>
            <p:txBody>
              <a:bodyPr rtlCol="0" anchor="ctr"/>
              <a:lstStyle/>
              <a:p>
                <a:endParaRPr lang="en-US"/>
              </a:p>
            </p:txBody>
          </p:sp>
          <p:sp>
            <p:nvSpPr>
              <p:cNvPr id="338" name="Freeform: Shape 337">
                <a:extLst>
                  <a:ext uri="{FF2B5EF4-FFF2-40B4-BE49-F238E27FC236}">
                    <a16:creationId xmlns:a16="http://schemas.microsoft.com/office/drawing/2014/main" id="{F90DADFD-9CD1-418A-9A62-75981D19A924}"/>
                  </a:ext>
                </a:extLst>
              </p:cNvPr>
              <p:cNvSpPr/>
              <p:nvPr/>
            </p:nvSpPr>
            <p:spPr>
              <a:xfrm>
                <a:off x="3514844" y="862607"/>
                <a:ext cx="1350883" cy="1350706"/>
              </a:xfrm>
              <a:custGeom>
                <a:avLst/>
                <a:gdLst>
                  <a:gd name="connsiteX0" fmla="*/ 26551 w 1350883"/>
                  <a:gd name="connsiteY0" fmla="*/ 1346240 h 1350706"/>
                  <a:gd name="connsiteX1" fmla="*/ 1346240 w 1350883"/>
                  <a:gd name="connsiteY1" fmla="*/ 26551 h 1350706"/>
                  <a:gd name="connsiteX2" fmla="*/ 1346240 w 1350883"/>
                  <a:gd name="connsiteY2" fmla="*/ 4643 h 1350706"/>
                  <a:gd name="connsiteX3" fmla="*/ 1324332 w 1350883"/>
                  <a:gd name="connsiteY3" fmla="*/ 4643 h 1350706"/>
                  <a:gd name="connsiteX4" fmla="*/ 4643 w 1350883"/>
                  <a:gd name="connsiteY4" fmla="*/ 1324332 h 1350706"/>
                  <a:gd name="connsiteX5" fmla="*/ 4643 w 1350883"/>
                  <a:gd name="connsiteY5" fmla="*/ 1346240 h 1350706"/>
                  <a:gd name="connsiteX6" fmla="*/ 26551 w 1350883"/>
                  <a:gd name="connsiteY6" fmla="*/ 1346240 h 135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3" h="1350706">
                    <a:moveTo>
                      <a:pt x="26551" y="1346240"/>
                    </a:moveTo>
                    <a:lnTo>
                      <a:pt x="1346240" y="26551"/>
                    </a:lnTo>
                    <a:cubicBezTo>
                      <a:pt x="1352431" y="20360"/>
                      <a:pt x="1352431" y="10835"/>
                      <a:pt x="1346240" y="4643"/>
                    </a:cubicBezTo>
                    <a:cubicBezTo>
                      <a:pt x="1340049" y="-1548"/>
                      <a:pt x="1330524" y="-1548"/>
                      <a:pt x="1324332" y="4643"/>
                    </a:cubicBezTo>
                    <a:lnTo>
                      <a:pt x="4643" y="1324332"/>
                    </a:lnTo>
                    <a:cubicBezTo>
                      <a:pt x="-1548" y="1330523"/>
                      <a:pt x="-1548" y="1340048"/>
                      <a:pt x="4643" y="1346240"/>
                    </a:cubicBezTo>
                    <a:cubicBezTo>
                      <a:pt x="10835" y="1352431"/>
                      <a:pt x="20360" y="1351955"/>
                      <a:pt x="26551" y="1346240"/>
                    </a:cubicBezTo>
                    <a:close/>
                  </a:path>
                </a:pathLst>
              </a:custGeom>
              <a:grpFill/>
              <a:ln w="4763" cap="flat">
                <a:noFill/>
                <a:prstDash val="solid"/>
                <a:miter/>
              </a:ln>
            </p:spPr>
            <p:txBody>
              <a:bodyPr rtlCol="0" anchor="ctr"/>
              <a:lstStyle/>
              <a:p>
                <a:endParaRPr lang="en-US"/>
              </a:p>
            </p:txBody>
          </p:sp>
          <p:sp>
            <p:nvSpPr>
              <p:cNvPr id="339" name="Freeform: Shape 338">
                <a:extLst>
                  <a:ext uri="{FF2B5EF4-FFF2-40B4-BE49-F238E27FC236}">
                    <a16:creationId xmlns:a16="http://schemas.microsoft.com/office/drawing/2014/main" id="{37C9856E-09C3-4B12-80F5-DF361B3D1066}"/>
                  </a:ext>
                </a:extLst>
              </p:cNvPr>
              <p:cNvSpPr/>
              <p:nvPr/>
            </p:nvSpPr>
            <p:spPr>
              <a:xfrm>
                <a:off x="3603902" y="951666"/>
                <a:ext cx="1448037" cy="1447680"/>
              </a:xfrm>
              <a:custGeom>
                <a:avLst/>
                <a:gdLst>
                  <a:gd name="connsiteX0" fmla="*/ 26551 w 1448037"/>
                  <a:gd name="connsiteY0" fmla="*/ 1443395 h 1447680"/>
                  <a:gd name="connsiteX1" fmla="*/ 1443395 w 1448037"/>
                  <a:gd name="connsiteY1" fmla="*/ 26551 h 1447680"/>
                  <a:gd name="connsiteX2" fmla="*/ 1443395 w 1448037"/>
                  <a:gd name="connsiteY2" fmla="*/ 4643 h 1447680"/>
                  <a:gd name="connsiteX3" fmla="*/ 1421487 w 1448037"/>
                  <a:gd name="connsiteY3" fmla="*/ 4643 h 1447680"/>
                  <a:gd name="connsiteX4" fmla="*/ 4643 w 1448037"/>
                  <a:gd name="connsiteY4" fmla="*/ 1421487 h 1447680"/>
                  <a:gd name="connsiteX5" fmla="*/ 4643 w 1448037"/>
                  <a:gd name="connsiteY5" fmla="*/ 1443395 h 1447680"/>
                  <a:gd name="connsiteX6" fmla="*/ 26551 w 1448037"/>
                  <a:gd name="connsiteY6" fmla="*/ 1443395 h 144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7" h="1447680">
                    <a:moveTo>
                      <a:pt x="26551" y="1443395"/>
                    </a:moveTo>
                    <a:lnTo>
                      <a:pt x="1443395" y="26551"/>
                    </a:lnTo>
                    <a:cubicBezTo>
                      <a:pt x="1449586" y="20360"/>
                      <a:pt x="1449586" y="10835"/>
                      <a:pt x="1443395" y="4643"/>
                    </a:cubicBezTo>
                    <a:cubicBezTo>
                      <a:pt x="1437203" y="-1548"/>
                      <a:pt x="1427678" y="-1548"/>
                      <a:pt x="1421487" y="4643"/>
                    </a:cubicBezTo>
                    <a:lnTo>
                      <a:pt x="4643" y="1421487"/>
                    </a:lnTo>
                    <a:cubicBezTo>
                      <a:pt x="-1548" y="1427679"/>
                      <a:pt x="-1548" y="1437204"/>
                      <a:pt x="4643" y="1443395"/>
                    </a:cubicBezTo>
                    <a:cubicBezTo>
                      <a:pt x="10835" y="1449110"/>
                      <a:pt x="20360" y="1449110"/>
                      <a:pt x="26551" y="1443395"/>
                    </a:cubicBezTo>
                    <a:close/>
                  </a:path>
                </a:pathLst>
              </a:custGeom>
              <a:grpFill/>
              <a:ln w="4763" cap="flat">
                <a:noFill/>
                <a:prstDash val="solid"/>
                <a:miter/>
              </a:ln>
            </p:spPr>
            <p:txBody>
              <a:bodyPr rtlCol="0" anchor="ctr"/>
              <a:lstStyle/>
              <a:p>
                <a:endParaRPr lang="en-US"/>
              </a:p>
            </p:txBody>
          </p:sp>
          <p:sp>
            <p:nvSpPr>
              <p:cNvPr id="340" name="Freeform: Shape 339">
                <a:extLst>
                  <a:ext uri="{FF2B5EF4-FFF2-40B4-BE49-F238E27FC236}">
                    <a16:creationId xmlns:a16="http://schemas.microsoft.com/office/drawing/2014/main" id="{9F994ADA-CF65-4CFD-B3C4-558089B2E604}"/>
                  </a:ext>
                </a:extLst>
              </p:cNvPr>
              <p:cNvSpPr/>
              <p:nvPr/>
            </p:nvSpPr>
            <p:spPr>
              <a:xfrm>
                <a:off x="3555325" y="902612"/>
                <a:ext cx="1407556" cy="1407556"/>
              </a:xfrm>
              <a:custGeom>
                <a:avLst/>
                <a:gdLst>
                  <a:gd name="connsiteX0" fmla="*/ 26551 w 1407556"/>
                  <a:gd name="connsiteY0" fmla="*/ 1402914 h 1407556"/>
                  <a:gd name="connsiteX1" fmla="*/ 1402913 w 1407556"/>
                  <a:gd name="connsiteY1" fmla="*/ 26551 h 1407556"/>
                  <a:gd name="connsiteX2" fmla="*/ 1402913 w 1407556"/>
                  <a:gd name="connsiteY2" fmla="*/ 4643 h 1407556"/>
                  <a:gd name="connsiteX3" fmla="*/ 1381006 w 1407556"/>
                  <a:gd name="connsiteY3" fmla="*/ 4643 h 1407556"/>
                  <a:gd name="connsiteX4" fmla="*/ 4643 w 1407556"/>
                  <a:gd name="connsiteY4" fmla="*/ 1381006 h 1407556"/>
                  <a:gd name="connsiteX5" fmla="*/ 4643 w 1407556"/>
                  <a:gd name="connsiteY5" fmla="*/ 1402914 h 1407556"/>
                  <a:gd name="connsiteX6" fmla="*/ 26551 w 1407556"/>
                  <a:gd name="connsiteY6" fmla="*/ 1402914 h 140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556">
                    <a:moveTo>
                      <a:pt x="26551" y="1402914"/>
                    </a:moveTo>
                    <a:lnTo>
                      <a:pt x="1402913" y="26551"/>
                    </a:lnTo>
                    <a:cubicBezTo>
                      <a:pt x="1409105" y="20360"/>
                      <a:pt x="1409105" y="10835"/>
                      <a:pt x="1402913" y="4643"/>
                    </a:cubicBezTo>
                    <a:cubicBezTo>
                      <a:pt x="1396722" y="-1548"/>
                      <a:pt x="1387197" y="-1548"/>
                      <a:pt x="1381006" y="4643"/>
                    </a:cubicBezTo>
                    <a:lnTo>
                      <a:pt x="4643" y="1381006"/>
                    </a:lnTo>
                    <a:cubicBezTo>
                      <a:pt x="-1548" y="1387197"/>
                      <a:pt x="-1548" y="1396722"/>
                      <a:pt x="4643" y="1402914"/>
                    </a:cubicBezTo>
                    <a:cubicBezTo>
                      <a:pt x="10835" y="1409105"/>
                      <a:pt x="20836" y="1409105"/>
                      <a:pt x="26551" y="1402914"/>
                    </a:cubicBezTo>
                    <a:close/>
                  </a:path>
                </a:pathLst>
              </a:custGeom>
              <a:grpFill/>
              <a:ln w="4763" cap="flat">
                <a:noFill/>
                <a:prstDash val="solid"/>
                <a:miter/>
              </a:ln>
            </p:spPr>
            <p:txBody>
              <a:bodyPr rtlCol="0" anchor="ctr"/>
              <a:lstStyle/>
              <a:p>
                <a:endParaRPr lang="en-US"/>
              </a:p>
            </p:txBody>
          </p:sp>
        </p:grpSp>
        <p:pic>
          <p:nvPicPr>
            <p:cNvPr id="310" name="Picture 309" descr="A picture containing table&#10;&#10;Description automatically generated">
              <a:extLst>
                <a:ext uri="{FF2B5EF4-FFF2-40B4-BE49-F238E27FC236}">
                  <a16:creationId xmlns:a16="http://schemas.microsoft.com/office/drawing/2014/main" id="{5A4C2B7E-7BD0-432C-AF98-A7401ED172C0}"/>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5205413" y="3058505"/>
              <a:ext cx="1163954" cy="937628"/>
            </a:xfrm>
            <a:prstGeom prst="rect">
              <a:avLst/>
            </a:prstGeom>
          </p:spPr>
        </p:pic>
        <p:sp>
          <p:nvSpPr>
            <p:cNvPr id="312" name="Oval 311">
              <a:extLst>
                <a:ext uri="{FF2B5EF4-FFF2-40B4-BE49-F238E27FC236}">
                  <a16:creationId xmlns:a16="http://schemas.microsoft.com/office/drawing/2014/main" id="{D30CE21C-9D73-4946-9DDC-98713081E0D7}"/>
                </a:ext>
              </a:extLst>
            </p:cNvPr>
            <p:cNvSpPr/>
            <p:nvPr/>
          </p:nvSpPr>
          <p:spPr>
            <a:xfrm>
              <a:off x="5596752" y="3252597"/>
              <a:ext cx="474465" cy="474464"/>
            </a:xfrm>
            <a:prstGeom prst="ellipse">
              <a:avLst/>
            </a:prstGeom>
            <a:solidFill>
              <a:schemeClr val="accent5">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3" name="Oval 312">
              <a:extLst>
                <a:ext uri="{FF2B5EF4-FFF2-40B4-BE49-F238E27FC236}">
                  <a16:creationId xmlns:a16="http://schemas.microsoft.com/office/drawing/2014/main" id="{56E11CE9-E0D7-45C9-93D0-1E35AF0FD1C0}"/>
                </a:ext>
              </a:extLst>
            </p:cNvPr>
            <p:cNvSpPr/>
            <p:nvPr/>
          </p:nvSpPr>
          <p:spPr>
            <a:xfrm>
              <a:off x="5470455" y="3085664"/>
              <a:ext cx="186490" cy="186490"/>
            </a:xfrm>
            <a:prstGeom prst="ellipse">
              <a:avLst/>
            </a:prstGeom>
            <a:solidFill>
              <a:schemeClr val="accent6">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Oval 313">
              <a:extLst>
                <a:ext uri="{FF2B5EF4-FFF2-40B4-BE49-F238E27FC236}">
                  <a16:creationId xmlns:a16="http://schemas.microsoft.com/office/drawing/2014/main" id="{50DED4C8-C4BC-48BA-9D48-4DD246FCC246}"/>
                </a:ext>
              </a:extLst>
            </p:cNvPr>
            <p:cNvSpPr/>
            <p:nvPr/>
          </p:nvSpPr>
          <p:spPr>
            <a:xfrm>
              <a:off x="5357862" y="3321488"/>
              <a:ext cx="314974" cy="313370"/>
            </a:xfrm>
            <a:prstGeom prst="ellipse">
              <a:avLst/>
            </a:prstGeom>
            <a:solidFill>
              <a:schemeClr val="bg2">
                <a:alpha val="6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F0CC706F-7178-4F2E-8116-2AFA9503A89F}"/>
                </a:ext>
              </a:extLst>
            </p:cNvPr>
            <p:cNvSpPr/>
            <p:nvPr/>
          </p:nvSpPr>
          <p:spPr>
            <a:xfrm>
              <a:off x="5572255" y="3892658"/>
              <a:ext cx="96962" cy="96962"/>
            </a:xfrm>
            <a:prstGeom prst="ellipse">
              <a:avLst/>
            </a:prstGeom>
            <a:solidFill>
              <a:schemeClr val="accent5">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4636423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CA0C73-133F-4AF4-92CD-956E8DDF5207}"/>
              </a:ext>
            </a:extLst>
          </p:cNvPr>
          <p:cNvSpPr/>
          <p:nvPr/>
        </p:nvSpPr>
        <p:spPr>
          <a:xfrm>
            <a:off x="533401" y="1586865"/>
            <a:ext cx="3728260" cy="1969770"/>
          </a:xfrm>
          <a:prstGeom prst="rect">
            <a:avLst/>
          </a:prstGeom>
        </p:spPr>
        <p:txBody>
          <a:bodyPr wrap="square" lIns="0" tIns="0" rIns="0" bIns="0" anchor="ctr">
            <a:spAutoFit/>
          </a:bodyPr>
          <a:lstStyle/>
          <a:p>
            <a:pPr marL="0" marR="0" lvl="0" indent="0" defTabSz="457200"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chemeClr val="bg2"/>
                </a:solidFill>
                <a:effectLst/>
                <a:uLnTx/>
                <a:uFillTx/>
                <a:latin typeface="CiscoSansTT ExtraLight"/>
                <a:ea typeface="ＭＳ Ｐゴシック" charset="0"/>
              </a:rPr>
              <a:t>You’re doing your best to keep up, but it’s a never-ending grind</a:t>
            </a:r>
            <a:endParaRPr kumimoji="0" lang="en-US" sz="1800" b="0" i="0" u="none" strike="noStrike" kern="1200" cap="none" spc="0" normalizeH="0" baseline="0" noProof="0">
              <a:ln>
                <a:noFill/>
              </a:ln>
              <a:solidFill>
                <a:schemeClr val="bg2"/>
              </a:solidFill>
              <a:effectLst/>
              <a:uLnTx/>
              <a:uFillTx/>
              <a:latin typeface="CiscoSansTT ExtraLight"/>
              <a:ea typeface="ＭＳ Ｐゴシック" charset="0"/>
            </a:endParaRPr>
          </a:p>
        </p:txBody>
      </p:sp>
      <p:sp>
        <p:nvSpPr>
          <p:cNvPr id="230" name="Freeform: Shape 229">
            <a:extLst>
              <a:ext uri="{FF2B5EF4-FFF2-40B4-BE49-F238E27FC236}">
                <a16:creationId xmlns:a16="http://schemas.microsoft.com/office/drawing/2014/main" id="{69DB19EB-3380-4FB3-B019-61DBCAC9BA06}"/>
              </a:ext>
            </a:extLst>
          </p:cNvPr>
          <p:cNvSpPr>
            <a:spLocks/>
          </p:cNvSpPr>
          <p:nvPr/>
        </p:nvSpPr>
        <p:spPr bwMode="auto">
          <a:xfrm rot="2138064">
            <a:off x="3781461" y="649248"/>
            <a:ext cx="3740819" cy="3756203"/>
          </a:xfrm>
          <a:custGeom>
            <a:avLst/>
            <a:gdLst>
              <a:gd name="connsiteX0" fmla="*/ 684161 w 1367984"/>
              <a:gd name="connsiteY0" fmla="*/ 1146415 h 1373610"/>
              <a:gd name="connsiteX1" fmla="*/ 657792 w 1367984"/>
              <a:gd name="connsiteY1" fmla="*/ 1172844 h 1373610"/>
              <a:gd name="connsiteX2" fmla="*/ 583072 w 1367984"/>
              <a:gd name="connsiteY2" fmla="*/ 1247737 h 1373610"/>
              <a:gd name="connsiteX3" fmla="*/ 573926 w 1367984"/>
              <a:gd name="connsiteY3" fmla="*/ 1256904 h 1373610"/>
              <a:gd name="connsiteX4" fmla="*/ 601190 w 1367984"/>
              <a:gd name="connsiteY4" fmla="*/ 1284318 h 1373610"/>
              <a:gd name="connsiteX5" fmla="*/ 676587 w 1367984"/>
              <a:gd name="connsiteY5" fmla="*/ 1360127 h 1373610"/>
              <a:gd name="connsiteX6" fmla="*/ 684137 w 1367984"/>
              <a:gd name="connsiteY6" fmla="*/ 1367718 h 1373610"/>
              <a:gd name="connsiteX7" fmla="*/ 794348 w 1367984"/>
              <a:gd name="connsiteY7" fmla="*/ 1256903 h 1373610"/>
              <a:gd name="connsiteX8" fmla="*/ 704279 w 1367984"/>
              <a:gd name="connsiteY8" fmla="*/ 1166588 h 1373610"/>
              <a:gd name="connsiteX9" fmla="*/ 798305 w 1367984"/>
              <a:gd name="connsiteY9" fmla="*/ 1032008 h 1373610"/>
              <a:gd name="connsiteX10" fmla="*/ 794391 w 1367984"/>
              <a:gd name="connsiteY10" fmla="*/ 1035931 h 1373610"/>
              <a:gd name="connsiteX11" fmla="*/ 693985 w 1367984"/>
              <a:gd name="connsiteY11" fmla="*/ 1136568 h 1373610"/>
              <a:gd name="connsiteX12" fmla="*/ 688061 w 1367984"/>
              <a:gd name="connsiteY12" fmla="*/ 1142506 h 1373610"/>
              <a:gd name="connsiteX13" fmla="*/ 715292 w 1367984"/>
              <a:gd name="connsiteY13" fmla="*/ 1169800 h 1373610"/>
              <a:gd name="connsiteX14" fmla="*/ 790863 w 1367984"/>
              <a:gd name="connsiteY14" fmla="*/ 1245545 h 1373610"/>
              <a:gd name="connsiteX15" fmla="*/ 798266 w 1367984"/>
              <a:gd name="connsiteY15" fmla="*/ 1252964 h 1373610"/>
              <a:gd name="connsiteX16" fmla="*/ 802841 w 1367984"/>
              <a:gd name="connsiteY16" fmla="*/ 1248364 h 1373610"/>
              <a:gd name="connsiteX17" fmla="*/ 907797 w 1367984"/>
              <a:gd name="connsiteY17" fmla="*/ 1142835 h 1373610"/>
              <a:gd name="connsiteX18" fmla="*/ 908336 w 1367984"/>
              <a:gd name="connsiteY18" fmla="*/ 1142293 h 1373610"/>
              <a:gd name="connsiteX19" fmla="*/ 818539 w 1367984"/>
              <a:gd name="connsiteY19" fmla="*/ 1052288 h 1373610"/>
              <a:gd name="connsiteX20" fmla="*/ 569992 w 1367984"/>
              <a:gd name="connsiteY20" fmla="*/ 1031934 h 1373610"/>
              <a:gd name="connsiteX21" fmla="*/ 543454 w 1367984"/>
              <a:gd name="connsiteY21" fmla="*/ 1058544 h 1373610"/>
              <a:gd name="connsiteX22" fmla="*/ 468765 w 1367984"/>
              <a:gd name="connsiteY22" fmla="*/ 1133437 h 1373610"/>
              <a:gd name="connsiteX23" fmla="*/ 459936 w 1367984"/>
              <a:gd name="connsiteY23" fmla="*/ 1142291 h 1373610"/>
              <a:gd name="connsiteX24" fmla="*/ 476917 w 1367984"/>
              <a:gd name="connsiteY24" fmla="*/ 1159364 h 1373610"/>
              <a:gd name="connsiteX25" fmla="*/ 548305 w 1367984"/>
              <a:gd name="connsiteY25" fmla="*/ 1231143 h 1373610"/>
              <a:gd name="connsiteX26" fmla="*/ 569863 w 1367984"/>
              <a:gd name="connsiteY26" fmla="*/ 1252818 h 1373610"/>
              <a:gd name="connsiteX27" fmla="*/ 680115 w 1367984"/>
              <a:gd name="connsiteY27" fmla="*/ 1142359 h 1373610"/>
              <a:gd name="connsiteX28" fmla="*/ 626207 w 1367984"/>
              <a:gd name="connsiteY28" fmla="*/ 1088303 h 1373610"/>
              <a:gd name="connsiteX29" fmla="*/ 911583 w 1367984"/>
              <a:gd name="connsiteY29" fmla="*/ 918469 h 1373610"/>
              <a:gd name="connsiteX30" fmla="*/ 860606 w 1367984"/>
              <a:gd name="connsiteY30" fmla="*/ 969563 h 1373610"/>
              <a:gd name="connsiteX31" fmla="*/ 802230 w 1367984"/>
              <a:gd name="connsiteY31" fmla="*/ 1028074 h 1373610"/>
              <a:gd name="connsiteX32" fmla="*/ 829847 w 1367984"/>
              <a:gd name="connsiteY32" fmla="*/ 1055755 h 1373610"/>
              <a:gd name="connsiteX33" fmla="*/ 905450 w 1367984"/>
              <a:gd name="connsiteY33" fmla="*/ 1131532 h 1373610"/>
              <a:gd name="connsiteX34" fmla="*/ 912254 w 1367984"/>
              <a:gd name="connsiteY34" fmla="*/ 1138353 h 1373610"/>
              <a:gd name="connsiteX35" fmla="*/ 998781 w 1367984"/>
              <a:gd name="connsiteY35" fmla="*/ 1051353 h 1373610"/>
              <a:gd name="connsiteX36" fmla="*/ 1021389 w 1367984"/>
              <a:gd name="connsiteY36" fmla="*/ 1028621 h 1373610"/>
              <a:gd name="connsiteX37" fmla="*/ 931292 w 1367984"/>
              <a:gd name="connsiteY37" fmla="*/ 938241 h 1373610"/>
              <a:gd name="connsiteX38" fmla="*/ 456090 w 1367984"/>
              <a:gd name="connsiteY38" fmla="*/ 917722 h 1373610"/>
              <a:gd name="connsiteX39" fmla="*/ 429409 w 1367984"/>
              <a:gd name="connsiteY39" fmla="*/ 944499 h 1373610"/>
              <a:gd name="connsiteX40" fmla="*/ 354751 w 1367984"/>
              <a:gd name="connsiteY40" fmla="*/ 1019424 h 1373610"/>
              <a:gd name="connsiteX41" fmla="*/ 346236 w 1367984"/>
              <a:gd name="connsiteY41" fmla="*/ 1027969 h 1373610"/>
              <a:gd name="connsiteX42" fmla="*/ 384251 w 1367984"/>
              <a:gd name="connsiteY42" fmla="*/ 1066192 h 1373610"/>
              <a:gd name="connsiteX43" fmla="*/ 456163 w 1367984"/>
              <a:gd name="connsiteY43" fmla="*/ 1138497 h 1373610"/>
              <a:gd name="connsiteX44" fmla="*/ 566190 w 1367984"/>
              <a:gd name="connsiteY44" fmla="*/ 1028123 h 1373610"/>
              <a:gd name="connsiteX45" fmla="*/ 498939 w 1367984"/>
              <a:gd name="connsiteY45" fmla="*/ 960688 h 1373610"/>
              <a:gd name="connsiteX46" fmla="*/ 684088 w 1367984"/>
              <a:gd name="connsiteY46" fmla="*/ 917527 h 1373610"/>
              <a:gd name="connsiteX47" fmla="*/ 679995 w 1367984"/>
              <a:gd name="connsiteY47" fmla="*/ 921631 h 1373610"/>
              <a:gd name="connsiteX48" fmla="*/ 579632 w 1367984"/>
              <a:gd name="connsiteY48" fmla="*/ 1022268 h 1373610"/>
              <a:gd name="connsiteX49" fmla="*/ 573867 w 1367984"/>
              <a:gd name="connsiteY49" fmla="*/ 1028049 h 1373610"/>
              <a:gd name="connsiteX50" fmla="*/ 590731 w 1367984"/>
              <a:gd name="connsiteY50" fmla="*/ 1044953 h 1373610"/>
              <a:gd name="connsiteX51" fmla="*/ 662284 w 1367984"/>
              <a:gd name="connsiteY51" fmla="*/ 1116670 h 1373610"/>
              <a:gd name="connsiteX52" fmla="*/ 684015 w 1367984"/>
              <a:gd name="connsiteY52" fmla="*/ 1138451 h 1373610"/>
              <a:gd name="connsiteX53" fmla="*/ 688581 w 1367984"/>
              <a:gd name="connsiteY53" fmla="*/ 1133877 h 1373610"/>
              <a:gd name="connsiteX54" fmla="*/ 793824 w 1367984"/>
              <a:gd name="connsiteY54" fmla="*/ 1028437 h 1373610"/>
              <a:gd name="connsiteX55" fmla="*/ 794283 w 1367984"/>
              <a:gd name="connsiteY55" fmla="*/ 1027977 h 1373610"/>
              <a:gd name="connsiteX56" fmla="*/ 740434 w 1367984"/>
              <a:gd name="connsiteY56" fmla="*/ 974003 h 1373610"/>
              <a:gd name="connsiteX57" fmla="*/ 1025623 w 1367984"/>
              <a:gd name="connsiteY57" fmla="*/ 804166 h 1373610"/>
              <a:gd name="connsiteX58" fmla="*/ 938829 w 1367984"/>
              <a:gd name="connsiteY58" fmla="*/ 891160 h 1373610"/>
              <a:gd name="connsiteX59" fmla="*/ 915531 w 1367984"/>
              <a:gd name="connsiteY59" fmla="*/ 914512 h 1373610"/>
              <a:gd name="connsiteX60" fmla="*/ 942341 w 1367984"/>
              <a:gd name="connsiteY60" fmla="*/ 941418 h 1373610"/>
              <a:gd name="connsiteX61" fmla="*/ 1017880 w 1367984"/>
              <a:gd name="connsiteY61" fmla="*/ 1017227 h 1373610"/>
              <a:gd name="connsiteX62" fmla="*/ 1025308 w 1367984"/>
              <a:gd name="connsiteY62" fmla="*/ 1024681 h 1373610"/>
              <a:gd name="connsiteX63" fmla="*/ 1076791 w 1367984"/>
              <a:gd name="connsiteY63" fmla="*/ 972916 h 1373610"/>
              <a:gd name="connsiteX64" fmla="*/ 1135376 w 1367984"/>
              <a:gd name="connsiteY64" fmla="*/ 914012 h 1373610"/>
              <a:gd name="connsiteX65" fmla="*/ 1045341 w 1367984"/>
              <a:gd name="connsiteY65" fmla="*/ 823901 h 1373610"/>
              <a:gd name="connsiteX66" fmla="*/ 342650 w 1367984"/>
              <a:gd name="connsiteY66" fmla="*/ 803972 h 1373610"/>
              <a:gd name="connsiteX67" fmla="*/ 316479 w 1367984"/>
              <a:gd name="connsiteY67" fmla="*/ 830142 h 1373610"/>
              <a:gd name="connsiteX68" fmla="*/ 241759 w 1367984"/>
              <a:gd name="connsiteY68" fmla="*/ 904863 h 1373610"/>
              <a:gd name="connsiteX69" fmla="*/ 232755 w 1367984"/>
              <a:gd name="connsiteY69" fmla="*/ 913867 h 1373610"/>
              <a:gd name="connsiteX70" fmla="*/ 267533 w 1367984"/>
              <a:gd name="connsiteY70" fmla="*/ 948835 h 1373610"/>
              <a:gd name="connsiteX71" fmla="*/ 342173 w 1367984"/>
              <a:gd name="connsiteY71" fmla="*/ 1023884 h 1373610"/>
              <a:gd name="connsiteX72" fmla="*/ 452045 w 1367984"/>
              <a:gd name="connsiteY72" fmla="*/ 913666 h 1373610"/>
              <a:gd name="connsiteX73" fmla="*/ 406524 w 1367984"/>
              <a:gd name="connsiteY73" fmla="*/ 868020 h 1373610"/>
              <a:gd name="connsiteX74" fmla="*/ 797390 w 1367984"/>
              <a:gd name="connsiteY74" fmla="*/ 803916 h 1373610"/>
              <a:gd name="connsiteX75" fmla="*/ 746182 w 1367984"/>
              <a:gd name="connsiteY75" fmla="*/ 855263 h 1373610"/>
              <a:gd name="connsiteX76" fmla="*/ 688011 w 1367984"/>
              <a:gd name="connsiteY76" fmla="*/ 913593 h 1373610"/>
              <a:gd name="connsiteX77" fmla="*/ 705234 w 1367984"/>
              <a:gd name="connsiteY77" fmla="*/ 930855 h 1373610"/>
              <a:gd name="connsiteX78" fmla="*/ 776817 w 1367984"/>
              <a:gd name="connsiteY78" fmla="*/ 1002603 h 1373610"/>
              <a:gd name="connsiteX79" fmla="*/ 798208 w 1367984"/>
              <a:gd name="connsiteY79" fmla="*/ 1024044 h 1373610"/>
              <a:gd name="connsiteX80" fmla="*/ 885056 w 1367984"/>
              <a:gd name="connsiteY80" fmla="*/ 937033 h 1373610"/>
              <a:gd name="connsiteX81" fmla="*/ 907587 w 1367984"/>
              <a:gd name="connsiteY81" fmla="*/ 914460 h 1373610"/>
              <a:gd name="connsiteX82" fmla="*/ 853220 w 1367984"/>
              <a:gd name="connsiteY82" fmla="*/ 859923 h 1373610"/>
              <a:gd name="connsiteX83" fmla="*/ 570113 w 1367984"/>
              <a:gd name="connsiteY83" fmla="*/ 803291 h 1373610"/>
              <a:gd name="connsiteX84" fmla="*/ 565892 w 1367984"/>
              <a:gd name="connsiteY84" fmla="*/ 807528 h 1373610"/>
              <a:gd name="connsiteX85" fmla="*/ 465571 w 1367984"/>
              <a:gd name="connsiteY85" fmla="*/ 908207 h 1373610"/>
              <a:gd name="connsiteX86" fmla="*/ 459939 w 1367984"/>
              <a:gd name="connsiteY86" fmla="*/ 913859 h 1373610"/>
              <a:gd name="connsiteX87" fmla="*/ 497852 w 1367984"/>
              <a:gd name="connsiteY87" fmla="*/ 951859 h 1373610"/>
              <a:gd name="connsiteX88" fmla="*/ 570064 w 1367984"/>
              <a:gd name="connsiteY88" fmla="*/ 1024237 h 1373610"/>
              <a:gd name="connsiteX89" fmla="*/ 574470 w 1367984"/>
              <a:gd name="connsiteY89" fmla="*/ 1019817 h 1373610"/>
              <a:gd name="connsiteX90" fmla="*/ 679623 w 1367984"/>
              <a:gd name="connsiteY90" fmla="*/ 914332 h 1373610"/>
              <a:gd name="connsiteX91" fmla="*/ 680261 w 1367984"/>
              <a:gd name="connsiteY91" fmla="*/ 913692 h 1373610"/>
              <a:gd name="connsiteX92" fmla="*/ 613111 w 1367984"/>
              <a:gd name="connsiteY92" fmla="*/ 846388 h 1373610"/>
              <a:gd name="connsiteX93" fmla="*/ 1139202 w 1367984"/>
              <a:gd name="connsiteY93" fmla="*/ 690325 h 1373610"/>
              <a:gd name="connsiteX94" fmla="*/ 1135305 w 1367984"/>
              <a:gd name="connsiteY94" fmla="*/ 694231 h 1373610"/>
              <a:gd name="connsiteX95" fmla="*/ 1030062 w 1367984"/>
              <a:gd name="connsiteY95" fmla="*/ 799717 h 1373610"/>
              <a:gd name="connsiteX96" fmla="*/ 1029518 w 1367984"/>
              <a:gd name="connsiteY96" fmla="*/ 800261 h 1373610"/>
              <a:gd name="connsiteX97" fmla="*/ 1056605 w 1367984"/>
              <a:gd name="connsiteY97" fmla="*/ 827360 h 1373610"/>
              <a:gd name="connsiteX98" fmla="*/ 1132176 w 1367984"/>
              <a:gd name="connsiteY98" fmla="*/ 902962 h 1373610"/>
              <a:gd name="connsiteX99" fmla="*/ 1139288 w 1367984"/>
              <a:gd name="connsiteY99" fmla="*/ 910078 h 1373610"/>
              <a:gd name="connsiteX100" fmla="*/ 1142826 w 1367984"/>
              <a:gd name="connsiteY100" fmla="*/ 906521 h 1373610"/>
              <a:gd name="connsiteX101" fmla="*/ 1242958 w 1367984"/>
              <a:gd name="connsiteY101" fmla="*/ 805841 h 1373610"/>
              <a:gd name="connsiteX102" fmla="*/ 1248719 w 1367984"/>
              <a:gd name="connsiteY102" fmla="*/ 800049 h 1373610"/>
              <a:gd name="connsiteX103" fmla="*/ 1159852 w 1367984"/>
              <a:gd name="connsiteY103" fmla="*/ 711014 h 1373610"/>
              <a:gd name="connsiteX104" fmla="*/ 229167 w 1367984"/>
              <a:gd name="connsiteY104" fmla="*/ 690180 h 1373610"/>
              <a:gd name="connsiteX105" fmla="*/ 202141 w 1367984"/>
              <a:gd name="connsiteY105" fmla="*/ 717268 h 1373610"/>
              <a:gd name="connsiteX106" fmla="*/ 127452 w 1367984"/>
              <a:gd name="connsiteY106" fmla="*/ 792129 h 1373610"/>
              <a:gd name="connsiteX107" fmla="*/ 119553 w 1367984"/>
              <a:gd name="connsiteY107" fmla="*/ 800046 h 1373610"/>
              <a:gd name="connsiteX108" fmla="*/ 123986 w 1367984"/>
              <a:gd name="connsiteY108" fmla="*/ 804503 h 1373610"/>
              <a:gd name="connsiteX109" fmla="*/ 228841 w 1367984"/>
              <a:gd name="connsiteY109" fmla="*/ 909931 h 1373610"/>
              <a:gd name="connsiteX110" fmla="*/ 338730 w 1367984"/>
              <a:gd name="connsiteY110" fmla="*/ 800042 h 1373610"/>
              <a:gd name="connsiteX111" fmla="*/ 282549 w 1367984"/>
              <a:gd name="connsiteY111" fmla="*/ 743708 h 1373610"/>
              <a:gd name="connsiteX112" fmla="*/ 456853 w 1367984"/>
              <a:gd name="connsiteY112" fmla="*/ 689769 h 1373610"/>
              <a:gd name="connsiteX113" fmla="*/ 453078 w 1367984"/>
              <a:gd name="connsiteY113" fmla="*/ 693543 h 1373610"/>
              <a:gd name="connsiteX114" fmla="*/ 352672 w 1367984"/>
              <a:gd name="connsiteY114" fmla="*/ 793949 h 1373610"/>
              <a:gd name="connsiteX115" fmla="*/ 346481 w 1367984"/>
              <a:gd name="connsiteY115" fmla="*/ 800140 h 1373610"/>
              <a:gd name="connsiteX116" fmla="*/ 380864 w 1367984"/>
              <a:gd name="connsiteY116" fmla="*/ 834602 h 1373610"/>
              <a:gd name="connsiteX117" fmla="*/ 455894 w 1367984"/>
              <a:gd name="connsiteY117" fmla="*/ 909805 h 1373610"/>
              <a:gd name="connsiteX118" fmla="*/ 460221 w 1367984"/>
              <a:gd name="connsiteY118" fmla="*/ 905464 h 1373610"/>
              <a:gd name="connsiteX119" fmla="*/ 565419 w 1367984"/>
              <a:gd name="connsiteY119" fmla="*/ 799935 h 1373610"/>
              <a:gd name="connsiteX120" fmla="*/ 566092 w 1367984"/>
              <a:gd name="connsiteY120" fmla="*/ 799260 h 1373610"/>
              <a:gd name="connsiteX121" fmla="*/ 520657 w 1367984"/>
              <a:gd name="connsiteY121" fmla="*/ 753720 h 1373610"/>
              <a:gd name="connsiteX122" fmla="*/ 911274 w 1367984"/>
              <a:gd name="connsiteY122" fmla="*/ 689721 h 1373610"/>
              <a:gd name="connsiteX123" fmla="*/ 824372 w 1367984"/>
              <a:gd name="connsiteY123" fmla="*/ 776860 h 1373610"/>
              <a:gd name="connsiteX124" fmla="*/ 801362 w 1367984"/>
              <a:gd name="connsiteY124" fmla="*/ 799933 h 1373610"/>
              <a:gd name="connsiteX125" fmla="*/ 817833 w 1367984"/>
              <a:gd name="connsiteY125" fmla="*/ 816464 h 1373610"/>
              <a:gd name="connsiteX126" fmla="*/ 889356 w 1367984"/>
              <a:gd name="connsiteY126" fmla="*/ 888243 h 1373610"/>
              <a:gd name="connsiteX127" fmla="*/ 911537 w 1367984"/>
              <a:gd name="connsiteY127" fmla="*/ 910503 h 1373610"/>
              <a:gd name="connsiteX128" fmla="*/ 963280 w 1367984"/>
              <a:gd name="connsiteY128" fmla="*/ 858662 h 1373610"/>
              <a:gd name="connsiteX129" fmla="*/ 1021646 w 1367984"/>
              <a:gd name="connsiteY129" fmla="*/ 800186 h 1373610"/>
              <a:gd name="connsiteX130" fmla="*/ 967302 w 1367984"/>
              <a:gd name="connsiteY130" fmla="*/ 745796 h 1373610"/>
              <a:gd name="connsiteX131" fmla="*/ 683416 w 1367984"/>
              <a:gd name="connsiteY131" fmla="*/ 689583 h 1373610"/>
              <a:gd name="connsiteX132" fmla="*/ 632050 w 1367984"/>
              <a:gd name="connsiteY132" fmla="*/ 741132 h 1373610"/>
              <a:gd name="connsiteX133" fmla="*/ 574036 w 1367984"/>
              <a:gd name="connsiteY133" fmla="*/ 799354 h 1373610"/>
              <a:gd name="connsiteX134" fmla="*/ 612315 w 1367984"/>
              <a:gd name="connsiteY134" fmla="*/ 837722 h 1373610"/>
              <a:gd name="connsiteX135" fmla="*/ 684184 w 1367984"/>
              <a:gd name="connsiteY135" fmla="*/ 909757 h 1373610"/>
              <a:gd name="connsiteX136" fmla="*/ 770779 w 1367984"/>
              <a:gd name="connsiteY136" fmla="*/ 822889 h 1373610"/>
              <a:gd name="connsiteX137" fmla="*/ 793541 w 1367984"/>
              <a:gd name="connsiteY137" fmla="*/ 800055 h 1373610"/>
              <a:gd name="connsiteX138" fmla="*/ 725952 w 1367984"/>
              <a:gd name="connsiteY138" fmla="*/ 732253 h 1373610"/>
              <a:gd name="connsiteX139" fmla="*/ 1252638 w 1367984"/>
              <a:gd name="connsiteY139" fmla="*/ 576628 h 1373610"/>
              <a:gd name="connsiteX140" fmla="*/ 1143150 w 1367984"/>
              <a:gd name="connsiteY140" fmla="*/ 686368 h 1373610"/>
              <a:gd name="connsiteX141" fmla="*/ 1171160 w 1367984"/>
              <a:gd name="connsiteY141" fmla="*/ 714442 h 1373610"/>
              <a:gd name="connsiteX142" fmla="*/ 1246763 w 1367984"/>
              <a:gd name="connsiteY142" fmla="*/ 790219 h 1373610"/>
              <a:gd name="connsiteX143" fmla="*/ 1252638 w 1367984"/>
              <a:gd name="connsiteY143" fmla="*/ 796108 h 1373610"/>
              <a:gd name="connsiteX144" fmla="*/ 1279052 w 1367984"/>
              <a:gd name="connsiteY144" fmla="*/ 769550 h 1373610"/>
              <a:gd name="connsiteX145" fmla="*/ 1353569 w 1367984"/>
              <a:gd name="connsiteY145" fmla="*/ 694625 h 1373610"/>
              <a:gd name="connsiteX146" fmla="*/ 1361782 w 1367984"/>
              <a:gd name="connsiteY146" fmla="*/ 686368 h 1373610"/>
              <a:gd name="connsiteX147" fmla="*/ 1258440 w 1367984"/>
              <a:gd name="connsiteY147" fmla="*/ 582461 h 1373610"/>
              <a:gd name="connsiteX148" fmla="*/ 115780 w 1367984"/>
              <a:gd name="connsiteY148" fmla="*/ 576484 h 1373610"/>
              <a:gd name="connsiteX149" fmla="*/ 106210 w 1367984"/>
              <a:gd name="connsiteY149" fmla="*/ 586107 h 1373610"/>
              <a:gd name="connsiteX150" fmla="*/ 14706 w 1367984"/>
              <a:gd name="connsiteY150" fmla="*/ 678111 h 1373610"/>
              <a:gd name="connsiteX151" fmla="*/ 6494 w 1367984"/>
              <a:gd name="connsiteY151" fmla="*/ 686368 h 1373610"/>
              <a:gd name="connsiteX152" fmla="*/ 115780 w 1367984"/>
              <a:gd name="connsiteY152" fmla="*/ 796252 h 1373610"/>
              <a:gd name="connsiteX153" fmla="*/ 225366 w 1367984"/>
              <a:gd name="connsiteY153" fmla="*/ 686368 h 1373610"/>
              <a:gd name="connsiteX154" fmla="*/ 216921 w 1367984"/>
              <a:gd name="connsiteY154" fmla="*/ 677900 h 1373610"/>
              <a:gd name="connsiteX155" fmla="*/ 123675 w 1367984"/>
              <a:gd name="connsiteY155" fmla="*/ 584400 h 1373610"/>
              <a:gd name="connsiteX156" fmla="*/ 570405 w 1367984"/>
              <a:gd name="connsiteY156" fmla="*/ 576216 h 1373610"/>
              <a:gd name="connsiteX157" fmla="*/ 519293 w 1367984"/>
              <a:gd name="connsiteY157" fmla="*/ 627329 h 1373610"/>
              <a:gd name="connsiteX158" fmla="*/ 460782 w 1367984"/>
              <a:gd name="connsiteY158" fmla="*/ 685840 h 1373610"/>
              <a:gd name="connsiteX159" fmla="*/ 495277 w 1367984"/>
              <a:gd name="connsiteY159" fmla="*/ 720414 h 1373610"/>
              <a:gd name="connsiteX160" fmla="*/ 570015 w 1367984"/>
              <a:gd name="connsiteY160" fmla="*/ 795324 h 1373610"/>
              <a:gd name="connsiteX161" fmla="*/ 656613 w 1367984"/>
              <a:gd name="connsiteY161" fmla="*/ 708453 h 1373610"/>
              <a:gd name="connsiteX162" fmla="*/ 679420 w 1367984"/>
              <a:gd name="connsiteY162" fmla="*/ 685574 h 1373610"/>
              <a:gd name="connsiteX163" fmla="*/ 633536 w 1367984"/>
              <a:gd name="connsiteY163" fmla="*/ 639546 h 1373610"/>
              <a:gd name="connsiteX164" fmla="*/ 343215 w 1367984"/>
              <a:gd name="connsiteY164" fmla="*/ 575869 h 1373610"/>
              <a:gd name="connsiteX165" fmla="*/ 338682 w 1367984"/>
              <a:gd name="connsiteY165" fmla="*/ 580412 h 1373610"/>
              <a:gd name="connsiteX166" fmla="*/ 238319 w 1367984"/>
              <a:gd name="connsiteY166" fmla="*/ 681007 h 1373610"/>
              <a:gd name="connsiteX167" fmla="*/ 232970 w 1367984"/>
              <a:gd name="connsiteY167" fmla="*/ 686368 h 1373610"/>
              <a:gd name="connsiteX168" fmla="*/ 236985 w 1367984"/>
              <a:gd name="connsiteY168" fmla="*/ 690392 h 1373610"/>
              <a:gd name="connsiteX169" fmla="*/ 342561 w 1367984"/>
              <a:gd name="connsiteY169" fmla="*/ 796211 h 1373610"/>
              <a:gd name="connsiteX170" fmla="*/ 347268 w 1367984"/>
              <a:gd name="connsiteY170" fmla="*/ 791504 h 1373610"/>
              <a:gd name="connsiteX171" fmla="*/ 452511 w 1367984"/>
              <a:gd name="connsiteY171" fmla="*/ 686261 h 1373610"/>
              <a:gd name="connsiteX172" fmla="*/ 452933 w 1367984"/>
              <a:gd name="connsiteY172" fmla="*/ 685840 h 1373610"/>
              <a:gd name="connsiteX173" fmla="*/ 396630 w 1367984"/>
              <a:gd name="connsiteY173" fmla="*/ 629408 h 1373610"/>
              <a:gd name="connsiteX174" fmla="*/ 1024888 w 1367984"/>
              <a:gd name="connsiteY174" fmla="*/ 575797 h 1373610"/>
              <a:gd name="connsiteX175" fmla="*/ 1020765 w 1367984"/>
              <a:gd name="connsiteY175" fmla="*/ 579931 h 1373610"/>
              <a:gd name="connsiteX176" fmla="*/ 915566 w 1367984"/>
              <a:gd name="connsiteY176" fmla="*/ 685417 h 1373610"/>
              <a:gd name="connsiteX177" fmla="*/ 915145 w 1367984"/>
              <a:gd name="connsiteY177" fmla="*/ 685840 h 1373610"/>
              <a:gd name="connsiteX178" fmla="*/ 932044 w 1367984"/>
              <a:gd name="connsiteY178" fmla="*/ 702746 h 1373610"/>
              <a:gd name="connsiteX179" fmla="*/ 1003597 w 1367984"/>
              <a:gd name="connsiteY179" fmla="*/ 774329 h 1373610"/>
              <a:gd name="connsiteX180" fmla="*/ 1025542 w 1367984"/>
              <a:gd name="connsiteY180" fmla="*/ 796283 h 1373610"/>
              <a:gd name="connsiteX181" fmla="*/ 1029494 w 1367984"/>
              <a:gd name="connsiteY181" fmla="*/ 792324 h 1373610"/>
              <a:gd name="connsiteX182" fmla="*/ 1129900 w 1367984"/>
              <a:gd name="connsiteY182" fmla="*/ 691729 h 1373610"/>
              <a:gd name="connsiteX183" fmla="*/ 1135251 w 1367984"/>
              <a:gd name="connsiteY183" fmla="*/ 686368 h 1373610"/>
              <a:gd name="connsiteX184" fmla="*/ 1081747 w 1367984"/>
              <a:gd name="connsiteY184" fmla="*/ 632763 h 1373610"/>
              <a:gd name="connsiteX185" fmla="*/ 797121 w 1367984"/>
              <a:gd name="connsiteY185" fmla="*/ 575471 h 1373610"/>
              <a:gd name="connsiteX186" fmla="*/ 710207 w 1367984"/>
              <a:gd name="connsiteY186" fmla="*/ 662696 h 1373610"/>
              <a:gd name="connsiteX187" fmla="*/ 687410 w 1367984"/>
              <a:gd name="connsiteY187" fmla="*/ 685574 h 1373610"/>
              <a:gd name="connsiteX188" fmla="*/ 724993 w 1367984"/>
              <a:gd name="connsiteY188" fmla="*/ 723292 h 1373610"/>
              <a:gd name="connsiteX189" fmla="*/ 797513 w 1367984"/>
              <a:gd name="connsiteY189" fmla="*/ 796071 h 1373610"/>
              <a:gd name="connsiteX190" fmla="*/ 848935 w 1367984"/>
              <a:gd name="connsiteY190" fmla="*/ 744485 h 1373610"/>
              <a:gd name="connsiteX191" fmla="*/ 907397 w 1367984"/>
              <a:gd name="connsiteY191" fmla="*/ 685840 h 1373610"/>
              <a:gd name="connsiteX192" fmla="*/ 840087 w 1367984"/>
              <a:gd name="connsiteY192" fmla="*/ 618473 h 1373610"/>
              <a:gd name="connsiteX193" fmla="*/ 684184 w 1367984"/>
              <a:gd name="connsiteY193" fmla="*/ 462438 h 1373610"/>
              <a:gd name="connsiteX194" fmla="*/ 597516 w 1367984"/>
              <a:gd name="connsiteY194" fmla="*/ 549105 h 1373610"/>
              <a:gd name="connsiteX195" fmla="*/ 574431 w 1367984"/>
              <a:gd name="connsiteY195" fmla="*/ 572191 h 1373610"/>
              <a:gd name="connsiteX196" fmla="*/ 608055 w 1367984"/>
              <a:gd name="connsiteY196" fmla="*/ 605935 h 1373610"/>
              <a:gd name="connsiteX197" fmla="*/ 683416 w 1367984"/>
              <a:gd name="connsiteY197" fmla="*/ 681566 h 1373610"/>
              <a:gd name="connsiteX198" fmla="*/ 734803 w 1367984"/>
              <a:gd name="connsiteY198" fmla="*/ 630016 h 1373610"/>
              <a:gd name="connsiteX199" fmla="*/ 793145 w 1367984"/>
              <a:gd name="connsiteY199" fmla="*/ 571491 h 1373610"/>
              <a:gd name="connsiteX200" fmla="*/ 747711 w 1367984"/>
              <a:gd name="connsiteY200" fmla="*/ 526019 h 1373610"/>
              <a:gd name="connsiteX201" fmla="*/ 456685 w 1367984"/>
              <a:gd name="connsiteY201" fmla="*/ 462138 h 1373610"/>
              <a:gd name="connsiteX202" fmla="*/ 404869 w 1367984"/>
              <a:gd name="connsiteY202" fmla="*/ 514073 h 1373610"/>
              <a:gd name="connsiteX203" fmla="*/ 347140 w 1367984"/>
              <a:gd name="connsiteY203" fmla="*/ 571936 h 1373610"/>
              <a:gd name="connsiteX204" fmla="*/ 351338 w 1367984"/>
              <a:gd name="connsiteY204" fmla="*/ 576143 h 1373610"/>
              <a:gd name="connsiteX205" fmla="*/ 456862 w 1367984"/>
              <a:gd name="connsiteY205" fmla="*/ 681910 h 1373610"/>
              <a:gd name="connsiteX206" fmla="*/ 543743 w 1367984"/>
              <a:gd name="connsiteY206" fmla="*/ 595029 h 1373610"/>
              <a:gd name="connsiteX207" fmla="*/ 566487 w 1367984"/>
              <a:gd name="connsiteY207" fmla="*/ 572285 h 1373610"/>
              <a:gd name="connsiteX208" fmla="*/ 565911 w 1367984"/>
              <a:gd name="connsiteY208" fmla="*/ 571707 h 1373610"/>
              <a:gd name="connsiteX209" fmla="*/ 474083 w 1367984"/>
              <a:gd name="connsiteY209" fmla="*/ 479590 h 1373610"/>
              <a:gd name="connsiteX210" fmla="*/ 229624 w 1367984"/>
              <a:gd name="connsiteY210" fmla="*/ 462017 h 1373610"/>
              <a:gd name="connsiteX211" fmla="*/ 170393 w 1367984"/>
              <a:gd name="connsiteY211" fmla="*/ 521572 h 1373610"/>
              <a:gd name="connsiteX212" fmla="*/ 119553 w 1367984"/>
              <a:gd name="connsiteY212" fmla="*/ 572690 h 1373610"/>
              <a:gd name="connsiteX213" fmla="*/ 229167 w 1367984"/>
              <a:gd name="connsiteY213" fmla="*/ 682556 h 1373610"/>
              <a:gd name="connsiteX214" fmla="*/ 233208 w 1367984"/>
              <a:gd name="connsiteY214" fmla="*/ 678504 h 1373610"/>
              <a:gd name="connsiteX215" fmla="*/ 338406 w 1367984"/>
              <a:gd name="connsiteY215" fmla="*/ 573019 h 1373610"/>
              <a:gd name="connsiteX216" fmla="*/ 339388 w 1367984"/>
              <a:gd name="connsiteY216" fmla="*/ 572034 h 1373610"/>
              <a:gd name="connsiteX217" fmla="*/ 330974 w 1367984"/>
              <a:gd name="connsiteY217" fmla="*/ 563600 h 1373610"/>
              <a:gd name="connsiteX218" fmla="*/ 237689 w 1367984"/>
              <a:gd name="connsiteY218" fmla="*/ 470100 h 1373610"/>
              <a:gd name="connsiteX219" fmla="*/ 1138505 w 1367984"/>
              <a:gd name="connsiteY219" fmla="*/ 461870 h 1373610"/>
              <a:gd name="connsiteX220" fmla="*/ 1028860 w 1367984"/>
              <a:gd name="connsiteY220" fmla="*/ 571814 h 1373610"/>
              <a:gd name="connsiteX221" fmla="*/ 1046547 w 1367984"/>
              <a:gd name="connsiteY221" fmla="*/ 589542 h 1373610"/>
              <a:gd name="connsiteX222" fmla="*/ 1118130 w 1367984"/>
              <a:gd name="connsiteY222" fmla="*/ 661290 h 1373610"/>
              <a:gd name="connsiteX223" fmla="*/ 1139202 w 1367984"/>
              <a:gd name="connsiteY223" fmla="*/ 682410 h 1373610"/>
              <a:gd name="connsiteX224" fmla="*/ 1166093 w 1367984"/>
              <a:gd name="connsiteY224" fmla="*/ 655468 h 1373610"/>
              <a:gd name="connsiteX225" fmla="*/ 1240814 w 1367984"/>
              <a:gd name="connsiteY225" fmla="*/ 580607 h 1373610"/>
              <a:gd name="connsiteX226" fmla="*/ 1248719 w 1367984"/>
              <a:gd name="connsiteY226" fmla="*/ 572687 h 1373610"/>
              <a:gd name="connsiteX227" fmla="*/ 1169785 w 1367984"/>
              <a:gd name="connsiteY227" fmla="*/ 493322 h 1373610"/>
              <a:gd name="connsiteX228" fmla="*/ 910745 w 1367984"/>
              <a:gd name="connsiteY228" fmla="*/ 461440 h 1373610"/>
              <a:gd name="connsiteX229" fmla="*/ 906516 w 1367984"/>
              <a:gd name="connsiteY229" fmla="*/ 465684 h 1373610"/>
              <a:gd name="connsiteX230" fmla="*/ 801362 w 1367984"/>
              <a:gd name="connsiteY230" fmla="*/ 571214 h 1373610"/>
              <a:gd name="connsiteX231" fmla="*/ 800966 w 1367984"/>
              <a:gd name="connsiteY231" fmla="*/ 571612 h 1373610"/>
              <a:gd name="connsiteX232" fmla="*/ 839165 w 1367984"/>
              <a:gd name="connsiteY232" fmla="*/ 609827 h 1373610"/>
              <a:gd name="connsiteX233" fmla="*/ 911266 w 1367984"/>
              <a:gd name="connsiteY233" fmla="*/ 681959 h 1373610"/>
              <a:gd name="connsiteX234" fmla="*/ 915094 w 1367984"/>
              <a:gd name="connsiteY234" fmla="*/ 678118 h 1373610"/>
              <a:gd name="connsiteX235" fmla="*/ 1015415 w 1367984"/>
              <a:gd name="connsiteY235" fmla="*/ 577481 h 1373610"/>
              <a:gd name="connsiteX236" fmla="*/ 1020988 w 1367984"/>
              <a:gd name="connsiteY236" fmla="*/ 571890 h 1373610"/>
              <a:gd name="connsiteX237" fmla="*/ 954424 w 1367984"/>
              <a:gd name="connsiteY237" fmla="*/ 505201 h 1373610"/>
              <a:gd name="connsiteX238" fmla="*/ 798069 w 1367984"/>
              <a:gd name="connsiteY238" fmla="*/ 348552 h 1373610"/>
              <a:gd name="connsiteX239" fmla="*/ 793992 w 1367984"/>
              <a:gd name="connsiteY239" fmla="*/ 352630 h 1373610"/>
              <a:gd name="connsiteX240" fmla="*/ 688749 w 1367984"/>
              <a:gd name="connsiteY240" fmla="*/ 457873 h 1373610"/>
              <a:gd name="connsiteX241" fmla="*/ 688011 w 1367984"/>
              <a:gd name="connsiteY241" fmla="*/ 458610 h 1373610"/>
              <a:gd name="connsiteX242" fmla="*/ 722177 w 1367984"/>
              <a:gd name="connsiteY242" fmla="*/ 492790 h 1373610"/>
              <a:gd name="connsiteX243" fmla="*/ 796989 w 1367984"/>
              <a:gd name="connsiteY243" fmla="*/ 567634 h 1373610"/>
              <a:gd name="connsiteX244" fmla="*/ 800990 w 1367984"/>
              <a:gd name="connsiteY244" fmla="*/ 563621 h 1373610"/>
              <a:gd name="connsiteX245" fmla="*/ 901354 w 1367984"/>
              <a:gd name="connsiteY245" fmla="*/ 462941 h 1373610"/>
              <a:gd name="connsiteX246" fmla="*/ 906795 w 1367984"/>
              <a:gd name="connsiteY246" fmla="*/ 457483 h 1373610"/>
              <a:gd name="connsiteX247" fmla="*/ 861970 w 1367984"/>
              <a:gd name="connsiteY247" fmla="*/ 412573 h 1373610"/>
              <a:gd name="connsiteX248" fmla="*/ 570202 w 1367984"/>
              <a:gd name="connsiteY248" fmla="*/ 348359 h 1373610"/>
              <a:gd name="connsiteX249" fmla="*/ 483059 w 1367984"/>
              <a:gd name="connsiteY249" fmla="*/ 435703 h 1373610"/>
              <a:gd name="connsiteX250" fmla="*/ 460730 w 1367984"/>
              <a:gd name="connsiteY250" fmla="*/ 458083 h 1373610"/>
              <a:gd name="connsiteX251" fmla="*/ 464238 w 1367984"/>
              <a:gd name="connsiteY251" fmla="*/ 461603 h 1373610"/>
              <a:gd name="connsiteX252" fmla="*/ 570513 w 1367984"/>
              <a:gd name="connsiteY252" fmla="*/ 568259 h 1373610"/>
              <a:gd name="connsiteX253" fmla="*/ 621967 w 1367984"/>
              <a:gd name="connsiteY253" fmla="*/ 516805 h 1373610"/>
              <a:gd name="connsiteX254" fmla="*/ 680261 w 1367984"/>
              <a:gd name="connsiteY254" fmla="*/ 458511 h 1373610"/>
              <a:gd name="connsiteX255" fmla="*/ 680114 w 1367984"/>
              <a:gd name="connsiteY255" fmla="*/ 458364 h 1373610"/>
              <a:gd name="connsiteX256" fmla="*/ 588325 w 1367984"/>
              <a:gd name="connsiteY256" fmla="*/ 366498 h 1373610"/>
              <a:gd name="connsiteX257" fmla="*/ 342964 w 1367984"/>
              <a:gd name="connsiteY257" fmla="*/ 348058 h 1373610"/>
              <a:gd name="connsiteX258" fmla="*/ 338773 w 1367984"/>
              <a:gd name="connsiteY258" fmla="*/ 352271 h 1373610"/>
              <a:gd name="connsiteX259" fmla="*/ 257032 w 1367984"/>
              <a:gd name="connsiteY259" fmla="*/ 434460 h 1373610"/>
              <a:gd name="connsiteX260" fmla="*/ 233543 w 1367984"/>
              <a:gd name="connsiteY260" fmla="*/ 458077 h 1373610"/>
              <a:gd name="connsiteX261" fmla="*/ 343312 w 1367984"/>
              <a:gd name="connsiteY261" fmla="*/ 568099 h 1373610"/>
              <a:gd name="connsiteX262" fmla="*/ 429600 w 1367984"/>
              <a:gd name="connsiteY262" fmla="*/ 481576 h 1373610"/>
              <a:gd name="connsiteX263" fmla="*/ 452836 w 1367984"/>
              <a:gd name="connsiteY263" fmla="*/ 458276 h 1373610"/>
              <a:gd name="connsiteX264" fmla="*/ 411278 w 1367984"/>
              <a:gd name="connsiteY264" fmla="*/ 416587 h 1373610"/>
              <a:gd name="connsiteX265" fmla="*/ 350688 w 1367984"/>
              <a:gd name="connsiteY265" fmla="*/ 355806 h 1373610"/>
              <a:gd name="connsiteX266" fmla="*/ 1024518 w 1367984"/>
              <a:gd name="connsiteY266" fmla="*/ 347260 h 1373610"/>
              <a:gd name="connsiteX267" fmla="*/ 914740 w 1367984"/>
              <a:gd name="connsiteY267" fmla="*/ 457431 h 1373610"/>
              <a:gd name="connsiteX268" fmla="*/ 953628 w 1367984"/>
              <a:gd name="connsiteY268" fmla="*/ 496409 h 1373610"/>
              <a:gd name="connsiteX269" fmla="*/ 1024960 w 1367984"/>
              <a:gd name="connsiteY269" fmla="*/ 567906 h 1373610"/>
              <a:gd name="connsiteX270" fmla="*/ 1051577 w 1367984"/>
              <a:gd name="connsiteY270" fmla="*/ 541205 h 1373610"/>
              <a:gd name="connsiteX271" fmla="*/ 1126234 w 1367984"/>
              <a:gd name="connsiteY271" fmla="*/ 466312 h 1373610"/>
              <a:gd name="connsiteX272" fmla="*/ 1134588 w 1367984"/>
              <a:gd name="connsiteY272" fmla="*/ 457932 h 1373610"/>
              <a:gd name="connsiteX273" fmla="*/ 1095406 w 1367984"/>
              <a:gd name="connsiteY273" fmla="*/ 418536 h 1373610"/>
              <a:gd name="connsiteX274" fmla="*/ 912246 w 1367984"/>
              <a:gd name="connsiteY274" fmla="*/ 234375 h 1373610"/>
              <a:gd name="connsiteX275" fmla="*/ 802095 w 1367984"/>
              <a:gd name="connsiteY275" fmla="*/ 344527 h 1373610"/>
              <a:gd name="connsiteX276" fmla="*/ 836590 w 1367984"/>
              <a:gd name="connsiteY276" fmla="*/ 379101 h 1373610"/>
              <a:gd name="connsiteX277" fmla="*/ 910791 w 1367984"/>
              <a:gd name="connsiteY277" fmla="*/ 453474 h 1373610"/>
              <a:gd name="connsiteX278" fmla="*/ 937531 w 1367984"/>
              <a:gd name="connsiteY278" fmla="*/ 426650 h 1373610"/>
              <a:gd name="connsiteX279" fmla="*/ 1012220 w 1367984"/>
              <a:gd name="connsiteY279" fmla="*/ 351725 h 1373610"/>
              <a:gd name="connsiteX280" fmla="*/ 1020599 w 1367984"/>
              <a:gd name="connsiteY280" fmla="*/ 343320 h 1373610"/>
              <a:gd name="connsiteX281" fmla="*/ 977123 w 1367984"/>
              <a:gd name="connsiteY281" fmla="*/ 299606 h 1373610"/>
              <a:gd name="connsiteX282" fmla="*/ 684015 w 1367984"/>
              <a:gd name="connsiteY282" fmla="*/ 234284 h 1373610"/>
              <a:gd name="connsiteX283" fmla="*/ 679452 w 1367984"/>
              <a:gd name="connsiteY283" fmla="*/ 238858 h 1373610"/>
              <a:gd name="connsiteX284" fmla="*/ 574253 w 1367984"/>
              <a:gd name="connsiteY284" fmla="*/ 344299 h 1373610"/>
              <a:gd name="connsiteX285" fmla="*/ 574001 w 1367984"/>
              <a:gd name="connsiteY285" fmla="*/ 344552 h 1373610"/>
              <a:gd name="connsiteX286" fmla="*/ 578298 w 1367984"/>
              <a:gd name="connsiteY286" fmla="*/ 348851 h 1373610"/>
              <a:gd name="connsiteX287" fmla="*/ 684088 w 1367984"/>
              <a:gd name="connsiteY287" fmla="*/ 454685 h 1373610"/>
              <a:gd name="connsiteX288" fmla="*/ 688181 w 1367984"/>
              <a:gd name="connsiteY288" fmla="*/ 450591 h 1373610"/>
              <a:gd name="connsiteX289" fmla="*/ 788587 w 1367984"/>
              <a:gd name="connsiteY289" fmla="*/ 350185 h 1373610"/>
              <a:gd name="connsiteX290" fmla="*/ 794148 w 1367984"/>
              <a:gd name="connsiteY290" fmla="*/ 344624 h 1373610"/>
              <a:gd name="connsiteX291" fmla="*/ 737943 w 1367984"/>
              <a:gd name="connsiteY291" fmla="*/ 288313 h 1373610"/>
              <a:gd name="connsiteX292" fmla="*/ 456171 w 1367984"/>
              <a:gd name="connsiteY292" fmla="*/ 234231 h 1373610"/>
              <a:gd name="connsiteX293" fmla="*/ 436460 w 1367984"/>
              <a:gd name="connsiteY293" fmla="*/ 254050 h 1373610"/>
              <a:gd name="connsiteX294" fmla="*/ 347026 w 1367984"/>
              <a:gd name="connsiteY294" fmla="*/ 343973 h 1373610"/>
              <a:gd name="connsiteX295" fmla="*/ 456881 w 1367984"/>
              <a:gd name="connsiteY295" fmla="*/ 454221 h 1373610"/>
              <a:gd name="connsiteX296" fmla="*/ 507790 w 1367984"/>
              <a:gd name="connsiteY296" fmla="*/ 403172 h 1373610"/>
              <a:gd name="connsiteX297" fmla="*/ 566325 w 1367984"/>
              <a:gd name="connsiteY297" fmla="*/ 344478 h 1373610"/>
              <a:gd name="connsiteX298" fmla="*/ 525548 w 1367984"/>
              <a:gd name="connsiteY298" fmla="*/ 303667 h 1373610"/>
              <a:gd name="connsiteX299" fmla="*/ 464983 w 1367984"/>
              <a:gd name="connsiteY299" fmla="*/ 243051 h 1373610"/>
              <a:gd name="connsiteX300" fmla="*/ 569863 w 1367984"/>
              <a:gd name="connsiteY300" fmla="*/ 119917 h 1373610"/>
              <a:gd name="connsiteX301" fmla="*/ 551515 w 1367984"/>
              <a:gd name="connsiteY301" fmla="*/ 138365 h 1373610"/>
              <a:gd name="connsiteX302" fmla="*/ 459940 w 1367984"/>
              <a:gd name="connsiteY302" fmla="*/ 230442 h 1373610"/>
              <a:gd name="connsiteX303" fmla="*/ 570122 w 1367984"/>
              <a:gd name="connsiteY303" fmla="*/ 340671 h 1373610"/>
              <a:gd name="connsiteX304" fmla="*/ 573977 w 1367984"/>
              <a:gd name="connsiteY304" fmla="*/ 336805 h 1373610"/>
              <a:gd name="connsiteX305" fmla="*/ 674341 w 1367984"/>
              <a:gd name="connsiteY305" fmla="*/ 236168 h 1373610"/>
              <a:gd name="connsiteX306" fmla="*/ 680116 w 1367984"/>
              <a:gd name="connsiteY306" fmla="*/ 230377 h 1373610"/>
              <a:gd name="connsiteX307" fmla="*/ 672287 w 1367984"/>
              <a:gd name="connsiteY307" fmla="*/ 222534 h 1373610"/>
              <a:gd name="connsiteX308" fmla="*/ 579002 w 1367984"/>
              <a:gd name="connsiteY308" fmla="*/ 129073 h 1373610"/>
              <a:gd name="connsiteX309" fmla="*/ 798266 w 1367984"/>
              <a:gd name="connsiteY309" fmla="*/ 119771 h 1373610"/>
              <a:gd name="connsiteX310" fmla="*/ 688061 w 1367984"/>
              <a:gd name="connsiteY310" fmla="*/ 230230 h 1373610"/>
              <a:gd name="connsiteX311" fmla="*/ 692651 w 1367984"/>
              <a:gd name="connsiteY311" fmla="*/ 234830 h 1373610"/>
              <a:gd name="connsiteX312" fmla="*/ 798175 w 1367984"/>
              <a:gd name="connsiteY312" fmla="*/ 340597 h 1373610"/>
              <a:gd name="connsiteX313" fmla="*/ 824780 w 1367984"/>
              <a:gd name="connsiteY313" fmla="*/ 313992 h 1373610"/>
              <a:gd name="connsiteX314" fmla="*/ 899501 w 1367984"/>
              <a:gd name="connsiteY314" fmla="*/ 239271 h 1373610"/>
              <a:gd name="connsiteX315" fmla="*/ 908332 w 1367984"/>
              <a:gd name="connsiteY315" fmla="*/ 230440 h 1373610"/>
              <a:gd name="connsiteX316" fmla="*/ 894313 w 1367984"/>
              <a:gd name="connsiteY316" fmla="*/ 216344 h 1373610"/>
              <a:gd name="connsiteX317" fmla="*/ 836040 w 1367984"/>
              <a:gd name="connsiteY317" fmla="*/ 157752 h 1373610"/>
              <a:gd name="connsiteX318" fmla="*/ 684137 w 1367984"/>
              <a:gd name="connsiteY318" fmla="*/ 5018 h 1373610"/>
              <a:gd name="connsiteX319" fmla="*/ 573926 w 1367984"/>
              <a:gd name="connsiteY319" fmla="*/ 115832 h 1373610"/>
              <a:gd name="connsiteX320" fmla="*/ 684161 w 1367984"/>
              <a:gd name="connsiteY320" fmla="*/ 226321 h 1373610"/>
              <a:gd name="connsiteX321" fmla="*/ 710518 w 1367984"/>
              <a:gd name="connsiteY321" fmla="*/ 199892 h 1373610"/>
              <a:gd name="connsiteX322" fmla="*/ 785207 w 1367984"/>
              <a:gd name="connsiteY322" fmla="*/ 124999 h 1373610"/>
              <a:gd name="connsiteX323" fmla="*/ 794349 w 1367984"/>
              <a:gd name="connsiteY323" fmla="*/ 115833 h 1373610"/>
              <a:gd name="connsiteX324" fmla="*/ 789600 w 1367984"/>
              <a:gd name="connsiteY324" fmla="*/ 111058 h 1373610"/>
              <a:gd name="connsiteX325" fmla="*/ 684245 w 1367984"/>
              <a:gd name="connsiteY325" fmla="*/ 5128 h 1373610"/>
              <a:gd name="connsiteX326" fmla="*/ 681588 w 1367984"/>
              <a:gd name="connsiteY326" fmla="*/ 0 h 1373610"/>
              <a:gd name="connsiteX327" fmla="*/ 682915 w 1367984"/>
              <a:gd name="connsiteY327" fmla="*/ 0 h 1373610"/>
              <a:gd name="connsiteX328" fmla="*/ 685358 w 1367984"/>
              <a:gd name="connsiteY328" fmla="*/ 0 h 1373610"/>
              <a:gd name="connsiteX329" fmla="*/ 686684 w 1367984"/>
              <a:gd name="connsiteY329" fmla="*/ 0 h 1373610"/>
              <a:gd name="connsiteX330" fmla="*/ 875508 w 1367984"/>
              <a:gd name="connsiteY330" fmla="*/ 189776 h 1373610"/>
              <a:gd name="connsiteX331" fmla="*/ 914134 w 1367984"/>
              <a:gd name="connsiteY331" fmla="*/ 228597 h 1373610"/>
              <a:gd name="connsiteX332" fmla="*/ 914245 w 1367984"/>
              <a:gd name="connsiteY332" fmla="*/ 228597 h 1373610"/>
              <a:gd name="connsiteX333" fmla="*/ 914245 w 1367984"/>
              <a:gd name="connsiteY333" fmla="*/ 228708 h 1373610"/>
              <a:gd name="connsiteX334" fmla="*/ 955179 w 1367984"/>
              <a:gd name="connsiteY334" fmla="*/ 269849 h 1373610"/>
              <a:gd name="connsiteX335" fmla="*/ 1025759 w 1367984"/>
              <a:gd name="connsiteY335" fmla="*/ 340784 h 1373610"/>
              <a:gd name="connsiteX336" fmla="*/ 1025995 w 1367984"/>
              <a:gd name="connsiteY336" fmla="*/ 341022 h 1373610"/>
              <a:gd name="connsiteX337" fmla="*/ 1026668 w 1367984"/>
              <a:gd name="connsiteY337" fmla="*/ 341022 h 1373610"/>
              <a:gd name="connsiteX338" fmla="*/ 1026668 w 1367984"/>
              <a:gd name="connsiteY338" fmla="*/ 341697 h 1373610"/>
              <a:gd name="connsiteX339" fmla="*/ 1106673 w 1367984"/>
              <a:gd name="connsiteY339" fmla="*/ 422106 h 1373610"/>
              <a:gd name="connsiteX340" fmla="*/ 1140012 w 1367984"/>
              <a:gd name="connsiteY340" fmla="*/ 455613 h 1373610"/>
              <a:gd name="connsiteX341" fmla="*/ 1140968 w 1367984"/>
              <a:gd name="connsiteY341" fmla="*/ 455613 h 1373610"/>
              <a:gd name="connsiteX342" fmla="*/ 1140968 w 1367984"/>
              <a:gd name="connsiteY342" fmla="*/ 456573 h 1373610"/>
              <a:gd name="connsiteX343" fmla="*/ 1161349 w 1367984"/>
              <a:gd name="connsiteY343" fmla="*/ 477057 h 1373610"/>
              <a:gd name="connsiteX344" fmla="*/ 1246727 w 1367984"/>
              <a:gd name="connsiteY344" fmla="*/ 562865 h 1373610"/>
              <a:gd name="connsiteX345" fmla="*/ 1253739 w 1367984"/>
              <a:gd name="connsiteY345" fmla="*/ 569913 h 1373610"/>
              <a:gd name="connsiteX346" fmla="*/ 1255558 w 1367984"/>
              <a:gd name="connsiteY346" fmla="*/ 569913 h 1373610"/>
              <a:gd name="connsiteX347" fmla="*/ 1255558 w 1367984"/>
              <a:gd name="connsiteY347" fmla="*/ 571741 h 1373610"/>
              <a:gd name="connsiteX348" fmla="*/ 1304598 w 1367984"/>
              <a:gd name="connsiteY348" fmla="*/ 621028 h 1373610"/>
              <a:gd name="connsiteX349" fmla="*/ 1366653 w 1367984"/>
              <a:gd name="connsiteY349" fmla="*/ 683396 h 1373610"/>
              <a:gd name="connsiteX350" fmla="*/ 1367176 w 1367984"/>
              <a:gd name="connsiteY350" fmla="*/ 683922 h 1373610"/>
              <a:gd name="connsiteX351" fmla="*/ 1367984 w 1367984"/>
              <a:gd name="connsiteY351" fmla="*/ 683922 h 1373610"/>
              <a:gd name="connsiteX352" fmla="*/ 1367984 w 1367984"/>
              <a:gd name="connsiteY352" fmla="*/ 684733 h 1373610"/>
              <a:gd name="connsiteX353" fmla="*/ 1367984 w 1367984"/>
              <a:gd name="connsiteY353" fmla="*/ 688003 h 1373610"/>
              <a:gd name="connsiteX354" fmla="*/ 1367984 w 1367984"/>
              <a:gd name="connsiteY354" fmla="*/ 688814 h 1373610"/>
              <a:gd name="connsiteX355" fmla="*/ 1366853 w 1367984"/>
              <a:gd name="connsiteY355" fmla="*/ 689139 h 1373610"/>
              <a:gd name="connsiteX356" fmla="*/ 1255558 w 1367984"/>
              <a:gd name="connsiteY356" fmla="*/ 800995 h 1373610"/>
              <a:gd name="connsiteX357" fmla="*/ 1255558 w 1367984"/>
              <a:gd name="connsiteY357" fmla="*/ 802823 h 1373610"/>
              <a:gd name="connsiteX358" fmla="*/ 1253523 w 1367984"/>
              <a:gd name="connsiteY358" fmla="*/ 803697 h 1373610"/>
              <a:gd name="connsiteX359" fmla="*/ 1253065 w 1367984"/>
              <a:gd name="connsiteY359" fmla="*/ 803500 h 1373610"/>
              <a:gd name="connsiteX360" fmla="*/ 1248058 w 1367984"/>
              <a:gd name="connsiteY360" fmla="*/ 808533 h 1373610"/>
              <a:gd name="connsiteX361" fmla="*/ 974107 w 1367984"/>
              <a:gd name="connsiteY361" fmla="*/ 1083864 h 1373610"/>
              <a:gd name="connsiteX362" fmla="*/ 914245 w 1367984"/>
              <a:gd name="connsiteY362" fmla="*/ 1144027 h 1373610"/>
              <a:gd name="connsiteX363" fmla="*/ 914245 w 1367984"/>
              <a:gd name="connsiteY363" fmla="*/ 1144136 h 1373610"/>
              <a:gd name="connsiteX364" fmla="*/ 914056 w 1367984"/>
              <a:gd name="connsiteY364" fmla="*/ 1144217 h 1373610"/>
              <a:gd name="connsiteX365" fmla="*/ 908073 w 1367984"/>
              <a:gd name="connsiteY365" fmla="*/ 1150231 h 1373610"/>
              <a:gd name="connsiteX366" fmla="*/ 686684 w 1367984"/>
              <a:gd name="connsiteY366" fmla="*/ 1372736 h 1373610"/>
              <a:gd name="connsiteX367" fmla="*/ 684944 w 1367984"/>
              <a:gd name="connsiteY367" fmla="*/ 1373610 h 1373610"/>
              <a:gd name="connsiteX368" fmla="*/ 684230 w 1367984"/>
              <a:gd name="connsiteY368" fmla="*/ 1373302 h 1373610"/>
              <a:gd name="connsiteX369" fmla="*/ 683618 w 1367984"/>
              <a:gd name="connsiteY369" fmla="*/ 1373610 h 1373610"/>
              <a:gd name="connsiteX370" fmla="*/ 681588 w 1367984"/>
              <a:gd name="connsiteY370" fmla="*/ 1372736 h 1373610"/>
              <a:gd name="connsiteX371" fmla="*/ 398147 w 1367984"/>
              <a:gd name="connsiteY371" fmla="*/ 1087987 h 1373610"/>
              <a:gd name="connsiteX372" fmla="*/ 340767 w 1367984"/>
              <a:gd name="connsiteY372" fmla="*/ 1030342 h 1373610"/>
              <a:gd name="connsiteX373" fmla="*/ 340018 w 1367984"/>
              <a:gd name="connsiteY373" fmla="*/ 1030127 h 1373610"/>
              <a:gd name="connsiteX374" fmla="*/ 340018 w 1367984"/>
              <a:gd name="connsiteY374" fmla="*/ 1029589 h 1373610"/>
              <a:gd name="connsiteX375" fmla="*/ 325007 w 1367984"/>
              <a:gd name="connsiteY375" fmla="*/ 1014509 h 1373610"/>
              <a:gd name="connsiteX376" fmla="*/ 160241 w 1367984"/>
              <a:gd name="connsiteY376" fmla="*/ 848983 h 1373610"/>
              <a:gd name="connsiteX377" fmla="*/ 115122 w 1367984"/>
              <a:gd name="connsiteY377" fmla="*/ 803655 h 1373610"/>
              <a:gd name="connsiteX378" fmla="*/ 115039 w 1367984"/>
              <a:gd name="connsiteY378" fmla="*/ 803697 h 1373610"/>
              <a:gd name="connsiteX379" fmla="*/ 113005 w 1367984"/>
              <a:gd name="connsiteY379" fmla="*/ 802823 h 1373610"/>
              <a:gd name="connsiteX380" fmla="*/ 113005 w 1367984"/>
              <a:gd name="connsiteY380" fmla="*/ 801529 h 1373610"/>
              <a:gd name="connsiteX381" fmla="*/ 104464 w 1367984"/>
              <a:gd name="connsiteY381" fmla="*/ 792948 h 1373610"/>
              <a:gd name="connsiteX382" fmla="*/ 1331 w 1367984"/>
              <a:gd name="connsiteY382" fmla="*/ 689340 h 1373610"/>
              <a:gd name="connsiteX383" fmla="*/ 1131 w 1367984"/>
              <a:gd name="connsiteY383" fmla="*/ 689139 h 1373610"/>
              <a:gd name="connsiteX384" fmla="*/ 0 w 1367984"/>
              <a:gd name="connsiteY384" fmla="*/ 688814 h 1373610"/>
              <a:gd name="connsiteX385" fmla="*/ 0 w 1367984"/>
              <a:gd name="connsiteY385" fmla="*/ 688003 h 1373610"/>
              <a:gd name="connsiteX386" fmla="*/ 0 w 1367984"/>
              <a:gd name="connsiteY386" fmla="*/ 684733 h 1373610"/>
              <a:gd name="connsiteX387" fmla="*/ 0 w 1367984"/>
              <a:gd name="connsiteY387" fmla="*/ 683922 h 1373610"/>
              <a:gd name="connsiteX388" fmla="*/ 808 w 1367984"/>
              <a:gd name="connsiteY388" fmla="*/ 683922 h 1373610"/>
              <a:gd name="connsiteX389" fmla="*/ 113005 w 1367984"/>
              <a:gd name="connsiteY389" fmla="*/ 571207 h 1373610"/>
              <a:gd name="connsiteX390" fmla="*/ 113005 w 1367984"/>
              <a:gd name="connsiteY390" fmla="*/ 569913 h 1373610"/>
              <a:gd name="connsiteX391" fmla="*/ 114293 w 1367984"/>
              <a:gd name="connsiteY391" fmla="*/ 569913 h 1373610"/>
              <a:gd name="connsiteX392" fmla="*/ 119977 w 1367984"/>
              <a:gd name="connsiteY392" fmla="*/ 564203 h 1373610"/>
              <a:gd name="connsiteX393" fmla="*/ 218835 w 1367984"/>
              <a:gd name="connsiteY393" fmla="*/ 464889 h 1373610"/>
              <a:gd name="connsiteX394" fmla="*/ 227014 w 1367984"/>
              <a:gd name="connsiteY394" fmla="*/ 456671 h 1373610"/>
              <a:gd name="connsiteX395" fmla="*/ 227014 w 1367984"/>
              <a:gd name="connsiteY395" fmla="*/ 455613 h 1373610"/>
              <a:gd name="connsiteX396" fmla="*/ 228068 w 1367984"/>
              <a:gd name="connsiteY396" fmla="*/ 455613 h 1373610"/>
              <a:gd name="connsiteX397" fmla="*/ 305352 w 1367984"/>
              <a:gd name="connsiteY397" fmla="*/ 377972 h 1373610"/>
              <a:gd name="connsiteX398" fmla="*/ 340018 w 1367984"/>
              <a:gd name="connsiteY398" fmla="*/ 343146 h 1373610"/>
              <a:gd name="connsiteX399" fmla="*/ 340018 w 1367984"/>
              <a:gd name="connsiteY399" fmla="*/ 341022 h 1373610"/>
              <a:gd name="connsiteX400" fmla="*/ 342133 w 1367984"/>
              <a:gd name="connsiteY400" fmla="*/ 341022 h 1373610"/>
              <a:gd name="connsiteX401" fmla="*/ 371579 w 1367984"/>
              <a:gd name="connsiteY401" fmla="*/ 311439 h 1373610"/>
              <a:gd name="connsiteX402" fmla="*/ 681588 w 1367984"/>
              <a:gd name="connsiteY402" fmla="*/ 0 h 1373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Lst>
            <a:rect l="l" t="t" r="r" b="b"/>
            <a:pathLst>
              <a:path w="1367984" h="1373610">
                <a:moveTo>
                  <a:pt x="684161" y="1146415"/>
                </a:moveTo>
                <a:lnTo>
                  <a:pt x="657792" y="1172844"/>
                </a:lnTo>
                <a:cubicBezTo>
                  <a:pt x="615095" y="1215640"/>
                  <a:pt x="593746" y="1237038"/>
                  <a:pt x="583072" y="1247737"/>
                </a:cubicBezTo>
                <a:lnTo>
                  <a:pt x="573926" y="1256904"/>
                </a:lnTo>
                <a:lnTo>
                  <a:pt x="601190" y="1284318"/>
                </a:lnTo>
                <a:cubicBezTo>
                  <a:pt x="645750" y="1329121"/>
                  <a:pt x="666719" y="1350205"/>
                  <a:pt x="676587" y="1360127"/>
                </a:cubicBezTo>
                <a:lnTo>
                  <a:pt x="684137" y="1367718"/>
                </a:lnTo>
                <a:lnTo>
                  <a:pt x="794348" y="1256903"/>
                </a:lnTo>
                <a:lnTo>
                  <a:pt x="704279" y="1166588"/>
                </a:lnTo>
                <a:close/>
                <a:moveTo>
                  <a:pt x="798305" y="1032008"/>
                </a:moveTo>
                <a:lnTo>
                  <a:pt x="794391" y="1035931"/>
                </a:lnTo>
                <a:cubicBezTo>
                  <a:pt x="754029" y="1076386"/>
                  <a:pt x="721005" y="1109486"/>
                  <a:pt x="693985" y="1136568"/>
                </a:cubicBezTo>
                <a:lnTo>
                  <a:pt x="688061" y="1142506"/>
                </a:lnTo>
                <a:lnTo>
                  <a:pt x="715292" y="1169800"/>
                </a:lnTo>
                <a:cubicBezTo>
                  <a:pt x="759955" y="1214565"/>
                  <a:pt x="780972" y="1235631"/>
                  <a:pt x="790863" y="1245545"/>
                </a:cubicBezTo>
                <a:lnTo>
                  <a:pt x="798266" y="1252964"/>
                </a:lnTo>
                <a:lnTo>
                  <a:pt x="802841" y="1248364"/>
                </a:lnTo>
                <a:cubicBezTo>
                  <a:pt x="840266" y="1210735"/>
                  <a:pt x="875196" y="1175614"/>
                  <a:pt x="907797" y="1142835"/>
                </a:cubicBezTo>
                <a:lnTo>
                  <a:pt x="908336" y="1142293"/>
                </a:lnTo>
                <a:lnTo>
                  <a:pt x="818539" y="1052288"/>
                </a:lnTo>
                <a:close/>
                <a:moveTo>
                  <a:pt x="569992" y="1031934"/>
                </a:moveTo>
                <a:lnTo>
                  <a:pt x="543454" y="1058544"/>
                </a:lnTo>
                <a:cubicBezTo>
                  <a:pt x="500775" y="1101340"/>
                  <a:pt x="479435" y="1122738"/>
                  <a:pt x="468765" y="1133437"/>
                </a:cubicBezTo>
                <a:lnTo>
                  <a:pt x="459936" y="1142291"/>
                </a:lnTo>
                <a:lnTo>
                  <a:pt x="476917" y="1159364"/>
                </a:lnTo>
                <a:cubicBezTo>
                  <a:pt x="504105" y="1186701"/>
                  <a:pt x="527747" y="1210472"/>
                  <a:pt x="548305" y="1231143"/>
                </a:cubicBezTo>
                <a:lnTo>
                  <a:pt x="569863" y="1252818"/>
                </a:lnTo>
                <a:lnTo>
                  <a:pt x="680115" y="1142359"/>
                </a:lnTo>
                <a:lnTo>
                  <a:pt x="626207" y="1088303"/>
                </a:lnTo>
                <a:close/>
                <a:moveTo>
                  <a:pt x="911583" y="918469"/>
                </a:moveTo>
                <a:lnTo>
                  <a:pt x="860606" y="969563"/>
                </a:lnTo>
                <a:lnTo>
                  <a:pt x="802230" y="1028074"/>
                </a:lnTo>
                <a:lnTo>
                  <a:pt x="829847" y="1055755"/>
                </a:lnTo>
                <a:cubicBezTo>
                  <a:pt x="874528" y="1100540"/>
                  <a:pt x="895555" y="1121615"/>
                  <a:pt x="905450" y="1131532"/>
                </a:cubicBezTo>
                <a:lnTo>
                  <a:pt x="912254" y="1138353"/>
                </a:lnTo>
                <a:lnTo>
                  <a:pt x="998781" y="1051353"/>
                </a:lnTo>
                <a:lnTo>
                  <a:pt x="1021389" y="1028621"/>
                </a:lnTo>
                <a:lnTo>
                  <a:pt x="931292" y="938241"/>
                </a:lnTo>
                <a:close/>
                <a:moveTo>
                  <a:pt x="456090" y="917722"/>
                </a:moveTo>
                <a:lnTo>
                  <a:pt x="429409" y="944499"/>
                </a:lnTo>
                <a:cubicBezTo>
                  <a:pt x="386747" y="987313"/>
                  <a:pt x="365416" y="1008720"/>
                  <a:pt x="354751" y="1019424"/>
                </a:cubicBezTo>
                <a:lnTo>
                  <a:pt x="346236" y="1027969"/>
                </a:lnTo>
                <a:lnTo>
                  <a:pt x="384251" y="1066192"/>
                </a:lnTo>
                <a:lnTo>
                  <a:pt x="456163" y="1138497"/>
                </a:lnTo>
                <a:lnTo>
                  <a:pt x="566190" y="1028123"/>
                </a:lnTo>
                <a:lnTo>
                  <a:pt x="498939" y="960688"/>
                </a:lnTo>
                <a:close/>
                <a:moveTo>
                  <a:pt x="684088" y="917527"/>
                </a:moveTo>
                <a:lnTo>
                  <a:pt x="679995" y="921631"/>
                </a:lnTo>
                <a:cubicBezTo>
                  <a:pt x="639650" y="962086"/>
                  <a:pt x="606640" y="995186"/>
                  <a:pt x="579632" y="1022268"/>
                </a:cubicBezTo>
                <a:lnTo>
                  <a:pt x="573867" y="1028049"/>
                </a:lnTo>
                <a:lnTo>
                  <a:pt x="590731" y="1044953"/>
                </a:lnTo>
                <a:cubicBezTo>
                  <a:pt x="617982" y="1072266"/>
                  <a:pt x="641679" y="1096017"/>
                  <a:pt x="662284" y="1116670"/>
                </a:cubicBezTo>
                <a:lnTo>
                  <a:pt x="684015" y="1138451"/>
                </a:lnTo>
                <a:lnTo>
                  <a:pt x="688581" y="1133877"/>
                </a:lnTo>
                <a:cubicBezTo>
                  <a:pt x="726108" y="1096279"/>
                  <a:pt x="761133" y="1061188"/>
                  <a:pt x="793824" y="1028437"/>
                </a:cubicBezTo>
                <a:lnTo>
                  <a:pt x="794283" y="1027977"/>
                </a:lnTo>
                <a:lnTo>
                  <a:pt x="740434" y="974003"/>
                </a:lnTo>
                <a:close/>
                <a:moveTo>
                  <a:pt x="1025623" y="804166"/>
                </a:moveTo>
                <a:lnTo>
                  <a:pt x="938829" y="891160"/>
                </a:lnTo>
                <a:lnTo>
                  <a:pt x="915531" y="914512"/>
                </a:lnTo>
                <a:lnTo>
                  <a:pt x="942341" y="941418"/>
                </a:lnTo>
                <a:cubicBezTo>
                  <a:pt x="986985" y="986221"/>
                  <a:pt x="1007993" y="1007305"/>
                  <a:pt x="1017880" y="1017227"/>
                </a:cubicBezTo>
                <a:lnTo>
                  <a:pt x="1025308" y="1024681"/>
                </a:lnTo>
                <a:lnTo>
                  <a:pt x="1076791" y="972916"/>
                </a:lnTo>
                <a:lnTo>
                  <a:pt x="1135376" y="914012"/>
                </a:lnTo>
                <a:lnTo>
                  <a:pt x="1045341" y="823901"/>
                </a:lnTo>
                <a:close/>
                <a:moveTo>
                  <a:pt x="342650" y="803972"/>
                </a:moveTo>
                <a:lnTo>
                  <a:pt x="316479" y="830142"/>
                </a:lnTo>
                <a:cubicBezTo>
                  <a:pt x="273782" y="872840"/>
                  <a:pt x="252433" y="894188"/>
                  <a:pt x="241759" y="904863"/>
                </a:cubicBezTo>
                <a:lnTo>
                  <a:pt x="232755" y="913867"/>
                </a:lnTo>
                <a:lnTo>
                  <a:pt x="267533" y="948835"/>
                </a:lnTo>
                <a:lnTo>
                  <a:pt x="342173" y="1023884"/>
                </a:lnTo>
                <a:lnTo>
                  <a:pt x="452045" y="913666"/>
                </a:lnTo>
                <a:lnTo>
                  <a:pt x="406524" y="868020"/>
                </a:lnTo>
                <a:close/>
                <a:moveTo>
                  <a:pt x="797390" y="803916"/>
                </a:moveTo>
                <a:lnTo>
                  <a:pt x="746182" y="855263"/>
                </a:lnTo>
                <a:lnTo>
                  <a:pt x="688011" y="913593"/>
                </a:lnTo>
                <a:lnTo>
                  <a:pt x="705234" y="930855"/>
                </a:lnTo>
                <a:cubicBezTo>
                  <a:pt x="732496" y="958180"/>
                  <a:pt x="756203" y="981941"/>
                  <a:pt x="776817" y="1002603"/>
                </a:cubicBezTo>
                <a:lnTo>
                  <a:pt x="798208" y="1024044"/>
                </a:lnTo>
                <a:lnTo>
                  <a:pt x="885056" y="937033"/>
                </a:lnTo>
                <a:lnTo>
                  <a:pt x="907587" y="914460"/>
                </a:lnTo>
                <a:lnTo>
                  <a:pt x="853220" y="859923"/>
                </a:lnTo>
                <a:close/>
                <a:moveTo>
                  <a:pt x="570113" y="803291"/>
                </a:moveTo>
                <a:lnTo>
                  <a:pt x="565892" y="807528"/>
                </a:lnTo>
                <a:cubicBezTo>
                  <a:pt x="525563" y="848000"/>
                  <a:pt x="492567" y="881114"/>
                  <a:pt x="465571" y="908207"/>
                </a:cubicBezTo>
                <a:lnTo>
                  <a:pt x="459939" y="913859"/>
                </a:lnTo>
                <a:lnTo>
                  <a:pt x="497852" y="951859"/>
                </a:lnTo>
                <a:lnTo>
                  <a:pt x="570064" y="1024237"/>
                </a:lnTo>
                <a:lnTo>
                  <a:pt x="574470" y="1019817"/>
                </a:lnTo>
                <a:cubicBezTo>
                  <a:pt x="611965" y="982204"/>
                  <a:pt x="646961" y="947098"/>
                  <a:pt x="679623" y="914332"/>
                </a:cubicBezTo>
                <a:lnTo>
                  <a:pt x="680261" y="913692"/>
                </a:lnTo>
                <a:lnTo>
                  <a:pt x="613111" y="846388"/>
                </a:lnTo>
                <a:close/>
                <a:moveTo>
                  <a:pt x="1139202" y="690325"/>
                </a:moveTo>
                <a:lnTo>
                  <a:pt x="1135305" y="694231"/>
                </a:lnTo>
                <a:cubicBezTo>
                  <a:pt x="1097777" y="731845"/>
                  <a:pt x="1062752" y="766951"/>
                  <a:pt x="1030062" y="799717"/>
                </a:cubicBezTo>
                <a:lnTo>
                  <a:pt x="1029518" y="800261"/>
                </a:lnTo>
                <a:lnTo>
                  <a:pt x="1056605" y="827360"/>
                </a:lnTo>
                <a:cubicBezTo>
                  <a:pt x="1101268" y="872041"/>
                  <a:pt x="1122285" y="893068"/>
                  <a:pt x="1132176" y="902962"/>
                </a:cubicBezTo>
                <a:lnTo>
                  <a:pt x="1139288" y="910078"/>
                </a:lnTo>
                <a:lnTo>
                  <a:pt x="1142826" y="906521"/>
                </a:lnTo>
                <a:cubicBezTo>
                  <a:pt x="1183078" y="866049"/>
                  <a:pt x="1216012" y="832935"/>
                  <a:pt x="1242958" y="805841"/>
                </a:cubicBezTo>
                <a:lnTo>
                  <a:pt x="1248719" y="800049"/>
                </a:lnTo>
                <a:lnTo>
                  <a:pt x="1159852" y="711014"/>
                </a:lnTo>
                <a:close/>
                <a:moveTo>
                  <a:pt x="229167" y="690180"/>
                </a:moveTo>
                <a:lnTo>
                  <a:pt x="202141" y="717268"/>
                </a:lnTo>
                <a:cubicBezTo>
                  <a:pt x="159462" y="760045"/>
                  <a:pt x="138122" y="781434"/>
                  <a:pt x="127452" y="792129"/>
                </a:cubicBezTo>
                <a:lnTo>
                  <a:pt x="119553" y="800046"/>
                </a:lnTo>
                <a:lnTo>
                  <a:pt x="123986" y="804503"/>
                </a:lnTo>
                <a:lnTo>
                  <a:pt x="228841" y="909931"/>
                </a:lnTo>
                <a:lnTo>
                  <a:pt x="338730" y="800042"/>
                </a:lnTo>
                <a:lnTo>
                  <a:pt x="282549" y="743708"/>
                </a:lnTo>
                <a:close/>
                <a:moveTo>
                  <a:pt x="456853" y="689769"/>
                </a:moveTo>
                <a:lnTo>
                  <a:pt x="453078" y="693543"/>
                </a:lnTo>
                <a:cubicBezTo>
                  <a:pt x="412716" y="733906"/>
                  <a:pt x="379692" y="766930"/>
                  <a:pt x="352672" y="793949"/>
                </a:cubicBezTo>
                <a:lnTo>
                  <a:pt x="346481" y="800140"/>
                </a:lnTo>
                <a:lnTo>
                  <a:pt x="380864" y="834602"/>
                </a:lnTo>
                <a:lnTo>
                  <a:pt x="455894" y="909805"/>
                </a:lnTo>
                <a:lnTo>
                  <a:pt x="460221" y="905464"/>
                </a:lnTo>
                <a:cubicBezTo>
                  <a:pt x="497732" y="867835"/>
                  <a:pt x="532743" y="832714"/>
                  <a:pt x="565419" y="799935"/>
                </a:cubicBezTo>
                <a:lnTo>
                  <a:pt x="566092" y="799260"/>
                </a:lnTo>
                <a:lnTo>
                  <a:pt x="520657" y="753720"/>
                </a:lnTo>
                <a:close/>
                <a:moveTo>
                  <a:pt x="911274" y="689721"/>
                </a:moveTo>
                <a:lnTo>
                  <a:pt x="824372" y="776860"/>
                </a:lnTo>
                <a:lnTo>
                  <a:pt x="801362" y="799933"/>
                </a:lnTo>
                <a:lnTo>
                  <a:pt x="817833" y="816464"/>
                </a:lnTo>
                <a:cubicBezTo>
                  <a:pt x="845073" y="843801"/>
                  <a:pt x="868759" y="867572"/>
                  <a:pt x="889356" y="888243"/>
                </a:cubicBezTo>
                <a:lnTo>
                  <a:pt x="911537" y="910503"/>
                </a:lnTo>
                <a:lnTo>
                  <a:pt x="963280" y="858662"/>
                </a:lnTo>
                <a:lnTo>
                  <a:pt x="1021646" y="800186"/>
                </a:lnTo>
                <a:lnTo>
                  <a:pt x="967302" y="745796"/>
                </a:lnTo>
                <a:close/>
                <a:moveTo>
                  <a:pt x="683416" y="689583"/>
                </a:moveTo>
                <a:lnTo>
                  <a:pt x="632050" y="741132"/>
                </a:lnTo>
                <a:lnTo>
                  <a:pt x="574036" y="799354"/>
                </a:lnTo>
                <a:lnTo>
                  <a:pt x="612315" y="837722"/>
                </a:lnTo>
                <a:lnTo>
                  <a:pt x="684184" y="909757"/>
                </a:lnTo>
                <a:lnTo>
                  <a:pt x="770779" y="822889"/>
                </a:lnTo>
                <a:lnTo>
                  <a:pt x="793541" y="800055"/>
                </a:lnTo>
                <a:lnTo>
                  <a:pt x="725952" y="732253"/>
                </a:lnTo>
                <a:close/>
                <a:moveTo>
                  <a:pt x="1252638" y="576628"/>
                </a:moveTo>
                <a:lnTo>
                  <a:pt x="1143150" y="686368"/>
                </a:lnTo>
                <a:lnTo>
                  <a:pt x="1171160" y="714442"/>
                </a:lnTo>
                <a:cubicBezTo>
                  <a:pt x="1215841" y="759227"/>
                  <a:pt x="1236868" y="780302"/>
                  <a:pt x="1246763" y="790219"/>
                </a:cubicBezTo>
                <a:lnTo>
                  <a:pt x="1252638" y="796108"/>
                </a:lnTo>
                <a:lnTo>
                  <a:pt x="1279052" y="769550"/>
                </a:lnTo>
                <a:cubicBezTo>
                  <a:pt x="1321634" y="726736"/>
                  <a:pt x="1342924" y="705329"/>
                  <a:pt x="1353569" y="694625"/>
                </a:cubicBezTo>
                <a:lnTo>
                  <a:pt x="1361782" y="686368"/>
                </a:lnTo>
                <a:lnTo>
                  <a:pt x="1258440" y="582461"/>
                </a:lnTo>
                <a:close/>
                <a:moveTo>
                  <a:pt x="115780" y="576484"/>
                </a:moveTo>
                <a:lnTo>
                  <a:pt x="106210" y="586107"/>
                </a:lnTo>
                <a:cubicBezTo>
                  <a:pt x="52131" y="640481"/>
                  <a:pt x="26682" y="666069"/>
                  <a:pt x="14706" y="678111"/>
                </a:cubicBezTo>
                <a:lnTo>
                  <a:pt x="6494" y="686368"/>
                </a:lnTo>
                <a:lnTo>
                  <a:pt x="115780" y="796252"/>
                </a:lnTo>
                <a:lnTo>
                  <a:pt x="225366" y="686368"/>
                </a:lnTo>
                <a:lnTo>
                  <a:pt x="216921" y="677900"/>
                </a:lnTo>
                <a:cubicBezTo>
                  <a:pt x="161665" y="622494"/>
                  <a:pt x="135791" y="596549"/>
                  <a:pt x="123675" y="584400"/>
                </a:cubicBezTo>
                <a:close/>
                <a:moveTo>
                  <a:pt x="570405" y="576216"/>
                </a:moveTo>
                <a:lnTo>
                  <a:pt x="519293" y="627329"/>
                </a:lnTo>
                <a:lnTo>
                  <a:pt x="460782" y="685840"/>
                </a:lnTo>
                <a:lnTo>
                  <a:pt x="495277" y="720414"/>
                </a:lnTo>
                <a:lnTo>
                  <a:pt x="570015" y="795324"/>
                </a:lnTo>
                <a:lnTo>
                  <a:pt x="656613" y="708453"/>
                </a:lnTo>
                <a:lnTo>
                  <a:pt x="679420" y="685574"/>
                </a:lnTo>
                <a:lnTo>
                  <a:pt x="633536" y="639546"/>
                </a:lnTo>
                <a:close/>
                <a:moveTo>
                  <a:pt x="343215" y="575869"/>
                </a:moveTo>
                <a:lnTo>
                  <a:pt x="338682" y="580412"/>
                </a:lnTo>
                <a:cubicBezTo>
                  <a:pt x="298337" y="620851"/>
                  <a:pt x="265327" y="653936"/>
                  <a:pt x="238319" y="681007"/>
                </a:cubicBezTo>
                <a:lnTo>
                  <a:pt x="232970" y="686368"/>
                </a:lnTo>
                <a:lnTo>
                  <a:pt x="236985" y="690392"/>
                </a:lnTo>
                <a:lnTo>
                  <a:pt x="342561" y="796211"/>
                </a:lnTo>
                <a:lnTo>
                  <a:pt x="347268" y="791504"/>
                </a:lnTo>
                <a:cubicBezTo>
                  <a:pt x="384795" y="753977"/>
                  <a:pt x="419820" y="718952"/>
                  <a:pt x="452511" y="686261"/>
                </a:cubicBezTo>
                <a:lnTo>
                  <a:pt x="452933" y="685840"/>
                </a:lnTo>
                <a:lnTo>
                  <a:pt x="396630" y="629408"/>
                </a:lnTo>
                <a:close/>
                <a:moveTo>
                  <a:pt x="1024888" y="575797"/>
                </a:moveTo>
                <a:lnTo>
                  <a:pt x="1020765" y="579931"/>
                </a:lnTo>
                <a:cubicBezTo>
                  <a:pt x="983254" y="617545"/>
                  <a:pt x="948243" y="652651"/>
                  <a:pt x="915566" y="685417"/>
                </a:cubicBezTo>
                <a:lnTo>
                  <a:pt x="915145" y="685840"/>
                </a:lnTo>
                <a:lnTo>
                  <a:pt x="932044" y="702746"/>
                </a:lnTo>
                <a:cubicBezTo>
                  <a:pt x="959295" y="730009"/>
                  <a:pt x="982992" y="753715"/>
                  <a:pt x="1003597" y="774329"/>
                </a:cubicBezTo>
                <a:lnTo>
                  <a:pt x="1025542" y="796283"/>
                </a:lnTo>
                <a:lnTo>
                  <a:pt x="1029494" y="792324"/>
                </a:lnTo>
                <a:cubicBezTo>
                  <a:pt x="1069857" y="751885"/>
                  <a:pt x="1102881" y="718799"/>
                  <a:pt x="1129900" y="691729"/>
                </a:cubicBezTo>
                <a:lnTo>
                  <a:pt x="1135251" y="686368"/>
                </a:lnTo>
                <a:lnTo>
                  <a:pt x="1081747" y="632763"/>
                </a:lnTo>
                <a:close/>
                <a:moveTo>
                  <a:pt x="797121" y="575471"/>
                </a:moveTo>
                <a:lnTo>
                  <a:pt x="710207" y="662696"/>
                </a:lnTo>
                <a:lnTo>
                  <a:pt x="687410" y="685574"/>
                </a:lnTo>
                <a:lnTo>
                  <a:pt x="724993" y="723292"/>
                </a:lnTo>
                <a:lnTo>
                  <a:pt x="797513" y="796071"/>
                </a:lnTo>
                <a:lnTo>
                  <a:pt x="848935" y="744485"/>
                </a:lnTo>
                <a:lnTo>
                  <a:pt x="907397" y="685840"/>
                </a:lnTo>
                <a:lnTo>
                  <a:pt x="840087" y="618473"/>
                </a:lnTo>
                <a:close/>
                <a:moveTo>
                  <a:pt x="684184" y="462438"/>
                </a:moveTo>
                <a:lnTo>
                  <a:pt x="597516" y="549105"/>
                </a:lnTo>
                <a:lnTo>
                  <a:pt x="574431" y="572191"/>
                </a:lnTo>
                <a:lnTo>
                  <a:pt x="608055" y="605935"/>
                </a:lnTo>
                <a:lnTo>
                  <a:pt x="683416" y="681566"/>
                </a:lnTo>
                <a:lnTo>
                  <a:pt x="734803" y="630016"/>
                </a:lnTo>
                <a:lnTo>
                  <a:pt x="793145" y="571491"/>
                </a:lnTo>
                <a:lnTo>
                  <a:pt x="747711" y="526019"/>
                </a:lnTo>
                <a:close/>
                <a:moveTo>
                  <a:pt x="456685" y="462138"/>
                </a:moveTo>
                <a:lnTo>
                  <a:pt x="404869" y="514073"/>
                </a:lnTo>
                <a:lnTo>
                  <a:pt x="347140" y="571936"/>
                </a:lnTo>
                <a:lnTo>
                  <a:pt x="351338" y="576143"/>
                </a:lnTo>
                <a:lnTo>
                  <a:pt x="456862" y="681910"/>
                </a:lnTo>
                <a:lnTo>
                  <a:pt x="543743" y="595029"/>
                </a:lnTo>
                <a:lnTo>
                  <a:pt x="566487" y="572285"/>
                </a:lnTo>
                <a:lnTo>
                  <a:pt x="565911" y="571707"/>
                </a:lnTo>
                <a:cubicBezTo>
                  <a:pt x="529852" y="535535"/>
                  <a:pt x="499549" y="505136"/>
                  <a:pt x="474083" y="479590"/>
                </a:cubicBezTo>
                <a:close/>
                <a:moveTo>
                  <a:pt x="229624" y="462017"/>
                </a:moveTo>
                <a:lnTo>
                  <a:pt x="170393" y="521572"/>
                </a:lnTo>
                <a:lnTo>
                  <a:pt x="119553" y="572690"/>
                </a:lnTo>
                <a:lnTo>
                  <a:pt x="229167" y="682556"/>
                </a:lnTo>
                <a:lnTo>
                  <a:pt x="233208" y="678504"/>
                </a:lnTo>
                <a:cubicBezTo>
                  <a:pt x="270719" y="640891"/>
                  <a:pt x="305730" y="605785"/>
                  <a:pt x="338406" y="573019"/>
                </a:cubicBezTo>
                <a:lnTo>
                  <a:pt x="339388" y="572034"/>
                </a:lnTo>
                <a:lnTo>
                  <a:pt x="330974" y="563600"/>
                </a:lnTo>
                <a:cubicBezTo>
                  <a:pt x="275695" y="508194"/>
                  <a:pt x="249810" y="482249"/>
                  <a:pt x="237689" y="470100"/>
                </a:cubicBezTo>
                <a:close/>
                <a:moveTo>
                  <a:pt x="1138505" y="461870"/>
                </a:moveTo>
                <a:lnTo>
                  <a:pt x="1028860" y="571814"/>
                </a:lnTo>
                <a:lnTo>
                  <a:pt x="1046547" y="589542"/>
                </a:lnTo>
                <a:cubicBezTo>
                  <a:pt x="1073809" y="616867"/>
                  <a:pt x="1097515" y="640628"/>
                  <a:pt x="1118130" y="661290"/>
                </a:cubicBezTo>
                <a:lnTo>
                  <a:pt x="1139202" y="682410"/>
                </a:lnTo>
                <a:lnTo>
                  <a:pt x="1166093" y="655468"/>
                </a:lnTo>
                <a:cubicBezTo>
                  <a:pt x="1208791" y="612690"/>
                  <a:pt x="1230139" y="591302"/>
                  <a:pt x="1240814" y="580607"/>
                </a:cubicBezTo>
                <a:lnTo>
                  <a:pt x="1248719" y="572687"/>
                </a:lnTo>
                <a:lnTo>
                  <a:pt x="1169785" y="493322"/>
                </a:lnTo>
                <a:close/>
                <a:moveTo>
                  <a:pt x="910745" y="461440"/>
                </a:moveTo>
                <a:lnTo>
                  <a:pt x="906516" y="465684"/>
                </a:lnTo>
                <a:cubicBezTo>
                  <a:pt x="869021" y="503314"/>
                  <a:pt x="834025" y="538435"/>
                  <a:pt x="801362" y="571214"/>
                </a:cubicBezTo>
                <a:lnTo>
                  <a:pt x="800966" y="571612"/>
                </a:lnTo>
                <a:lnTo>
                  <a:pt x="839165" y="609827"/>
                </a:lnTo>
                <a:lnTo>
                  <a:pt x="911266" y="681959"/>
                </a:lnTo>
                <a:lnTo>
                  <a:pt x="915094" y="678118"/>
                </a:lnTo>
                <a:cubicBezTo>
                  <a:pt x="955422" y="637663"/>
                  <a:pt x="988418" y="604563"/>
                  <a:pt x="1015415" y="577481"/>
                </a:cubicBezTo>
                <a:lnTo>
                  <a:pt x="1020988" y="571890"/>
                </a:lnTo>
                <a:lnTo>
                  <a:pt x="954424" y="505201"/>
                </a:lnTo>
                <a:close/>
                <a:moveTo>
                  <a:pt x="798069" y="348552"/>
                </a:moveTo>
                <a:lnTo>
                  <a:pt x="793992" y="352630"/>
                </a:lnTo>
                <a:cubicBezTo>
                  <a:pt x="756464" y="390157"/>
                  <a:pt x="721439" y="425182"/>
                  <a:pt x="688749" y="457873"/>
                </a:cubicBezTo>
                <a:lnTo>
                  <a:pt x="688011" y="458610"/>
                </a:lnTo>
                <a:lnTo>
                  <a:pt x="722177" y="492790"/>
                </a:lnTo>
                <a:lnTo>
                  <a:pt x="796989" y="567634"/>
                </a:lnTo>
                <a:lnTo>
                  <a:pt x="800990" y="563621"/>
                </a:lnTo>
                <a:cubicBezTo>
                  <a:pt x="841336" y="523149"/>
                  <a:pt x="874345" y="490035"/>
                  <a:pt x="901354" y="462941"/>
                </a:cubicBezTo>
                <a:lnTo>
                  <a:pt x="906795" y="457483"/>
                </a:lnTo>
                <a:lnTo>
                  <a:pt x="861970" y="412573"/>
                </a:lnTo>
                <a:close/>
                <a:moveTo>
                  <a:pt x="570202" y="348359"/>
                </a:moveTo>
                <a:lnTo>
                  <a:pt x="483059" y="435703"/>
                </a:lnTo>
                <a:lnTo>
                  <a:pt x="460730" y="458083"/>
                </a:lnTo>
                <a:lnTo>
                  <a:pt x="464238" y="461603"/>
                </a:lnTo>
                <a:lnTo>
                  <a:pt x="570513" y="568259"/>
                </a:lnTo>
                <a:lnTo>
                  <a:pt x="621967" y="516805"/>
                </a:lnTo>
                <a:lnTo>
                  <a:pt x="680261" y="458511"/>
                </a:lnTo>
                <a:lnTo>
                  <a:pt x="680114" y="458364"/>
                </a:lnTo>
                <a:cubicBezTo>
                  <a:pt x="644071" y="422290"/>
                  <a:pt x="613780" y="391974"/>
                  <a:pt x="588325" y="366498"/>
                </a:cubicBezTo>
                <a:close/>
                <a:moveTo>
                  <a:pt x="342964" y="348058"/>
                </a:moveTo>
                <a:lnTo>
                  <a:pt x="338773" y="352271"/>
                </a:lnTo>
                <a:cubicBezTo>
                  <a:pt x="308947" y="382260"/>
                  <a:pt x="281779" y="409577"/>
                  <a:pt x="257032" y="434460"/>
                </a:cubicBezTo>
                <a:lnTo>
                  <a:pt x="233543" y="458077"/>
                </a:lnTo>
                <a:lnTo>
                  <a:pt x="343312" y="568099"/>
                </a:lnTo>
                <a:lnTo>
                  <a:pt x="429600" y="481576"/>
                </a:lnTo>
                <a:lnTo>
                  <a:pt x="452836" y="458276"/>
                </a:lnTo>
                <a:lnTo>
                  <a:pt x="411278" y="416587"/>
                </a:lnTo>
                <a:cubicBezTo>
                  <a:pt x="377858" y="383062"/>
                  <a:pt x="360112" y="365259"/>
                  <a:pt x="350688" y="355806"/>
                </a:cubicBezTo>
                <a:close/>
                <a:moveTo>
                  <a:pt x="1024518" y="347260"/>
                </a:moveTo>
                <a:lnTo>
                  <a:pt x="914740" y="457431"/>
                </a:lnTo>
                <a:lnTo>
                  <a:pt x="953628" y="496409"/>
                </a:lnTo>
                <a:lnTo>
                  <a:pt x="1024960" y="567906"/>
                </a:lnTo>
                <a:lnTo>
                  <a:pt x="1051577" y="541205"/>
                </a:lnTo>
                <a:cubicBezTo>
                  <a:pt x="1094238" y="498409"/>
                  <a:pt x="1115569" y="477011"/>
                  <a:pt x="1126234" y="466312"/>
                </a:cubicBezTo>
                <a:lnTo>
                  <a:pt x="1134588" y="457932"/>
                </a:lnTo>
                <a:lnTo>
                  <a:pt x="1095406" y="418536"/>
                </a:lnTo>
                <a:close/>
                <a:moveTo>
                  <a:pt x="912246" y="234375"/>
                </a:moveTo>
                <a:lnTo>
                  <a:pt x="802095" y="344527"/>
                </a:lnTo>
                <a:lnTo>
                  <a:pt x="836590" y="379101"/>
                </a:lnTo>
                <a:lnTo>
                  <a:pt x="910791" y="453474"/>
                </a:lnTo>
                <a:lnTo>
                  <a:pt x="937531" y="426650"/>
                </a:lnTo>
                <a:cubicBezTo>
                  <a:pt x="980211" y="383836"/>
                  <a:pt x="1001550" y="362429"/>
                  <a:pt x="1012220" y="351725"/>
                </a:cubicBezTo>
                <a:lnTo>
                  <a:pt x="1020599" y="343320"/>
                </a:lnTo>
                <a:lnTo>
                  <a:pt x="977123" y="299606"/>
                </a:lnTo>
                <a:close/>
                <a:moveTo>
                  <a:pt x="684015" y="234284"/>
                </a:moveTo>
                <a:lnTo>
                  <a:pt x="679452" y="238858"/>
                </a:lnTo>
                <a:cubicBezTo>
                  <a:pt x="641941" y="276456"/>
                  <a:pt x="606930" y="311547"/>
                  <a:pt x="574253" y="344299"/>
                </a:cubicBezTo>
                <a:lnTo>
                  <a:pt x="574001" y="344552"/>
                </a:lnTo>
                <a:lnTo>
                  <a:pt x="578298" y="348851"/>
                </a:lnTo>
                <a:lnTo>
                  <a:pt x="684088" y="454685"/>
                </a:lnTo>
                <a:lnTo>
                  <a:pt x="688181" y="450591"/>
                </a:lnTo>
                <a:cubicBezTo>
                  <a:pt x="728544" y="410228"/>
                  <a:pt x="761568" y="377204"/>
                  <a:pt x="788587" y="350185"/>
                </a:cubicBezTo>
                <a:lnTo>
                  <a:pt x="794148" y="344624"/>
                </a:lnTo>
                <a:lnTo>
                  <a:pt x="737943" y="288313"/>
                </a:lnTo>
                <a:close/>
                <a:moveTo>
                  <a:pt x="456171" y="234231"/>
                </a:moveTo>
                <a:lnTo>
                  <a:pt x="436460" y="254050"/>
                </a:lnTo>
                <a:lnTo>
                  <a:pt x="347026" y="343973"/>
                </a:lnTo>
                <a:lnTo>
                  <a:pt x="456881" y="454221"/>
                </a:lnTo>
                <a:lnTo>
                  <a:pt x="507790" y="403172"/>
                </a:lnTo>
                <a:lnTo>
                  <a:pt x="566325" y="344478"/>
                </a:lnTo>
                <a:lnTo>
                  <a:pt x="525548" y="303667"/>
                </a:lnTo>
                <a:cubicBezTo>
                  <a:pt x="492142" y="270232"/>
                  <a:pt x="474403" y="252478"/>
                  <a:pt x="464983" y="243051"/>
                </a:cubicBezTo>
                <a:close/>
                <a:moveTo>
                  <a:pt x="569863" y="119917"/>
                </a:moveTo>
                <a:lnTo>
                  <a:pt x="551515" y="138365"/>
                </a:lnTo>
                <a:lnTo>
                  <a:pt x="459940" y="230442"/>
                </a:lnTo>
                <a:lnTo>
                  <a:pt x="570122" y="340671"/>
                </a:lnTo>
                <a:lnTo>
                  <a:pt x="573977" y="336805"/>
                </a:lnTo>
                <a:cubicBezTo>
                  <a:pt x="614323" y="296350"/>
                  <a:pt x="647332" y="263250"/>
                  <a:pt x="674341" y="236168"/>
                </a:cubicBezTo>
                <a:lnTo>
                  <a:pt x="680116" y="230377"/>
                </a:lnTo>
                <a:lnTo>
                  <a:pt x="672287" y="222534"/>
                </a:lnTo>
                <a:cubicBezTo>
                  <a:pt x="617008" y="167151"/>
                  <a:pt x="591123" y="141217"/>
                  <a:pt x="579002" y="129073"/>
                </a:cubicBezTo>
                <a:close/>
                <a:moveTo>
                  <a:pt x="798266" y="119771"/>
                </a:moveTo>
                <a:lnTo>
                  <a:pt x="688061" y="230230"/>
                </a:lnTo>
                <a:lnTo>
                  <a:pt x="692651" y="234830"/>
                </a:lnTo>
                <a:lnTo>
                  <a:pt x="798175" y="340597"/>
                </a:lnTo>
                <a:lnTo>
                  <a:pt x="824780" y="313992"/>
                </a:lnTo>
                <a:cubicBezTo>
                  <a:pt x="867478" y="271294"/>
                  <a:pt x="888826" y="249946"/>
                  <a:pt x="899501" y="239271"/>
                </a:cubicBezTo>
                <a:lnTo>
                  <a:pt x="908332" y="230440"/>
                </a:lnTo>
                <a:lnTo>
                  <a:pt x="894313" y="216344"/>
                </a:lnTo>
                <a:cubicBezTo>
                  <a:pt x="872767" y="194680"/>
                  <a:pt x="853418" y="175225"/>
                  <a:pt x="836040" y="157752"/>
                </a:cubicBezTo>
                <a:close/>
                <a:moveTo>
                  <a:pt x="684137" y="5018"/>
                </a:moveTo>
                <a:lnTo>
                  <a:pt x="573926" y="115832"/>
                </a:lnTo>
                <a:lnTo>
                  <a:pt x="684161" y="226321"/>
                </a:lnTo>
                <a:lnTo>
                  <a:pt x="710518" y="199892"/>
                </a:lnTo>
                <a:cubicBezTo>
                  <a:pt x="753198" y="157096"/>
                  <a:pt x="774537" y="135698"/>
                  <a:pt x="785207" y="124999"/>
                </a:cubicBezTo>
                <a:lnTo>
                  <a:pt x="794349" y="115833"/>
                </a:lnTo>
                <a:lnTo>
                  <a:pt x="789600" y="111058"/>
                </a:lnTo>
                <a:cubicBezTo>
                  <a:pt x="707656" y="28666"/>
                  <a:pt x="688653" y="9559"/>
                  <a:pt x="684245" y="5128"/>
                </a:cubicBezTo>
                <a:close/>
                <a:moveTo>
                  <a:pt x="681588" y="0"/>
                </a:moveTo>
                <a:lnTo>
                  <a:pt x="682915" y="0"/>
                </a:lnTo>
                <a:lnTo>
                  <a:pt x="685358" y="0"/>
                </a:lnTo>
                <a:lnTo>
                  <a:pt x="686684" y="0"/>
                </a:lnTo>
                <a:cubicBezTo>
                  <a:pt x="756544" y="70212"/>
                  <a:pt x="819240" y="133224"/>
                  <a:pt x="875508" y="189776"/>
                </a:cubicBezTo>
                <a:lnTo>
                  <a:pt x="914134" y="228597"/>
                </a:lnTo>
                <a:lnTo>
                  <a:pt x="914245" y="228597"/>
                </a:lnTo>
                <a:lnTo>
                  <a:pt x="914245" y="228708"/>
                </a:lnTo>
                <a:lnTo>
                  <a:pt x="955179" y="269849"/>
                </a:lnTo>
                <a:cubicBezTo>
                  <a:pt x="980191" y="294986"/>
                  <a:pt x="1003686" y="318600"/>
                  <a:pt x="1025759" y="340784"/>
                </a:cubicBezTo>
                <a:lnTo>
                  <a:pt x="1025995" y="341022"/>
                </a:lnTo>
                <a:lnTo>
                  <a:pt x="1026668" y="341022"/>
                </a:lnTo>
                <a:lnTo>
                  <a:pt x="1026668" y="341697"/>
                </a:lnTo>
                <a:lnTo>
                  <a:pt x="1106673" y="422106"/>
                </a:lnTo>
                <a:lnTo>
                  <a:pt x="1140012" y="455613"/>
                </a:lnTo>
                <a:lnTo>
                  <a:pt x="1140968" y="455613"/>
                </a:lnTo>
                <a:lnTo>
                  <a:pt x="1140968" y="456573"/>
                </a:lnTo>
                <a:lnTo>
                  <a:pt x="1161349" y="477057"/>
                </a:lnTo>
                <a:cubicBezTo>
                  <a:pt x="1194987" y="510865"/>
                  <a:pt x="1223149" y="539169"/>
                  <a:pt x="1246727" y="562865"/>
                </a:cubicBezTo>
                <a:lnTo>
                  <a:pt x="1253739" y="569913"/>
                </a:lnTo>
                <a:lnTo>
                  <a:pt x="1255558" y="569913"/>
                </a:lnTo>
                <a:lnTo>
                  <a:pt x="1255558" y="571741"/>
                </a:lnTo>
                <a:lnTo>
                  <a:pt x="1304598" y="621028"/>
                </a:lnTo>
                <a:cubicBezTo>
                  <a:pt x="1350498" y="667159"/>
                  <a:pt x="1363160" y="679885"/>
                  <a:pt x="1366653" y="683396"/>
                </a:cubicBezTo>
                <a:lnTo>
                  <a:pt x="1367176" y="683922"/>
                </a:lnTo>
                <a:lnTo>
                  <a:pt x="1367984" y="683922"/>
                </a:lnTo>
                <a:lnTo>
                  <a:pt x="1367984" y="684733"/>
                </a:lnTo>
                <a:lnTo>
                  <a:pt x="1367984" y="688003"/>
                </a:lnTo>
                <a:lnTo>
                  <a:pt x="1367984" y="688814"/>
                </a:lnTo>
                <a:lnTo>
                  <a:pt x="1366853" y="689139"/>
                </a:lnTo>
                <a:lnTo>
                  <a:pt x="1255558" y="800995"/>
                </a:lnTo>
                <a:lnTo>
                  <a:pt x="1255558" y="802823"/>
                </a:lnTo>
                <a:cubicBezTo>
                  <a:pt x="1254977" y="803406"/>
                  <a:pt x="1254105" y="803697"/>
                  <a:pt x="1253523" y="803697"/>
                </a:cubicBezTo>
                <a:lnTo>
                  <a:pt x="1253065" y="803500"/>
                </a:lnTo>
                <a:lnTo>
                  <a:pt x="1248058" y="808533"/>
                </a:lnTo>
                <a:cubicBezTo>
                  <a:pt x="1135783" y="921374"/>
                  <a:pt x="1045963" y="1011646"/>
                  <a:pt x="974107" y="1083864"/>
                </a:cubicBezTo>
                <a:lnTo>
                  <a:pt x="914245" y="1144027"/>
                </a:lnTo>
                <a:lnTo>
                  <a:pt x="914245" y="1144136"/>
                </a:lnTo>
                <a:lnTo>
                  <a:pt x="914056" y="1144217"/>
                </a:lnTo>
                <a:lnTo>
                  <a:pt x="908073" y="1150231"/>
                </a:lnTo>
                <a:cubicBezTo>
                  <a:pt x="686684" y="1372736"/>
                  <a:pt x="686684" y="1372736"/>
                  <a:pt x="686684" y="1372736"/>
                </a:cubicBezTo>
                <a:cubicBezTo>
                  <a:pt x="686394" y="1373319"/>
                  <a:pt x="685524" y="1373610"/>
                  <a:pt x="684944" y="1373610"/>
                </a:cubicBezTo>
                <a:lnTo>
                  <a:pt x="684230" y="1373302"/>
                </a:lnTo>
                <a:lnTo>
                  <a:pt x="683618" y="1373610"/>
                </a:lnTo>
                <a:cubicBezTo>
                  <a:pt x="682748" y="1373610"/>
                  <a:pt x="682168" y="1373319"/>
                  <a:pt x="681588" y="1372736"/>
                </a:cubicBezTo>
                <a:cubicBezTo>
                  <a:pt x="569765" y="1260397"/>
                  <a:pt x="476288" y="1166488"/>
                  <a:pt x="398147" y="1087987"/>
                </a:cubicBezTo>
                <a:lnTo>
                  <a:pt x="340767" y="1030342"/>
                </a:lnTo>
                <a:lnTo>
                  <a:pt x="340018" y="1030127"/>
                </a:lnTo>
                <a:lnTo>
                  <a:pt x="340018" y="1029589"/>
                </a:lnTo>
                <a:lnTo>
                  <a:pt x="325007" y="1014509"/>
                </a:lnTo>
                <a:cubicBezTo>
                  <a:pt x="256755" y="945943"/>
                  <a:pt x="202837" y="891775"/>
                  <a:pt x="160241" y="848983"/>
                </a:cubicBezTo>
                <a:lnTo>
                  <a:pt x="115122" y="803655"/>
                </a:lnTo>
                <a:lnTo>
                  <a:pt x="115039" y="803697"/>
                </a:lnTo>
                <a:cubicBezTo>
                  <a:pt x="114167" y="803697"/>
                  <a:pt x="113586" y="803406"/>
                  <a:pt x="113005" y="802823"/>
                </a:cubicBezTo>
                <a:lnTo>
                  <a:pt x="113005" y="801529"/>
                </a:lnTo>
                <a:lnTo>
                  <a:pt x="104464" y="792948"/>
                </a:lnTo>
                <a:cubicBezTo>
                  <a:pt x="24401" y="712516"/>
                  <a:pt x="5700" y="693728"/>
                  <a:pt x="1331" y="689340"/>
                </a:cubicBezTo>
                <a:lnTo>
                  <a:pt x="1131" y="689139"/>
                </a:lnTo>
                <a:lnTo>
                  <a:pt x="0" y="688814"/>
                </a:lnTo>
                <a:lnTo>
                  <a:pt x="0" y="688003"/>
                </a:lnTo>
                <a:lnTo>
                  <a:pt x="0" y="684733"/>
                </a:lnTo>
                <a:lnTo>
                  <a:pt x="0" y="683922"/>
                </a:lnTo>
                <a:lnTo>
                  <a:pt x="808" y="683922"/>
                </a:lnTo>
                <a:lnTo>
                  <a:pt x="113005" y="571207"/>
                </a:lnTo>
                <a:lnTo>
                  <a:pt x="113005" y="569913"/>
                </a:lnTo>
                <a:lnTo>
                  <a:pt x="114293" y="569913"/>
                </a:lnTo>
                <a:lnTo>
                  <a:pt x="119977" y="564203"/>
                </a:lnTo>
                <a:cubicBezTo>
                  <a:pt x="155077" y="528940"/>
                  <a:pt x="187984" y="495881"/>
                  <a:pt x="218835" y="464889"/>
                </a:cubicBezTo>
                <a:lnTo>
                  <a:pt x="227014" y="456671"/>
                </a:lnTo>
                <a:lnTo>
                  <a:pt x="227014" y="455613"/>
                </a:lnTo>
                <a:lnTo>
                  <a:pt x="228068" y="455613"/>
                </a:lnTo>
                <a:lnTo>
                  <a:pt x="305352" y="377972"/>
                </a:lnTo>
                <a:lnTo>
                  <a:pt x="340018" y="343146"/>
                </a:lnTo>
                <a:lnTo>
                  <a:pt x="340018" y="341022"/>
                </a:lnTo>
                <a:lnTo>
                  <a:pt x="342133" y="341022"/>
                </a:lnTo>
                <a:lnTo>
                  <a:pt x="371579" y="311439"/>
                </a:lnTo>
                <a:cubicBezTo>
                  <a:pt x="681588" y="0"/>
                  <a:pt x="681588" y="0"/>
                  <a:pt x="681588" y="0"/>
                </a:cubicBezTo>
                <a:close/>
              </a:path>
            </a:pathLst>
          </a:custGeom>
          <a:solidFill>
            <a:schemeClr val="accent2">
              <a:alpha val="20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01" name="Freeform: Shape 200">
            <a:extLst>
              <a:ext uri="{FF2B5EF4-FFF2-40B4-BE49-F238E27FC236}">
                <a16:creationId xmlns:a16="http://schemas.microsoft.com/office/drawing/2014/main" id="{C9E0C75D-9B45-44BB-920E-01BEB6ECE103}"/>
              </a:ext>
            </a:extLst>
          </p:cNvPr>
          <p:cNvSpPr>
            <a:spLocks noChangeAspect="1"/>
          </p:cNvSpPr>
          <p:nvPr/>
        </p:nvSpPr>
        <p:spPr>
          <a:xfrm>
            <a:off x="3668160" y="3580316"/>
            <a:ext cx="2542801" cy="493575"/>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chemeClr val="accent4">
                  <a:alpha val="0"/>
                </a:schemeClr>
              </a:gs>
              <a:gs pos="100000">
                <a:schemeClr val="accent4"/>
              </a:gs>
            </a:gsLst>
            <a:lin ang="0" scaled="1"/>
            <a:tileRect/>
          </a:gradFill>
          <a:ln w="25400" cap="flat" cmpd="sng" algn="ctr">
            <a:noFill/>
            <a:prstDash val="solid"/>
          </a:ln>
          <a:effectLst/>
        </p:spPr>
        <p:txBody>
          <a:bodyPr wrap="square" rtlCol="0" anchor="ctr">
            <a:noAutofit/>
          </a:bodyPr>
          <a:lstStyle/>
          <a:p>
            <a:pPr algn="ctr"/>
            <a:endParaRPr lang="en-US" kern="0">
              <a:solidFill>
                <a:srgbClr val="0D274D"/>
              </a:solidFill>
              <a:latin typeface="CiscoSansTT ExtraLight"/>
            </a:endParaRPr>
          </a:p>
        </p:txBody>
      </p:sp>
      <p:sp>
        <p:nvSpPr>
          <p:cNvPr id="229" name="Arc 228">
            <a:extLst>
              <a:ext uri="{FF2B5EF4-FFF2-40B4-BE49-F238E27FC236}">
                <a16:creationId xmlns:a16="http://schemas.microsoft.com/office/drawing/2014/main" id="{0DD16D4F-4DB8-42BC-9CE0-9CFF706095A7}"/>
              </a:ext>
            </a:extLst>
          </p:cNvPr>
          <p:cNvSpPr/>
          <p:nvPr/>
        </p:nvSpPr>
        <p:spPr>
          <a:xfrm>
            <a:off x="5684881" y="4037018"/>
            <a:ext cx="2216675" cy="659362"/>
          </a:xfrm>
          <a:prstGeom prst="arc">
            <a:avLst>
              <a:gd name="adj1" fmla="val 13927965"/>
              <a:gd name="adj2" fmla="val 13649295"/>
            </a:avLst>
          </a:prstGeom>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02" name="Group 201">
            <a:extLst>
              <a:ext uri="{FF2B5EF4-FFF2-40B4-BE49-F238E27FC236}">
                <a16:creationId xmlns:a16="http://schemas.microsoft.com/office/drawing/2014/main" id="{E93D5EE0-95C1-44A5-A0BC-9FC8A3CADD47}"/>
              </a:ext>
            </a:extLst>
          </p:cNvPr>
          <p:cNvGrpSpPr/>
          <p:nvPr/>
        </p:nvGrpSpPr>
        <p:grpSpPr>
          <a:xfrm>
            <a:off x="5586756" y="539928"/>
            <a:ext cx="1565426" cy="1418026"/>
            <a:chOff x="2171700" y="5438321"/>
            <a:chExt cx="1331913" cy="1206500"/>
          </a:xfrm>
        </p:grpSpPr>
        <p:sp>
          <p:nvSpPr>
            <p:cNvPr id="203" name="Freeform 107">
              <a:extLst>
                <a:ext uri="{FF2B5EF4-FFF2-40B4-BE49-F238E27FC236}">
                  <a16:creationId xmlns:a16="http://schemas.microsoft.com/office/drawing/2014/main" id="{31676670-73A9-4035-8B2B-B7827B993BF0}"/>
                </a:ext>
              </a:extLst>
            </p:cNvPr>
            <p:cNvSpPr>
              <a:spLocks noEditPoints="1"/>
            </p:cNvSpPr>
            <p:nvPr/>
          </p:nvSpPr>
          <p:spPr bwMode="auto">
            <a:xfrm>
              <a:off x="2395538" y="5484359"/>
              <a:ext cx="1108075" cy="1114425"/>
            </a:xfrm>
            <a:custGeom>
              <a:avLst/>
              <a:gdLst>
                <a:gd name="T0" fmla="*/ 755 w 1330"/>
                <a:gd name="T1" fmla="*/ 6 h 1330"/>
                <a:gd name="T2" fmla="*/ 1185 w 1330"/>
                <a:gd name="T3" fmla="*/ 665 h 1330"/>
                <a:gd name="T4" fmla="*/ 755 w 1330"/>
                <a:gd name="T5" fmla="*/ 1324 h 1330"/>
                <a:gd name="T6" fmla="*/ 1330 w 1330"/>
                <a:gd name="T7" fmla="*/ 665 h 1330"/>
                <a:gd name="T8" fmla="*/ 755 w 1330"/>
                <a:gd name="T9" fmla="*/ 6 h 1330"/>
                <a:gd name="T10" fmla="*/ 665 w 1330"/>
                <a:gd name="T11" fmla="*/ 0 h 1330"/>
                <a:gd name="T12" fmla="*/ 0 w 1330"/>
                <a:gd name="T13" fmla="*/ 665 h 1330"/>
                <a:gd name="T14" fmla="*/ 665 w 1330"/>
                <a:gd name="T15" fmla="*/ 1330 h 1330"/>
                <a:gd name="T16" fmla="*/ 697 w 1330"/>
                <a:gd name="T17" fmla="*/ 1330 h 1330"/>
                <a:gd name="T18" fmla="*/ 1169 w 1330"/>
                <a:gd name="T19" fmla="*/ 665 h 1330"/>
                <a:gd name="T20" fmla="*/ 697 w 1330"/>
                <a:gd name="T21" fmla="*/ 0 h 1330"/>
                <a:gd name="T22" fmla="*/ 665 w 1330"/>
                <a:gd name="T23" fmla="*/ 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30" h="1330">
                  <a:moveTo>
                    <a:pt x="755" y="6"/>
                  </a:moveTo>
                  <a:cubicBezTo>
                    <a:pt x="1008" y="117"/>
                    <a:pt x="1185" y="371"/>
                    <a:pt x="1185" y="665"/>
                  </a:cubicBezTo>
                  <a:cubicBezTo>
                    <a:pt x="1185" y="959"/>
                    <a:pt x="1008" y="1213"/>
                    <a:pt x="755" y="1324"/>
                  </a:cubicBezTo>
                  <a:cubicBezTo>
                    <a:pt x="1080" y="1281"/>
                    <a:pt x="1330" y="1002"/>
                    <a:pt x="1330" y="665"/>
                  </a:cubicBezTo>
                  <a:cubicBezTo>
                    <a:pt x="1330" y="328"/>
                    <a:pt x="1080" y="49"/>
                    <a:pt x="755" y="6"/>
                  </a:cubicBezTo>
                  <a:moveTo>
                    <a:pt x="665" y="0"/>
                  </a:moveTo>
                  <a:cubicBezTo>
                    <a:pt x="298" y="0"/>
                    <a:pt x="0" y="298"/>
                    <a:pt x="0" y="665"/>
                  </a:cubicBezTo>
                  <a:cubicBezTo>
                    <a:pt x="0" y="1032"/>
                    <a:pt x="298" y="1330"/>
                    <a:pt x="665" y="1330"/>
                  </a:cubicBezTo>
                  <a:cubicBezTo>
                    <a:pt x="676" y="1330"/>
                    <a:pt x="686" y="1330"/>
                    <a:pt x="697" y="1330"/>
                  </a:cubicBezTo>
                  <a:cubicBezTo>
                    <a:pt x="971" y="1234"/>
                    <a:pt x="1169" y="972"/>
                    <a:pt x="1169" y="665"/>
                  </a:cubicBezTo>
                  <a:cubicBezTo>
                    <a:pt x="1169" y="358"/>
                    <a:pt x="971" y="96"/>
                    <a:pt x="697" y="0"/>
                  </a:cubicBezTo>
                  <a:cubicBezTo>
                    <a:pt x="686" y="0"/>
                    <a:pt x="676" y="0"/>
                    <a:pt x="665" y="0"/>
                  </a:cubicBezTo>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08">
              <a:extLst>
                <a:ext uri="{FF2B5EF4-FFF2-40B4-BE49-F238E27FC236}">
                  <a16:creationId xmlns:a16="http://schemas.microsoft.com/office/drawing/2014/main" id="{EC3794BA-11A2-4050-884A-3F13755DBD53}"/>
                </a:ext>
              </a:extLst>
            </p:cNvPr>
            <p:cNvSpPr>
              <a:spLocks/>
            </p:cNvSpPr>
            <p:nvPr/>
          </p:nvSpPr>
          <p:spPr bwMode="auto">
            <a:xfrm>
              <a:off x="2171700" y="5438321"/>
              <a:ext cx="852488" cy="1206500"/>
            </a:xfrm>
            <a:custGeom>
              <a:avLst/>
              <a:gdLst>
                <a:gd name="T0" fmla="*/ 733 w 1023"/>
                <a:gd name="T1" fmla="*/ 0 h 1440"/>
                <a:gd name="T2" fmla="*/ 57 w 1023"/>
                <a:gd name="T3" fmla="*/ 472 h 1440"/>
                <a:gd name="T4" fmla="*/ 45 w 1023"/>
                <a:gd name="T5" fmla="*/ 467 h 1440"/>
                <a:gd name="T6" fmla="*/ 0 w 1023"/>
                <a:gd name="T7" fmla="*/ 720 h 1440"/>
                <a:gd name="T8" fmla="*/ 20 w 1023"/>
                <a:gd name="T9" fmla="*/ 893 h 1440"/>
                <a:gd name="T10" fmla="*/ 34 w 1023"/>
                <a:gd name="T11" fmla="*/ 889 h 1440"/>
                <a:gd name="T12" fmla="*/ 733 w 1023"/>
                <a:gd name="T13" fmla="*/ 1440 h 1440"/>
                <a:gd name="T14" fmla="*/ 1023 w 1023"/>
                <a:gd name="T15" fmla="*/ 1379 h 1440"/>
                <a:gd name="T16" fmla="*/ 965 w 1023"/>
                <a:gd name="T17" fmla="*/ 1385 h 1440"/>
                <a:gd name="T18" fmla="*/ 733 w 1023"/>
                <a:gd name="T19" fmla="*/ 1424 h 1440"/>
                <a:gd name="T20" fmla="*/ 50 w 1023"/>
                <a:gd name="T21" fmla="*/ 886 h 1440"/>
                <a:gd name="T22" fmla="*/ 63 w 1023"/>
                <a:gd name="T23" fmla="*/ 882 h 1440"/>
                <a:gd name="T24" fmla="*/ 43 w 1023"/>
                <a:gd name="T25" fmla="*/ 720 h 1440"/>
                <a:gd name="T26" fmla="*/ 86 w 1023"/>
                <a:gd name="T27" fmla="*/ 482 h 1440"/>
                <a:gd name="T28" fmla="*/ 73 w 1023"/>
                <a:gd name="T29" fmla="*/ 478 h 1440"/>
                <a:gd name="T30" fmla="*/ 733 w 1023"/>
                <a:gd name="T31" fmla="*/ 16 h 1440"/>
                <a:gd name="T32" fmla="*/ 965 w 1023"/>
                <a:gd name="T33" fmla="*/ 55 h 1440"/>
                <a:gd name="T34" fmla="*/ 1023 w 1023"/>
                <a:gd name="T35" fmla="*/ 61 h 1440"/>
                <a:gd name="T36" fmla="*/ 733 w 1023"/>
                <a:gd name="T37" fmla="*/ 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23" h="1440">
                  <a:moveTo>
                    <a:pt x="733" y="0"/>
                  </a:moveTo>
                  <a:cubicBezTo>
                    <a:pt x="423" y="0"/>
                    <a:pt x="159" y="197"/>
                    <a:pt x="57" y="472"/>
                  </a:cubicBezTo>
                  <a:cubicBezTo>
                    <a:pt x="45" y="467"/>
                    <a:pt x="45" y="467"/>
                    <a:pt x="45" y="467"/>
                  </a:cubicBezTo>
                  <a:cubicBezTo>
                    <a:pt x="15" y="548"/>
                    <a:pt x="0" y="634"/>
                    <a:pt x="0" y="720"/>
                  </a:cubicBezTo>
                  <a:cubicBezTo>
                    <a:pt x="0" y="778"/>
                    <a:pt x="7" y="836"/>
                    <a:pt x="20" y="893"/>
                  </a:cubicBezTo>
                  <a:cubicBezTo>
                    <a:pt x="34" y="889"/>
                    <a:pt x="34" y="889"/>
                    <a:pt x="34" y="889"/>
                  </a:cubicBezTo>
                  <a:cubicBezTo>
                    <a:pt x="110" y="1205"/>
                    <a:pt x="395" y="1440"/>
                    <a:pt x="733" y="1440"/>
                  </a:cubicBezTo>
                  <a:cubicBezTo>
                    <a:pt x="836" y="1440"/>
                    <a:pt x="934" y="1418"/>
                    <a:pt x="1023" y="1379"/>
                  </a:cubicBezTo>
                  <a:cubicBezTo>
                    <a:pt x="1004" y="1382"/>
                    <a:pt x="984" y="1384"/>
                    <a:pt x="965" y="1385"/>
                  </a:cubicBezTo>
                  <a:cubicBezTo>
                    <a:pt x="892" y="1410"/>
                    <a:pt x="814" y="1424"/>
                    <a:pt x="733" y="1424"/>
                  </a:cubicBezTo>
                  <a:cubicBezTo>
                    <a:pt x="402" y="1424"/>
                    <a:pt x="124" y="1194"/>
                    <a:pt x="50" y="886"/>
                  </a:cubicBezTo>
                  <a:cubicBezTo>
                    <a:pt x="63" y="882"/>
                    <a:pt x="63" y="882"/>
                    <a:pt x="63" y="882"/>
                  </a:cubicBezTo>
                  <a:cubicBezTo>
                    <a:pt x="50" y="829"/>
                    <a:pt x="43" y="775"/>
                    <a:pt x="43" y="720"/>
                  </a:cubicBezTo>
                  <a:cubicBezTo>
                    <a:pt x="43" y="639"/>
                    <a:pt x="57" y="559"/>
                    <a:pt x="86" y="482"/>
                  </a:cubicBezTo>
                  <a:cubicBezTo>
                    <a:pt x="73" y="478"/>
                    <a:pt x="73" y="478"/>
                    <a:pt x="73" y="478"/>
                  </a:cubicBezTo>
                  <a:cubicBezTo>
                    <a:pt x="172" y="209"/>
                    <a:pt x="430" y="16"/>
                    <a:pt x="733" y="16"/>
                  </a:cubicBezTo>
                  <a:cubicBezTo>
                    <a:pt x="814" y="16"/>
                    <a:pt x="892" y="30"/>
                    <a:pt x="965" y="55"/>
                  </a:cubicBezTo>
                  <a:cubicBezTo>
                    <a:pt x="984" y="56"/>
                    <a:pt x="1004" y="58"/>
                    <a:pt x="1023" y="61"/>
                  </a:cubicBezTo>
                  <a:cubicBezTo>
                    <a:pt x="934" y="22"/>
                    <a:pt x="836" y="0"/>
                    <a:pt x="733" y="0"/>
                  </a:cubicBezTo>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109">
              <a:extLst>
                <a:ext uri="{FF2B5EF4-FFF2-40B4-BE49-F238E27FC236}">
                  <a16:creationId xmlns:a16="http://schemas.microsoft.com/office/drawing/2014/main" id="{0BE5A1E9-9C46-4B97-88FF-2B297E0D6845}"/>
                </a:ext>
              </a:extLst>
            </p:cNvPr>
            <p:cNvSpPr>
              <a:spLocks/>
            </p:cNvSpPr>
            <p:nvPr/>
          </p:nvSpPr>
          <p:spPr bwMode="auto">
            <a:xfrm>
              <a:off x="2976563" y="5484359"/>
              <a:ext cx="406400" cy="1114425"/>
            </a:xfrm>
            <a:custGeom>
              <a:avLst/>
              <a:gdLst>
                <a:gd name="T0" fmla="*/ 0 w 488"/>
                <a:gd name="T1" fmla="*/ 0 h 1330"/>
                <a:gd name="T2" fmla="*/ 472 w 488"/>
                <a:gd name="T3" fmla="*/ 665 h 1330"/>
                <a:gd name="T4" fmla="*/ 0 w 488"/>
                <a:gd name="T5" fmla="*/ 1330 h 1330"/>
                <a:gd name="T6" fmla="*/ 58 w 488"/>
                <a:gd name="T7" fmla="*/ 1324 h 1330"/>
                <a:gd name="T8" fmla="*/ 488 w 488"/>
                <a:gd name="T9" fmla="*/ 665 h 1330"/>
                <a:gd name="T10" fmla="*/ 58 w 488"/>
                <a:gd name="T11" fmla="*/ 6 h 1330"/>
                <a:gd name="T12" fmla="*/ 0 w 488"/>
                <a:gd name="T13" fmla="*/ 0 h 1330"/>
              </a:gdLst>
              <a:ahLst/>
              <a:cxnLst>
                <a:cxn ang="0">
                  <a:pos x="T0" y="T1"/>
                </a:cxn>
                <a:cxn ang="0">
                  <a:pos x="T2" y="T3"/>
                </a:cxn>
                <a:cxn ang="0">
                  <a:pos x="T4" y="T5"/>
                </a:cxn>
                <a:cxn ang="0">
                  <a:pos x="T6" y="T7"/>
                </a:cxn>
                <a:cxn ang="0">
                  <a:pos x="T8" y="T9"/>
                </a:cxn>
                <a:cxn ang="0">
                  <a:pos x="T10" y="T11"/>
                </a:cxn>
                <a:cxn ang="0">
                  <a:pos x="T12" y="T13"/>
                </a:cxn>
              </a:cxnLst>
              <a:rect l="0" t="0" r="r" b="b"/>
              <a:pathLst>
                <a:path w="488" h="1330">
                  <a:moveTo>
                    <a:pt x="0" y="0"/>
                  </a:moveTo>
                  <a:cubicBezTo>
                    <a:pt x="274" y="96"/>
                    <a:pt x="472" y="358"/>
                    <a:pt x="472" y="665"/>
                  </a:cubicBezTo>
                  <a:cubicBezTo>
                    <a:pt x="472" y="972"/>
                    <a:pt x="274" y="1234"/>
                    <a:pt x="0" y="1330"/>
                  </a:cubicBezTo>
                  <a:cubicBezTo>
                    <a:pt x="19" y="1329"/>
                    <a:pt x="39" y="1327"/>
                    <a:pt x="58" y="1324"/>
                  </a:cubicBezTo>
                  <a:cubicBezTo>
                    <a:pt x="311" y="1213"/>
                    <a:pt x="488" y="959"/>
                    <a:pt x="488" y="665"/>
                  </a:cubicBezTo>
                  <a:cubicBezTo>
                    <a:pt x="488" y="371"/>
                    <a:pt x="311" y="117"/>
                    <a:pt x="58" y="6"/>
                  </a:cubicBezTo>
                  <a:cubicBezTo>
                    <a:pt x="39" y="3"/>
                    <a:pt x="19" y="1"/>
                    <a:pt x="0" y="0"/>
                  </a:cubicBezTo>
                </a:path>
              </a:pathLst>
            </a:custGeom>
            <a:solidFill>
              <a:srgbClr val="008BD9"/>
            </a:solidFill>
            <a:ln w="6350">
              <a:solidFill>
                <a:srgbClr val="008BD9"/>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6" name="Group 135">
            <a:extLst>
              <a:ext uri="{FF2B5EF4-FFF2-40B4-BE49-F238E27FC236}">
                <a16:creationId xmlns:a16="http://schemas.microsoft.com/office/drawing/2014/main" id="{1C9E89D7-E7F3-42E1-9F0E-806DAF2DFA32}"/>
              </a:ext>
            </a:extLst>
          </p:cNvPr>
          <p:cNvGrpSpPr/>
          <p:nvPr/>
        </p:nvGrpSpPr>
        <p:grpSpPr>
          <a:xfrm>
            <a:off x="5661845" y="2330947"/>
            <a:ext cx="837291" cy="397225"/>
            <a:chOff x="3634545" y="4780465"/>
            <a:chExt cx="894790" cy="424503"/>
          </a:xfrm>
        </p:grpSpPr>
        <p:sp>
          <p:nvSpPr>
            <p:cNvPr id="137" name="Freeform: Shape 136">
              <a:extLst>
                <a:ext uri="{FF2B5EF4-FFF2-40B4-BE49-F238E27FC236}">
                  <a16:creationId xmlns:a16="http://schemas.microsoft.com/office/drawing/2014/main" id="{AB669866-F73C-4287-B90A-1B8051691312}"/>
                </a:ext>
              </a:extLst>
            </p:cNvPr>
            <p:cNvSpPr/>
            <p:nvPr/>
          </p:nvSpPr>
          <p:spPr>
            <a:xfrm>
              <a:off x="3756731" y="4810797"/>
              <a:ext cx="772604" cy="214612"/>
            </a:xfrm>
            <a:custGeom>
              <a:avLst/>
              <a:gdLst>
                <a:gd name="connsiteX0" fmla="*/ 736334 w 772603"/>
                <a:gd name="connsiteY0" fmla="*/ 16096 h 214612"/>
                <a:gd name="connsiteX1" fmla="*/ 768956 w 772603"/>
                <a:gd name="connsiteY1" fmla="*/ 48574 h 214612"/>
                <a:gd name="connsiteX2" fmla="*/ 768956 w 772603"/>
                <a:gd name="connsiteY2" fmla="*/ 179058 h 214612"/>
                <a:gd name="connsiteX3" fmla="*/ 736334 w 772603"/>
                <a:gd name="connsiteY3" fmla="*/ 211536 h 214612"/>
                <a:gd name="connsiteX4" fmla="*/ 48717 w 772603"/>
                <a:gd name="connsiteY4" fmla="*/ 211536 h 214612"/>
                <a:gd name="connsiteX5" fmla="*/ 16096 w 772603"/>
                <a:gd name="connsiteY5" fmla="*/ 179058 h 214612"/>
                <a:gd name="connsiteX6" fmla="*/ 16096 w 772603"/>
                <a:gd name="connsiteY6" fmla="*/ 48574 h 214612"/>
                <a:gd name="connsiteX7" fmla="*/ 48717 w 772603"/>
                <a:gd name="connsiteY7" fmla="*/ 16096 h 21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603" h="214612">
                  <a:moveTo>
                    <a:pt x="736334" y="16096"/>
                  </a:moveTo>
                  <a:cubicBezTo>
                    <a:pt x="754295" y="16096"/>
                    <a:pt x="768877" y="30614"/>
                    <a:pt x="768956" y="48574"/>
                  </a:cubicBezTo>
                  <a:lnTo>
                    <a:pt x="768956" y="179058"/>
                  </a:lnTo>
                  <a:cubicBezTo>
                    <a:pt x="768877" y="197018"/>
                    <a:pt x="754295" y="211536"/>
                    <a:pt x="736334" y="211536"/>
                  </a:cubicBezTo>
                  <a:lnTo>
                    <a:pt x="48717" y="211536"/>
                  </a:lnTo>
                  <a:cubicBezTo>
                    <a:pt x="30757" y="211536"/>
                    <a:pt x="16175" y="197018"/>
                    <a:pt x="16096" y="179058"/>
                  </a:cubicBezTo>
                  <a:lnTo>
                    <a:pt x="16096" y="48574"/>
                  </a:lnTo>
                  <a:cubicBezTo>
                    <a:pt x="16175" y="30614"/>
                    <a:pt x="30757" y="16096"/>
                    <a:pt x="48717" y="16096"/>
                  </a:cubicBezTo>
                  <a:close/>
                </a:path>
              </a:pathLst>
            </a:custGeom>
            <a:solidFill>
              <a:srgbClr val="9E9EA2">
                <a:alpha val="73000"/>
              </a:srgb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38" name="Freeform: Shape 137">
              <a:extLst>
                <a:ext uri="{FF2B5EF4-FFF2-40B4-BE49-F238E27FC236}">
                  <a16:creationId xmlns:a16="http://schemas.microsoft.com/office/drawing/2014/main" id="{9CE7F3B8-8A00-4E7D-A38E-1DFF88DE4841}"/>
                </a:ext>
              </a:extLst>
            </p:cNvPr>
            <p:cNvSpPr/>
            <p:nvPr/>
          </p:nvSpPr>
          <p:spPr>
            <a:xfrm>
              <a:off x="3737845" y="4780465"/>
              <a:ext cx="772604" cy="214612"/>
            </a:xfrm>
            <a:custGeom>
              <a:avLst/>
              <a:gdLst>
                <a:gd name="connsiteX0" fmla="*/ 736334 w 772603"/>
                <a:gd name="connsiteY0" fmla="*/ 16096 h 214612"/>
                <a:gd name="connsiteX1" fmla="*/ 768955 w 772603"/>
                <a:gd name="connsiteY1" fmla="*/ 48717 h 214612"/>
                <a:gd name="connsiteX2" fmla="*/ 768955 w 772603"/>
                <a:gd name="connsiteY2" fmla="*/ 179058 h 214612"/>
                <a:gd name="connsiteX3" fmla="*/ 736334 w 772603"/>
                <a:gd name="connsiteY3" fmla="*/ 211679 h 214612"/>
                <a:gd name="connsiteX4" fmla="*/ 48717 w 772603"/>
                <a:gd name="connsiteY4" fmla="*/ 211679 h 214612"/>
                <a:gd name="connsiteX5" fmla="*/ 16096 w 772603"/>
                <a:gd name="connsiteY5" fmla="*/ 179058 h 214612"/>
                <a:gd name="connsiteX6" fmla="*/ 16096 w 772603"/>
                <a:gd name="connsiteY6" fmla="*/ 48717 h 214612"/>
                <a:gd name="connsiteX7" fmla="*/ 48717 w 772603"/>
                <a:gd name="connsiteY7" fmla="*/ 16096 h 21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603" h="214612">
                  <a:moveTo>
                    <a:pt x="736334" y="16096"/>
                  </a:moveTo>
                  <a:cubicBezTo>
                    <a:pt x="754350" y="16096"/>
                    <a:pt x="768955" y="30701"/>
                    <a:pt x="768955" y="48717"/>
                  </a:cubicBezTo>
                  <a:lnTo>
                    <a:pt x="768955" y="179058"/>
                  </a:lnTo>
                  <a:cubicBezTo>
                    <a:pt x="768955" y="197074"/>
                    <a:pt x="754350" y="211679"/>
                    <a:pt x="736334" y="211679"/>
                  </a:cubicBezTo>
                  <a:lnTo>
                    <a:pt x="48717" y="211679"/>
                  </a:lnTo>
                  <a:cubicBezTo>
                    <a:pt x="30701" y="211679"/>
                    <a:pt x="16096" y="197074"/>
                    <a:pt x="16096" y="179058"/>
                  </a:cubicBezTo>
                  <a:lnTo>
                    <a:pt x="16096" y="48717"/>
                  </a:lnTo>
                  <a:cubicBezTo>
                    <a:pt x="16096" y="30701"/>
                    <a:pt x="30701" y="16096"/>
                    <a:pt x="48717" y="16096"/>
                  </a:cubicBezTo>
                  <a:close/>
                </a:path>
              </a:pathLst>
            </a:custGeom>
            <a:solidFill>
              <a:srgbClr val="9E9EA2">
                <a:alpha val="73000"/>
              </a:srgb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42" name="Freeform: Shape 141">
              <a:extLst>
                <a:ext uri="{FF2B5EF4-FFF2-40B4-BE49-F238E27FC236}">
                  <a16:creationId xmlns:a16="http://schemas.microsoft.com/office/drawing/2014/main" id="{6352D858-7C99-4321-A1D4-9303FF5C32CB}"/>
                </a:ext>
              </a:extLst>
            </p:cNvPr>
            <p:cNvSpPr/>
            <p:nvPr/>
          </p:nvSpPr>
          <p:spPr>
            <a:xfrm>
              <a:off x="3653431" y="4990356"/>
              <a:ext cx="772604" cy="214612"/>
            </a:xfrm>
            <a:custGeom>
              <a:avLst/>
              <a:gdLst>
                <a:gd name="connsiteX0" fmla="*/ 736478 w 772603"/>
                <a:gd name="connsiteY0" fmla="*/ 16382 h 214612"/>
                <a:gd name="connsiteX1" fmla="*/ 768956 w 772603"/>
                <a:gd name="connsiteY1" fmla="*/ 48717 h 214612"/>
                <a:gd name="connsiteX2" fmla="*/ 768956 w 772603"/>
                <a:gd name="connsiteY2" fmla="*/ 179058 h 214612"/>
                <a:gd name="connsiteX3" fmla="*/ 736478 w 772603"/>
                <a:gd name="connsiteY3" fmla="*/ 211679 h 214612"/>
                <a:gd name="connsiteX4" fmla="*/ 48717 w 772603"/>
                <a:gd name="connsiteY4" fmla="*/ 211679 h 214612"/>
                <a:gd name="connsiteX5" fmla="*/ 16096 w 772603"/>
                <a:gd name="connsiteY5" fmla="*/ 179058 h 214612"/>
                <a:gd name="connsiteX6" fmla="*/ 16096 w 772603"/>
                <a:gd name="connsiteY6" fmla="*/ 48717 h 214612"/>
                <a:gd name="connsiteX7" fmla="*/ 48717 w 772603"/>
                <a:gd name="connsiteY7" fmla="*/ 16096 h 21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603" h="214612">
                  <a:moveTo>
                    <a:pt x="736478" y="16382"/>
                  </a:moveTo>
                  <a:cubicBezTo>
                    <a:pt x="754326" y="16459"/>
                    <a:pt x="768800" y="30868"/>
                    <a:pt x="768956" y="48717"/>
                  </a:cubicBezTo>
                  <a:lnTo>
                    <a:pt x="768956" y="179058"/>
                  </a:lnTo>
                  <a:cubicBezTo>
                    <a:pt x="768956" y="197018"/>
                    <a:pt x="754438" y="211600"/>
                    <a:pt x="736478" y="211679"/>
                  </a:cubicBezTo>
                  <a:lnTo>
                    <a:pt x="48717" y="211679"/>
                  </a:lnTo>
                  <a:cubicBezTo>
                    <a:pt x="30701" y="211679"/>
                    <a:pt x="16096" y="197074"/>
                    <a:pt x="16096" y="179058"/>
                  </a:cubicBezTo>
                  <a:lnTo>
                    <a:pt x="16096" y="48717"/>
                  </a:lnTo>
                  <a:cubicBezTo>
                    <a:pt x="16096" y="30701"/>
                    <a:pt x="30701" y="16096"/>
                    <a:pt x="48717" y="16096"/>
                  </a:cubicBezTo>
                  <a:close/>
                </a:path>
              </a:pathLst>
            </a:custGeom>
            <a:solidFill>
              <a:srgbClr val="9E9EA2">
                <a:alpha val="73000"/>
              </a:srgb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200" name="Freeform: Shape 199">
              <a:extLst>
                <a:ext uri="{FF2B5EF4-FFF2-40B4-BE49-F238E27FC236}">
                  <a16:creationId xmlns:a16="http://schemas.microsoft.com/office/drawing/2014/main" id="{BE01D2A1-F379-411F-9E4A-91D5D1D26DB7}"/>
                </a:ext>
              </a:extLst>
            </p:cNvPr>
            <p:cNvSpPr/>
            <p:nvPr/>
          </p:nvSpPr>
          <p:spPr>
            <a:xfrm>
              <a:off x="3634545" y="4960453"/>
              <a:ext cx="772604" cy="214612"/>
            </a:xfrm>
            <a:custGeom>
              <a:avLst/>
              <a:gdLst>
                <a:gd name="connsiteX0" fmla="*/ 736334 w 772603"/>
                <a:gd name="connsiteY0" fmla="*/ 16096 h 214612"/>
                <a:gd name="connsiteX1" fmla="*/ 768956 w 772603"/>
                <a:gd name="connsiteY1" fmla="*/ 48717 h 214612"/>
                <a:gd name="connsiteX2" fmla="*/ 768956 w 772603"/>
                <a:gd name="connsiteY2" fmla="*/ 178772 h 214612"/>
                <a:gd name="connsiteX3" fmla="*/ 736334 w 772603"/>
                <a:gd name="connsiteY3" fmla="*/ 211393 h 214612"/>
                <a:gd name="connsiteX4" fmla="*/ 48717 w 772603"/>
                <a:gd name="connsiteY4" fmla="*/ 211393 h 214612"/>
                <a:gd name="connsiteX5" fmla="*/ 16096 w 772603"/>
                <a:gd name="connsiteY5" fmla="*/ 178772 h 214612"/>
                <a:gd name="connsiteX6" fmla="*/ 16096 w 772603"/>
                <a:gd name="connsiteY6" fmla="*/ 48717 h 214612"/>
                <a:gd name="connsiteX7" fmla="*/ 48717 w 772603"/>
                <a:gd name="connsiteY7" fmla="*/ 16096 h 21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603" h="214612">
                  <a:moveTo>
                    <a:pt x="736334" y="16096"/>
                  </a:moveTo>
                  <a:cubicBezTo>
                    <a:pt x="754350" y="16096"/>
                    <a:pt x="768956" y="30701"/>
                    <a:pt x="768956" y="48717"/>
                  </a:cubicBezTo>
                  <a:lnTo>
                    <a:pt x="768956" y="178772"/>
                  </a:lnTo>
                  <a:cubicBezTo>
                    <a:pt x="768956" y="196788"/>
                    <a:pt x="754350" y="211393"/>
                    <a:pt x="736334" y="211393"/>
                  </a:cubicBezTo>
                  <a:lnTo>
                    <a:pt x="48717" y="211393"/>
                  </a:lnTo>
                  <a:cubicBezTo>
                    <a:pt x="30701" y="211393"/>
                    <a:pt x="16096" y="196788"/>
                    <a:pt x="16096" y="178772"/>
                  </a:cubicBezTo>
                  <a:lnTo>
                    <a:pt x="16096" y="48717"/>
                  </a:lnTo>
                  <a:cubicBezTo>
                    <a:pt x="16096" y="30701"/>
                    <a:pt x="30701" y="16096"/>
                    <a:pt x="48717" y="16096"/>
                  </a:cubicBezTo>
                  <a:close/>
                </a:path>
              </a:pathLst>
            </a:custGeom>
            <a:solidFill>
              <a:schemeClr val="accent1">
                <a:alpha val="81000"/>
              </a:schemeClr>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199" name="Arc 198">
            <a:extLst>
              <a:ext uri="{FF2B5EF4-FFF2-40B4-BE49-F238E27FC236}">
                <a16:creationId xmlns:a16="http://schemas.microsoft.com/office/drawing/2014/main" id="{4D484209-B387-427E-9983-583A7C5E6072}"/>
              </a:ext>
            </a:extLst>
          </p:cNvPr>
          <p:cNvSpPr/>
          <p:nvPr/>
        </p:nvSpPr>
        <p:spPr>
          <a:xfrm>
            <a:off x="5494547" y="3783827"/>
            <a:ext cx="2597343" cy="772595"/>
          </a:xfrm>
          <a:prstGeom prst="arc">
            <a:avLst>
              <a:gd name="adj1" fmla="val 13927965"/>
              <a:gd name="adj2" fmla="val 13649295"/>
            </a:avLst>
          </a:prstGeom>
          <a:noFill/>
          <a:ln>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Arc 13">
            <a:extLst>
              <a:ext uri="{FF2B5EF4-FFF2-40B4-BE49-F238E27FC236}">
                <a16:creationId xmlns:a16="http://schemas.microsoft.com/office/drawing/2014/main" id="{700A169B-C735-4B73-BD54-FA1E8DEFD87B}"/>
              </a:ext>
            </a:extLst>
          </p:cNvPr>
          <p:cNvSpPr/>
          <p:nvPr/>
        </p:nvSpPr>
        <p:spPr>
          <a:xfrm>
            <a:off x="5270649" y="3432851"/>
            <a:ext cx="3045141" cy="930019"/>
          </a:xfrm>
          <a:prstGeom prst="arc">
            <a:avLst>
              <a:gd name="adj1" fmla="val 13927965"/>
              <a:gd name="adj2" fmla="val 13649295"/>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43" name="Group 142">
            <a:extLst>
              <a:ext uri="{FF2B5EF4-FFF2-40B4-BE49-F238E27FC236}">
                <a16:creationId xmlns:a16="http://schemas.microsoft.com/office/drawing/2014/main" id="{2110CA8B-9D86-4FA0-9BCA-B1881BD7AB5E}"/>
              </a:ext>
            </a:extLst>
          </p:cNvPr>
          <p:cNvGrpSpPr/>
          <p:nvPr/>
        </p:nvGrpSpPr>
        <p:grpSpPr>
          <a:xfrm flipH="1" flipV="1">
            <a:off x="6544415" y="2296871"/>
            <a:ext cx="1406390" cy="1404599"/>
            <a:chOff x="7250029" y="1129177"/>
            <a:chExt cx="668628" cy="667779"/>
          </a:xfrm>
          <a:noFill/>
        </p:grpSpPr>
        <p:sp>
          <p:nvSpPr>
            <p:cNvPr id="144" name="Oval 143">
              <a:extLst>
                <a:ext uri="{FF2B5EF4-FFF2-40B4-BE49-F238E27FC236}">
                  <a16:creationId xmlns:a16="http://schemas.microsoft.com/office/drawing/2014/main" id="{6D8A06C5-FF8B-438A-98C8-08E3E980D1AF}"/>
                </a:ext>
              </a:extLst>
            </p:cNvPr>
            <p:cNvSpPr/>
            <p:nvPr/>
          </p:nvSpPr>
          <p:spPr>
            <a:xfrm>
              <a:off x="7250029" y="175123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a:extLst>
                <a:ext uri="{FF2B5EF4-FFF2-40B4-BE49-F238E27FC236}">
                  <a16:creationId xmlns:a16="http://schemas.microsoft.com/office/drawing/2014/main" id="{B4A1F6F4-46FD-438E-BF74-B1B2DDD75AF3}"/>
                </a:ext>
              </a:extLst>
            </p:cNvPr>
            <p:cNvSpPr/>
            <p:nvPr/>
          </p:nvSpPr>
          <p:spPr>
            <a:xfrm>
              <a:off x="7250029" y="1682121"/>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 name="Oval 145">
              <a:extLst>
                <a:ext uri="{FF2B5EF4-FFF2-40B4-BE49-F238E27FC236}">
                  <a16:creationId xmlns:a16="http://schemas.microsoft.com/office/drawing/2014/main" id="{EB5DA1D8-1688-4F02-AA0E-9756B14789F9}"/>
                </a:ext>
              </a:extLst>
            </p:cNvPr>
            <p:cNvSpPr/>
            <p:nvPr/>
          </p:nvSpPr>
          <p:spPr>
            <a:xfrm>
              <a:off x="7250029" y="1613003"/>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a16="http://schemas.microsoft.com/office/drawing/2014/main" id="{909915D3-6DC7-436C-BD64-1DC0A15D8027}"/>
                </a:ext>
              </a:extLst>
            </p:cNvPr>
            <p:cNvSpPr/>
            <p:nvPr/>
          </p:nvSpPr>
          <p:spPr>
            <a:xfrm>
              <a:off x="7250029" y="1543885"/>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a16="http://schemas.microsoft.com/office/drawing/2014/main" id="{BFE3A2A9-48C2-47C9-9B81-F51BCCB06AF6}"/>
                </a:ext>
              </a:extLst>
            </p:cNvPr>
            <p:cNvSpPr/>
            <p:nvPr/>
          </p:nvSpPr>
          <p:spPr>
            <a:xfrm>
              <a:off x="7250029" y="147476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9" name="Oval 148">
              <a:extLst>
                <a:ext uri="{FF2B5EF4-FFF2-40B4-BE49-F238E27FC236}">
                  <a16:creationId xmlns:a16="http://schemas.microsoft.com/office/drawing/2014/main" id="{98EB04C8-7AFD-44AE-893F-14D700CFB70C}"/>
                </a:ext>
              </a:extLst>
            </p:cNvPr>
            <p:cNvSpPr/>
            <p:nvPr/>
          </p:nvSpPr>
          <p:spPr>
            <a:xfrm>
              <a:off x="7250029" y="1405649"/>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0" name="Oval 149">
              <a:extLst>
                <a:ext uri="{FF2B5EF4-FFF2-40B4-BE49-F238E27FC236}">
                  <a16:creationId xmlns:a16="http://schemas.microsoft.com/office/drawing/2014/main" id="{7B9CCD82-AC7D-4E59-BD4A-C7E561668873}"/>
                </a:ext>
              </a:extLst>
            </p:cNvPr>
            <p:cNvSpPr/>
            <p:nvPr/>
          </p:nvSpPr>
          <p:spPr>
            <a:xfrm>
              <a:off x="7250029" y="1336531"/>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Oval 150">
              <a:extLst>
                <a:ext uri="{FF2B5EF4-FFF2-40B4-BE49-F238E27FC236}">
                  <a16:creationId xmlns:a16="http://schemas.microsoft.com/office/drawing/2014/main" id="{F561BDF1-7E65-4CCE-ADFF-5890FFC81F3D}"/>
                </a:ext>
              </a:extLst>
            </p:cNvPr>
            <p:cNvSpPr/>
            <p:nvPr/>
          </p:nvSpPr>
          <p:spPr>
            <a:xfrm>
              <a:off x="7250029" y="1267413"/>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Oval 151">
              <a:extLst>
                <a:ext uri="{FF2B5EF4-FFF2-40B4-BE49-F238E27FC236}">
                  <a16:creationId xmlns:a16="http://schemas.microsoft.com/office/drawing/2014/main" id="{78D04476-46AF-4D3B-8097-1A12BADADE12}"/>
                </a:ext>
              </a:extLst>
            </p:cNvPr>
            <p:cNvSpPr/>
            <p:nvPr/>
          </p:nvSpPr>
          <p:spPr>
            <a:xfrm>
              <a:off x="7250029" y="1198295"/>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Oval 152">
              <a:extLst>
                <a:ext uri="{FF2B5EF4-FFF2-40B4-BE49-F238E27FC236}">
                  <a16:creationId xmlns:a16="http://schemas.microsoft.com/office/drawing/2014/main" id="{BB0F2311-5C02-4180-8A83-8768927330C6}"/>
                </a:ext>
              </a:extLst>
            </p:cNvPr>
            <p:cNvSpPr/>
            <p:nvPr/>
          </p:nvSpPr>
          <p:spPr>
            <a:xfrm>
              <a:off x="7250029" y="112917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Oval 153">
              <a:extLst>
                <a:ext uri="{FF2B5EF4-FFF2-40B4-BE49-F238E27FC236}">
                  <a16:creationId xmlns:a16="http://schemas.microsoft.com/office/drawing/2014/main" id="{CB29E276-11C6-4775-AD0E-BFCC4C2EEEA3}"/>
                </a:ext>
              </a:extLst>
            </p:cNvPr>
            <p:cNvSpPr/>
            <p:nvPr/>
          </p:nvSpPr>
          <p:spPr>
            <a:xfrm>
              <a:off x="7319391" y="175123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Oval 154">
              <a:extLst>
                <a:ext uri="{FF2B5EF4-FFF2-40B4-BE49-F238E27FC236}">
                  <a16:creationId xmlns:a16="http://schemas.microsoft.com/office/drawing/2014/main" id="{D9E33CC6-676D-4359-82D5-CBA7CC1B9710}"/>
                </a:ext>
              </a:extLst>
            </p:cNvPr>
            <p:cNvSpPr/>
            <p:nvPr/>
          </p:nvSpPr>
          <p:spPr>
            <a:xfrm>
              <a:off x="7319391" y="1682121"/>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Oval 155">
              <a:extLst>
                <a:ext uri="{FF2B5EF4-FFF2-40B4-BE49-F238E27FC236}">
                  <a16:creationId xmlns:a16="http://schemas.microsoft.com/office/drawing/2014/main" id="{03EAFBBA-A96B-4946-8E4E-80EC986962E6}"/>
                </a:ext>
              </a:extLst>
            </p:cNvPr>
            <p:cNvSpPr/>
            <p:nvPr/>
          </p:nvSpPr>
          <p:spPr>
            <a:xfrm>
              <a:off x="7319391" y="1613003"/>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Oval 156">
              <a:extLst>
                <a:ext uri="{FF2B5EF4-FFF2-40B4-BE49-F238E27FC236}">
                  <a16:creationId xmlns:a16="http://schemas.microsoft.com/office/drawing/2014/main" id="{FBEAAAF2-F4AB-49CD-9B61-B83DC12983B6}"/>
                </a:ext>
              </a:extLst>
            </p:cNvPr>
            <p:cNvSpPr/>
            <p:nvPr/>
          </p:nvSpPr>
          <p:spPr>
            <a:xfrm>
              <a:off x="7319391" y="1543885"/>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Oval 157">
              <a:extLst>
                <a:ext uri="{FF2B5EF4-FFF2-40B4-BE49-F238E27FC236}">
                  <a16:creationId xmlns:a16="http://schemas.microsoft.com/office/drawing/2014/main" id="{733A6EE5-1A15-4193-B53A-37E8963C4A65}"/>
                </a:ext>
              </a:extLst>
            </p:cNvPr>
            <p:cNvSpPr/>
            <p:nvPr/>
          </p:nvSpPr>
          <p:spPr>
            <a:xfrm>
              <a:off x="7319391" y="147476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Oval 158">
              <a:extLst>
                <a:ext uri="{FF2B5EF4-FFF2-40B4-BE49-F238E27FC236}">
                  <a16:creationId xmlns:a16="http://schemas.microsoft.com/office/drawing/2014/main" id="{6C2BBA22-255F-4273-AB50-331ACCC7CE7B}"/>
                </a:ext>
              </a:extLst>
            </p:cNvPr>
            <p:cNvSpPr/>
            <p:nvPr/>
          </p:nvSpPr>
          <p:spPr>
            <a:xfrm>
              <a:off x="7319391" y="1405649"/>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Oval 159">
              <a:extLst>
                <a:ext uri="{FF2B5EF4-FFF2-40B4-BE49-F238E27FC236}">
                  <a16:creationId xmlns:a16="http://schemas.microsoft.com/office/drawing/2014/main" id="{2B92A059-27D9-4198-8972-90EC7724ABEE}"/>
                </a:ext>
              </a:extLst>
            </p:cNvPr>
            <p:cNvSpPr/>
            <p:nvPr/>
          </p:nvSpPr>
          <p:spPr>
            <a:xfrm>
              <a:off x="7319391" y="1336531"/>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Oval 160">
              <a:extLst>
                <a:ext uri="{FF2B5EF4-FFF2-40B4-BE49-F238E27FC236}">
                  <a16:creationId xmlns:a16="http://schemas.microsoft.com/office/drawing/2014/main" id="{47EBF9B8-5699-4488-A7BE-6A7AA05510FB}"/>
                </a:ext>
              </a:extLst>
            </p:cNvPr>
            <p:cNvSpPr/>
            <p:nvPr/>
          </p:nvSpPr>
          <p:spPr>
            <a:xfrm>
              <a:off x="7319391" y="1267413"/>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a:extLst>
                <a:ext uri="{FF2B5EF4-FFF2-40B4-BE49-F238E27FC236}">
                  <a16:creationId xmlns:a16="http://schemas.microsoft.com/office/drawing/2014/main" id="{34A7FE42-0905-4F03-BB79-C8350D5D1CA7}"/>
                </a:ext>
              </a:extLst>
            </p:cNvPr>
            <p:cNvSpPr/>
            <p:nvPr/>
          </p:nvSpPr>
          <p:spPr>
            <a:xfrm>
              <a:off x="7319391" y="1198295"/>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Oval 162">
              <a:extLst>
                <a:ext uri="{FF2B5EF4-FFF2-40B4-BE49-F238E27FC236}">
                  <a16:creationId xmlns:a16="http://schemas.microsoft.com/office/drawing/2014/main" id="{19195164-FC74-4E29-808E-497F405CE17B}"/>
                </a:ext>
              </a:extLst>
            </p:cNvPr>
            <p:cNvSpPr/>
            <p:nvPr/>
          </p:nvSpPr>
          <p:spPr>
            <a:xfrm>
              <a:off x="7389398" y="175123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val 163">
              <a:extLst>
                <a:ext uri="{FF2B5EF4-FFF2-40B4-BE49-F238E27FC236}">
                  <a16:creationId xmlns:a16="http://schemas.microsoft.com/office/drawing/2014/main" id="{6A634663-17AF-4E7D-8DF7-02D7A1AFACC7}"/>
                </a:ext>
              </a:extLst>
            </p:cNvPr>
            <p:cNvSpPr/>
            <p:nvPr/>
          </p:nvSpPr>
          <p:spPr>
            <a:xfrm>
              <a:off x="7389398" y="1682121"/>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Oval 164">
              <a:extLst>
                <a:ext uri="{FF2B5EF4-FFF2-40B4-BE49-F238E27FC236}">
                  <a16:creationId xmlns:a16="http://schemas.microsoft.com/office/drawing/2014/main" id="{50B8332D-65D2-4D8C-A5B3-E81E954A6667}"/>
                </a:ext>
              </a:extLst>
            </p:cNvPr>
            <p:cNvSpPr/>
            <p:nvPr/>
          </p:nvSpPr>
          <p:spPr>
            <a:xfrm>
              <a:off x="7389398" y="1613003"/>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Oval 165">
              <a:extLst>
                <a:ext uri="{FF2B5EF4-FFF2-40B4-BE49-F238E27FC236}">
                  <a16:creationId xmlns:a16="http://schemas.microsoft.com/office/drawing/2014/main" id="{21FBACF6-BA98-485D-AD65-AC77F4866AB4}"/>
                </a:ext>
              </a:extLst>
            </p:cNvPr>
            <p:cNvSpPr/>
            <p:nvPr/>
          </p:nvSpPr>
          <p:spPr>
            <a:xfrm>
              <a:off x="7389398" y="1543885"/>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Oval 166">
              <a:extLst>
                <a:ext uri="{FF2B5EF4-FFF2-40B4-BE49-F238E27FC236}">
                  <a16:creationId xmlns:a16="http://schemas.microsoft.com/office/drawing/2014/main" id="{F40A27F1-0D7B-4FE0-984A-F1C484BB0C67}"/>
                </a:ext>
              </a:extLst>
            </p:cNvPr>
            <p:cNvSpPr/>
            <p:nvPr/>
          </p:nvSpPr>
          <p:spPr>
            <a:xfrm>
              <a:off x="7389398" y="147476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Oval 167">
              <a:extLst>
                <a:ext uri="{FF2B5EF4-FFF2-40B4-BE49-F238E27FC236}">
                  <a16:creationId xmlns:a16="http://schemas.microsoft.com/office/drawing/2014/main" id="{75B4733B-5B43-42BA-834B-166E991C2E0C}"/>
                </a:ext>
              </a:extLst>
            </p:cNvPr>
            <p:cNvSpPr/>
            <p:nvPr/>
          </p:nvSpPr>
          <p:spPr>
            <a:xfrm>
              <a:off x="7389398" y="1405649"/>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Oval 168">
              <a:extLst>
                <a:ext uri="{FF2B5EF4-FFF2-40B4-BE49-F238E27FC236}">
                  <a16:creationId xmlns:a16="http://schemas.microsoft.com/office/drawing/2014/main" id="{6B6A26A4-8D2C-49EB-8A28-91B27978272F}"/>
                </a:ext>
              </a:extLst>
            </p:cNvPr>
            <p:cNvSpPr/>
            <p:nvPr/>
          </p:nvSpPr>
          <p:spPr>
            <a:xfrm>
              <a:off x="7389398" y="1336531"/>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Oval 169">
              <a:extLst>
                <a:ext uri="{FF2B5EF4-FFF2-40B4-BE49-F238E27FC236}">
                  <a16:creationId xmlns:a16="http://schemas.microsoft.com/office/drawing/2014/main" id="{A010D4F5-E9C9-46AD-8BEE-299BA322A0C3}"/>
                </a:ext>
              </a:extLst>
            </p:cNvPr>
            <p:cNvSpPr/>
            <p:nvPr/>
          </p:nvSpPr>
          <p:spPr>
            <a:xfrm>
              <a:off x="7389398" y="1267413"/>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Oval 170">
              <a:extLst>
                <a:ext uri="{FF2B5EF4-FFF2-40B4-BE49-F238E27FC236}">
                  <a16:creationId xmlns:a16="http://schemas.microsoft.com/office/drawing/2014/main" id="{0C588616-B9E7-4A60-B249-5DDD437861A4}"/>
                </a:ext>
              </a:extLst>
            </p:cNvPr>
            <p:cNvSpPr/>
            <p:nvPr/>
          </p:nvSpPr>
          <p:spPr>
            <a:xfrm>
              <a:off x="7458760" y="175123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Oval 171">
              <a:extLst>
                <a:ext uri="{FF2B5EF4-FFF2-40B4-BE49-F238E27FC236}">
                  <a16:creationId xmlns:a16="http://schemas.microsoft.com/office/drawing/2014/main" id="{547B689F-56A7-42CD-9CC9-9526446CCF57}"/>
                </a:ext>
              </a:extLst>
            </p:cNvPr>
            <p:cNvSpPr/>
            <p:nvPr/>
          </p:nvSpPr>
          <p:spPr>
            <a:xfrm>
              <a:off x="7458760" y="1682121"/>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Oval 172">
              <a:extLst>
                <a:ext uri="{FF2B5EF4-FFF2-40B4-BE49-F238E27FC236}">
                  <a16:creationId xmlns:a16="http://schemas.microsoft.com/office/drawing/2014/main" id="{5962C6FC-970F-41A8-8CF4-7D0C74CF5253}"/>
                </a:ext>
              </a:extLst>
            </p:cNvPr>
            <p:cNvSpPr/>
            <p:nvPr/>
          </p:nvSpPr>
          <p:spPr>
            <a:xfrm>
              <a:off x="7458760" y="1613003"/>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Oval 173">
              <a:extLst>
                <a:ext uri="{FF2B5EF4-FFF2-40B4-BE49-F238E27FC236}">
                  <a16:creationId xmlns:a16="http://schemas.microsoft.com/office/drawing/2014/main" id="{74571610-E8DA-4C90-BA44-A62EEAABB900}"/>
                </a:ext>
              </a:extLst>
            </p:cNvPr>
            <p:cNvSpPr/>
            <p:nvPr/>
          </p:nvSpPr>
          <p:spPr>
            <a:xfrm>
              <a:off x="7458760" y="1543885"/>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Oval 174">
              <a:extLst>
                <a:ext uri="{FF2B5EF4-FFF2-40B4-BE49-F238E27FC236}">
                  <a16:creationId xmlns:a16="http://schemas.microsoft.com/office/drawing/2014/main" id="{B94189D5-DD90-434A-B66D-FE8692A69B8E}"/>
                </a:ext>
              </a:extLst>
            </p:cNvPr>
            <p:cNvSpPr/>
            <p:nvPr/>
          </p:nvSpPr>
          <p:spPr>
            <a:xfrm>
              <a:off x="7458760" y="147476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Oval 175">
              <a:extLst>
                <a:ext uri="{FF2B5EF4-FFF2-40B4-BE49-F238E27FC236}">
                  <a16:creationId xmlns:a16="http://schemas.microsoft.com/office/drawing/2014/main" id="{06183581-16CA-433F-ACF4-5DF795FDC8D1}"/>
                </a:ext>
              </a:extLst>
            </p:cNvPr>
            <p:cNvSpPr/>
            <p:nvPr/>
          </p:nvSpPr>
          <p:spPr>
            <a:xfrm>
              <a:off x="7458760" y="1405649"/>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5C3BF1F5-AA04-4084-AF70-E513C64927BD}"/>
                </a:ext>
              </a:extLst>
            </p:cNvPr>
            <p:cNvSpPr/>
            <p:nvPr/>
          </p:nvSpPr>
          <p:spPr>
            <a:xfrm>
              <a:off x="7458760" y="1336531"/>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A8CB2C39-E008-4837-952C-7A15E0187471}"/>
                </a:ext>
              </a:extLst>
            </p:cNvPr>
            <p:cNvSpPr/>
            <p:nvPr/>
          </p:nvSpPr>
          <p:spPr>
            <a:xfrm>
              <a:off x="7525483" y="175123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50F0278F-69C6-49B7-B4DD-36968672BD7F}"/>
                </a:ext>
              </a:extLst>
            </p:cNvPr>
            <p:cNvSpPr/>
            <p:nvPr/>
          </p:nvSpPr>
          <p:spPr>
            <a:xfrm>
              <a:off x="7525483" y="1682121"/>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Oval 179">
              <a:extLst>
                <a:ext uri="{FF2B5EF4-FFF2-40B4-BE49-F238E27FC236}">
                  <a16:creationId xmlns:a16="http://schemas.microsoft.com/office/drawing/2014/main" id="{1B86BA0E-3607-48E1-B18B-98318A5E87B6}"/>
                </a:ext>
              </a:extLst>
            </p:cNvPr>
            <p:cNvSpPr/>
            <p:nvPr/>
          </p:nvSpPr>
          <p:spPr>
            <a:xfrm>
              <a:off x="7525483" y="1613003"/>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Oval 180">
              <a:extLst>
                <a:ext uri="{FF2B5EF4-FFF2-40B4-BE49-F238E27FC236}">
                  <a16:creationId xmlns:a16="http://schemas.microsoft.com/office/drawing/2014/main" id="{9AC0A518-2BF2-4AC3-8221-C396D3C01F61}"/>
                </a:ext>
              </a:extLst>
            </p:cNvPr>
            <p:cNvSpPr/>
            <p:nvPr/>
          </p:nvSpPr>
          <p:spPr>
            <a:xfrm>
              <a:off x="7525483" y="1543885"/>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Oval 181">
              <a:extLst>
                <a:ext uri="{FF2B5EF4-FFF2-40B4-BE49-F238E27FC236}">
                  <a16:creationId xmlns:a16="http://schemas.microsoft.com/office/drawing/2014/main" id="{310E8A43-DB55-4061-ACF9-143CD44BF0F7}"/>
                </a:ext>
              </a:extLst>
            </p:cNvPr>
            <p:cNvSpPr/>
            <p:nvPr/>
          </p:nvSpPr>
          <p:spPr>
            <a:xfrm>
              <a:off x="7525483" y="147476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Oval 182">
              <a:extLst>
                <a:ext uri="{FF2B5EF4-FFF2-40B4-BE49-F238E27FC236}">
                  <a16:creationId xmlns:a16="http://schemas.microsoft.com/office/drawing/2014/main" id="{DB013444-ED47-447F-AB46-E18A88DEB2AC}"/>
                </a:ext>
              </a:extLst>
            </p:cNvPr>
            <p:cNvSpPr/>
            <p:nvPr/>
          </p:nvSpPr>
          <p:spPr>
            <a:xfrm>
              <a:off x="7525483" y="1405649"/>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Oval 183">
              <a:extLst>
                <a:ext uri="{FF2B5EF4-FFF2-40B4-BE49-F238E27FC236}">
                  <a16:creationId xmlns:a16="http://schemas.microsoft.com/office/drawing/2014/main" id="{75BA6ED6-2101-400E-9EAB-FFF928F08127}"/>
                </a:ext>
              </a:extLst>
            </p:cNvPr>
            <p:cNvSpPr/>
            <p:nvPr/>
          </p:nvSpPr>
          <p:spPr>
            <a:xfrm>
              <a:off x="7594845" y="175123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Oval 184">
              <a:extLst>
                <a:ext uri="{FF2B5EF4-FFF2-40B4-BE49-F238E27FC236}">
                  <a16:creationId xmlns:a16="http://schemas.microsoft.com/office/drawing/2014/main" id="{194CA8F2-9327-475A-A452-EDFB46C515CF}"/>
                </a:ext>
              </a:extLst>
            </p:cNvPr>
            <p:cNvSpPr/>
            <p:nvPr/>
          </p:nvSpPr>
          <p:spPr>
            <a:xfrm>
              <a:off x="7594845" y="1682121"/>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Oval 185">
              <a:extLst>
                <a:ext uri="{FF2B5EF4-FFF2-40B4-BE49-F238E27FC236}">
                  <a16:creationId xmlns:a16="http://schemas.microsoft.com/office/drawing/2014/main" id="{9EFCE55F-1186-4941-9564-7AF44AA7B31E}"/>
                </a:ext>
              </a:extLst>
            </p:cNvPr>
            <p:cNvSpPr/>
            <p:nvPr/>
          </p:nvSpPr>
          <p:spPr>
            <a:xfrm>
              <a:off x="7594845" y="1613003"/>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Oval 186">
              <a:extLst>
                <a:ext uri="{FF2B5EF4-FFF2-40B4-BE49-F238E27FC236}">
                  <a16:creationId xmlns:a16="http://schemas.microsoft.com/office/drawing/2014/main" id="{1F4A2F0D-C8BC-4E63-B969-A5198EB45F8F}"/>
                </a:ext>
              </a:extLst>
            </p:cNvPr>
            <p:cNvSpPr/>
            <p:nvPr/>
          </p:nvSpPr>
          <p:spPr>
            <a:xfrm>
              <a:off x="7594845" y="1543885"/>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Oval 187">
              <a:extLst>
                <a:ext uri="{FF2B5EF4-FFF2-40B4-BE49-F238E27FC236}">
                  <a16:creationId xmlns:a16="http://schemas.microsoft.com/office/drawing/2014/main" id="{8E9CF0A8-DB4E-4B67-B64C-E24804C1538F}"/>
                </a:ext>
              </a:extLst>
            </p:cNvPr>
            <p:cNvSpPr/>
            <p:nvPr/>
          </p:nvSpPr>
          <p:spPr>
            <a:xfrm>
              <a:off x="7594845" y="147476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Oval 188">
              <a:extLst>
                <a:ext uri="{FF2B5EF4-FFF2-40B4-BE49-F238E27FC236}">
                  <a16:creationId xmlns:a16="http://schemas.microsoft.com/office/drawing/2014/main" id="{EE05C8CC-EB08-4CB4-9721-666612749D87}"/>
                </a:ext>
              </a:extLst>
            </p:cNvPr>
            <p:cNvSpPr/>
            <p:nvPr/>
          </p:nvSpPr>
          <p:spPr>
            <a:xfrm>
              <a:off x="7664852" y="175123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Oval 189">
              <a:extLst>
                <a:ext uri="{FF2B5EF4-FFF2-40B4-BE49-F238E27FC236}">
                  <a16:creationId xmlns:a16="http://schemas.microsoft.com/office/drawing/2014/main" id="{78DF647E-2912-4ECC-805F-1D6EE47B9C8B}"/>
                </a:ext>
              </a:extLst>
            </p:cNvPr>
            <p:cNvSpPr/>
            <p:nvPr/>
          </p:nvSpPr>
          <p:spPr>
            <a:xfrm>
              <a:off x="7664852" y="1682121"/>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Oval 190">
              <a:extLst>
                <a:ext uri="{FF2B5EF4-FFF2-40B4-BE49-F238E27FC236}">
                  <a16:creationId xmlns:a16="http://schemas.microsoft.com/office/drawing/2014/main" id="{5301CCF6-F79C-4FCC-BB20-D8198538B7FB}"/>
                </a:ext>
              </a:extLst>
            </p:cNvPr>
            <p:cNvSpPr/>
            <p:nvPr/>
          </p:nvSpPr>
          <p:spPr>
            <a:xfrm>
              <a:off x="7664852" y="1613003"/>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Oval 191">
              <a:extLst>
                <a:ext uri="{FF2B5EF4-FFF2-40B4-BE49-F238E27FC236}">
                  <a16:creationId xmlns:a16="http://schemas.microsoft.com/office/drawing/2014/main" id="{BB8E5A9B-9D47-4719-8FBA-FF1BE490598A}"/>
                </a:ext>
              </a:extLst>
            </p:cNvPr>
            <p:cNvSpPr/>
            <p:nvPr/>
          </p:nvSpPr>
          <p:spPr>
            <a:xfrm>
              <a:off x="7664852" y="1543885"/>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a:extLst>
                <a:ext uri="{FF2B5EF4-FFF2-40B4-BE49-F238E27FC236}">
                  <a16:creationId xmlns:a16="http://schemas.microsoft.com/office/drawing/2014/main" id="{74BEFD6E-319A-4E11-9C3D-8C86A0FE4AE8}"/>
                </a:ext>
              </a:extLst>
            </p:cNvPr>
            <p:cNvSpPr/>
            <p:nvPr/>
          </p:nvSpPr>
          <p:spPr>
            <a:xfrm>
              <a:off x="7734214" y="175123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Oval 193">
              <a:extLst>
                <a:ext uri="{FF2B5EF4-FFF2-40B4-BE49-F238E27FC236}">
                  <a16:creationId xmlns:a16="http://schemas.microsoft.com/office/drawing/2014/main" id="{707F8066-6FDE-4F12-B264-0C153D4A0425}"/>
                </a:ext>
              </a:extLst>
            </p:cNvPr>
            <p:cNvSpPr/>
            <p:nvPr/>
          </p:nvSpPr>
          <p:spPr>
            <a:xfrm>
              <a:off x="7734214" y="1682121"/>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Oval 194">
              <a:extLst>
                <a:ext uri="{FF2B5EF4-FFF2-40B4-BE49-F238E27FC236}">
                  <a16:creationId xmlns:a16="http://schemas.microsoft.com/office/drawing/2014/main" id="{5F4AD51B-2F2D-4E91-9451-4A58B8CF18BE}"/>
                </a:ext>
              </a:extLst>
            </p:cNvPr>
            <p:cNvSpPr/>
            <p:nvPr/>
          </p:nvSpPr>
          <p:spPr>
            <a:xfrm>
              <a:off x="7734214" y="1613003"/>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6" name="Oval 195">
              <a:extLst>
                <a:ext uri="{FF2B5EF4-FFF2-40B4-BE49-F238E27FC236}">
                  <a16:creationId xmlns:a16="http://schemas.microsoft.com/office/drawing/2014/main" id="{AF391D34-B8B8-41B4-9EA7-11EF3F8BD4D5}"/>
                </a:ext>
              </a:extLst>
            </p:cNvPr>
            <p:cNvSpPr/>
            <p:nvPr/>
          </p:nvSpPr>
          <p:spPr>
            <a:xfrm>
              <a:off x="7803576" y="175123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Oval 196">
              <a:extLst>
                <a:ext uri="{FF2B5EF4-FFF2-40B4-BE49-F238E27FC236}">
                  <a16:creationId xmlns:a16="http://schemas.microsoft.com/office/drawing/2014/main" id="{40236924-2182-4D75-B078-26EE0BDE474C}"/>
                </a:ext>
              </a:extLst>
            </p:cNvPr>
            <p:cNvSpPr/>
            <p:nvPr/>
          </p:nvSpPr>
          <p:spPr>
            <a:xfrm>
              <a:off x="7803576" y="1682121"/>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Oval 197">
              <a:extLst>
                <a:ext uri="{FF2B5EF4-FFF2-40B4-BE49-F238E27FC236}">
                  <a16:creationId xmlns:a16="http://schemas.microsoft.com/office/drawing/2014/main" id="{521B17F1-C411-4399-8B6E-E4C511B4DD19}"/>
                </a:ext>
              </a:extLst>
            </p:cNvPr>
            <p:cNvSpPr/>
            <p:nvPr/>
          </p:nvSpPr>
          <p:spPr>
            <a:xfrm>
              <a:off x="7872938" y="1751237"/>
              <a:ext cx="45719" cy="45719"/>
            </a:xfrm>
            <a:prstGeom prst="ellipse">
              <a:avLst/>
            </a:prstGeom>
            <a:grpFill/>
            <a:ln w="63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9" name="Group 138">
            <a:extLst>
              <a:ext uri="{FF2B5EF4-FFF2-40B4-BE49-F238E27FC236}">
                <a16:creationId xmlns:a16="http://schemas.microsoft.com/office/drawing/2014/main" id="{A9A24938-D9E9-4C7A-8A47-E19896F9F040}"/>
              </a:ext>
            </a:extLst>
          </p:cNvPr>
          <p:cNvGrpSpPr/>
          <p:nvPr/>
        </p:nvGrpSpPr>
        <p:grpSpPr>
          <a:xfrm flipH="1">
            <a:off x="6544415" y="836657"/>
            <a:ext cx="1406390" cy="1404599"/>
            <a:chOff x="7250029" y="1129177"/>
            <a:chExt cx="668628" cy="667779"/>
          </a:xfrm>
        </p:grpSpPr>
        <p:sp>
          <p:nvSpPr>
            <p:cNvPr id="18" name="Oval 17">
              <a:extLst>
                <a:ext uri="{FF2B5EF4-FFF2-40B4-BE49-F238E27FC236}">
                  <a16:creationId xmlns:a16="http://schemas.microsoft.com/office/drawing/2014/main" id="{A5D37CE8-890B-4640-B1BA-B3680E0D2882}"/>
                </a:ext>
              </a:extLst>
            </p:cNvPr>
            <p:cNvSpPr/>
            <p:nvPr/>
          </p:nvSpPr>
          <p:spPr>
            <a:xfrm>
              <a:off x="7250029" y="175123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6613365B-1092-4E19-A32D-BB02AD1B5981}"/>
                </a:ext>
              </a:extLst>
            </p:cNvPr>
            <p:cNvSpPr/>
            <p:nvPr/>
          </p:nvSpPr>
          <p:spPr>
            <a:xfrm>
              <a:off x="7250029" y="1682121"/>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256F33B0-F449-423E-BA3B-3507E9E29C23}"/>
                </a:ext>
              </a:extLst>
            </p:cNvPr>
            <p:cNvSpPr/>
            <p:nvPr/>
          </p:nvSpPr>
          <p:spPr>
            <a:xfrm>
              <a:off x="7250029" y="1613003"/>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E18E4DBE-7821-4C41-B7DF-CC45A5C45844}"/>
                </a:ext>
              </a:extLst>
            </p:cNvPr>
            <p:cNvSpPr/>
            <p:nvPr/>
          </p:nvSpPr>
          <p:spPr>
            <a:xfrm>
              <a:off x="7250029" y="1543885"/>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47966808-42A1-4D8C-AA8A-0B279DAE8F47}"/>
                </a:ext>
              </a:extLst>
            </p:cNvPr>
            <p:cNvSpPr/>
            <p:nvPr/>
          </p:nvSpPr>
          <p:spPr>
            <a:xfrm>
              <a:off x="7250029" y="147476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B74DDA7A-F726-495E-AAF0-5761576EFEA0}"/>
                </a:ext>
              </a:extLst>
            </p:cNvPr>
            <p:cNvSpPr/>
            <p:nvPr/>
          </p:nvSpPr>
          <p:spPr>
            <a:xfrm>
              <a:off x="7250029" y="1405649"/>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D30333BA-1E32-4B33-909B-9DC9B3D79A5D}"/>
                </a:ext>
              </a:extLst>
            </p:cNvPr>
            <p:cNvSpPr/>
            <p:nvPr/>
          </p:nvSpPr>
          <p:spPr>
            <a:xfrm>
              <a:off x="7250029" y="1336531"/>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7B8378AF-A27A-47DB-ADEA-BC813327D37A}"/>
                </a:ext>
              </a:extLst>
            </p:cNvPr>
            <p:cNvSpPr/>
            <p:nvPr/>
          </p:nvSpPr>
          <p:spPr>
            <a:xfrm>
              <a:off x="7250029" y="1267413"/>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AEC37B5C-D86B-47F3-9872-6221A07144F7}"/>
                </a:ext>
              </a:extLst>
            </p:cNvPr>
            <p:cNvSpPr/>
            <p:nvPr/>
          </p:nvSpPr>
          <p:spPr>
            <a:xfrm>
              <a:off x="7250029" y="1198295"/>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B53B85AA-3A2A-40C8-AF8F-25746DD69AEB}"/>
                </a:ext>
              </a:extLst>
            </p:cNvPr>
            <p:cNvSpPr/>
            <p:nvPr/>
          </p:nvSpPr>
          <p:spPr>
            <a:xfrm>
              <a:off x="7250029" y="112917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A610BB9D-0BB4-45B3-BCBE-DEB57DFC029F}"/>
                </a:ext>
              </a:extLst>
            </p:cNvPr>
            <p:cNvSpPr/>
            <p:nvPr/>
          </p:nvSpPr>
          <p:spPr>
            <a:xfrm>
              <a:off x="7319391" y="175123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30E0C497-05DF-40AB-BA19-B94AEC9306F6}"/>
                </a:ext>
              </a:extLst>
            </p:cNvPr>
            <p:cNvSpPr/>
            <p:nvPr/>
          </p:nvSpPr>
          <p:spPr>
            <a:xfrm>
              <a:off x="7319391" y="1682121"/>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6DA0C992-1F3A-4C82-A1D7-341C0753D9BC}"/>
                </a:ext>
              </a:extLst>
            </p:cNvPr>
            <p:cNvSpPr/>
            <p:nvPr/>
          </p:nvSpPr>
          <p:spPr>
            <a:xfrm>
              <a:off x="7319391" y="1613003"/>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7A1A76F3-8382-4496-8C57-1CF53B669329}"/>
                </a:ext>
              </a:extLst>
            </p:cNvPr>
            <p:cNvSpPr/>
            <p:nvPr/>
          </p:nvSpPr>
          <p:spPr>
            <a:xfrm>
              <a:off x="7319391" y="1543885"/>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A87EFC16-AD17-44F4-A1DA-6ED7FC271448}"/>
                </a:ext>
              </a:extLst>
            </p:cNvPr>
            <p:cNvSpPr/>
            <p:nvPr/>
          </p:nvSpPr>
          <p:spPr>
            <a:xfrm>
              <a:off x="7319391" y="147476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04B3A9DA-FF4B-4208-8455-5DE40FC7806B}"/>
                </a:ext>
              </a:extLst>
            </p:cNvPr>
            <p:cNvSpPr/>
            <p:nvPr/>
          </p:nvSpPr>
          <p:spPr>
            <a:xfrm>
              <a:off x="7319391" y="1405649"/>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365BB025-B088-42A7-A6C9-905FE87C71CB}"/>
                </a:ext>
              </a:extLst>
            </p:cNvPr>
            <p:cNvSpPr/>
            <p:nvPr/>
          </p:nvSpPr>
          <p:spPr>
            <a:xfrm>
              <a:off x="7319391" y="1336531"/>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FE493CD6-9B2F-42E2-A84E-C6D1DD9E250A}"/>
                </a:ext>
              </a:extLst>
            </p:cNvPr>
            <p:cNvSpPr/>
            <p:nvPr/>
          </p:nvSpPr>
          <p:spPr>
            <a:xfrm>
              <a:off x="7319391" y="1267413"/>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7BDD288F-FF2C-413D-AB5C-CEB1819E23D9}"/>
                </a:ext>
              </a:extLst>
            </p:cNvPr>
            <p:cNvSpPr/>
            <p:nvPr/>
          </p:nvSpPr>
          <p:spPr>
            <a:xfrm>
              <a:off x="7319391" y="1198295"/>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6D0C08ED-5ACA-44E7-A1F9-4A2DF7056C90}"/>
                </a:ext>
              </a:extLst>
            </p:cNvPr>
            <p:cNvSpPr/>
            <p:nvPr/>
          </p:nvSpPr>
          <p:spPr>
            <a:xfrm>
              <a:off x="7389398" y="175123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CA38D356-3215-4536-9F26-E822C0CE0372}"/>
                </a:ext>
              </a:extLst>
            </p:cNvPr>
            <p:cNvSpPr/>
            <p:nvPr/>
          </p:nvSpPr>
          <p:spPr>
            <a:xfrm>
              <a:off x="7389398" y="1682121"/>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CC937D81-4A81-4F27-8FE3-2C5F14EC146C}"/>
                </a:ext>
              </a:extLst>
            </p:cNvPr>
            <p:cNvSpPr/>
            <p:nvPr/>
          </p:nvSpPr>
          <p:spPr>
            <a:xfrm>
              <a:off x="7389398" y="1613003"/>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4D7AC4D6-5AAB-4F3F-B546-652B7AD61607}"/>
                </a:ext>
              </a:extLst>
            </p:cNvPr>
            <p:cNvSpPr/>
            <p:nvPr/>
          </p:nvSpPr>
          <p:spPr>
            <a:xfrm>
              <a:off x="7389398" y="1543885"/>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8D7F4E60-D485-47E4-A3E7-56E6C3A11461}"/>
                </a:ext>
              </a:extLst>
            </p:cNvPr>
            <p:cNvSpPr/>
            <p:nvPr/>
          </p:nvSpPr>
          <p:spPr>
            <a:xfrm>
              <a:off x="7389398" y="147476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62D67CC2-CE67-415A-87DE-E411D27FAA21}"/>
                </a:ext>
              </a:extLst>
            </p:cNvPr>
            <p:cNvSpPr/>
            <p:nvPr/>
          </p:nvSpPr>
          <p:spPr>
            <a:xfrm>
              <a:off x="7389398" y="1405649"/>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FFF865EA-3CA7-4BB1-B0E8-A80B5E9AFA3E}"/>
                </a:ext>
              </a:extLst>
            </p:cNvPr>
            <p:cNvSpPr/>
            <p:nvPr/>
          </p:nvSpPr>
          <p:spPr>
            <a:xfrm>
              <a:off x="7389398" y="1336531"/>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45E8618B-A659-4B48-A52D-4787B55DB307}"/>
                </a:ext>
              </a:extLst>
            </p:cNvPr>
            <p:cNvSpPr/>
            <p:nvPr/>
          </p:nvSpPr>
          <p:spPr>
            <a:xfrm>
              <a:off x="7389398" y="1267413"/>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2A38E0AA-2501-469C-9AD0-DC28F0CACA3A}"/>
                </a:ext>
              </a:extLst>
            </p:cNvPr>
            <p:cNvSpPr/>
            <p:nvPr/>
          </p:nvSpPr>
          <p:spPr>
            <a:xfrm>
              <a:off x="7458760" y="175123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5C8449B6-44BC-4987-98AA-0D42B7D05F23}"/>
                </a:ext>
              </a:extLst>
            </p:cNvPr>
            <p:cNvSpPr/>
            <p:nvPr/>
          </p:nvSpPr>
          <p:spPr>
            <a:xfrm>
              <a:off x="7458760" y="1682121"/>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Oval 49">
              <a:extLst>
                <a:ext uri="{FF2B5EF4-FFF2-40B4-BE49-F238E27FC236}">
                  <a16:creationId xmlns:a16="http://schemas.microsoft.com/office/drawing/2014/main" id="{32F33B06-EB8C-4341-A741-266990F3C20F}"/>
                </a:ext>
              </a:extLst>
            </p:cNvPr>
            <p:cNvSpPr/>
            <p:nvPr/>
          </p:nvSpPr>
          <p:spPr>
            <a:xfrm>
              <a:off x="7458760" y="1613003"/>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4707A2B7-0EBC-4A87-8BE7-266797083B38}"/>
                </a:ext>
              </a:extLst>
            </p:cNvPr>
            <p:cNvSpPr/>
            <p:nvPr/>
          </p:nvSpPr>
          <p:spPr>
            <a:xfrm>
              <a:off x="7458760" y="1543885"/>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8F9FD46D-2A56-45F8-BA91-EE1C54C18317}"/>
                </a:ext>
              </a:extLst>
            </p:cNvPr>
            <p:cNvSpPr/>
            <p:nvPr/>
          </p:nvSpPr>
          <p:spPr>
            <a:xfrm>
              <a:off x="7458760" y="147476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13A19E83-66F5-4FFD-9BDC-291867FFBE39}"/>
                </a:ext>
              </a:extLst>
            </p:cNvPr>
            <p:cNvSpPr/>
            <p:nvPr/>
          </p:nvSpPr>
          <p:spPr>
            <a:xfrm>
              <a:off x="7458760" y="1405649"/>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Oval 53">
              <a:extLst>
                <a:ext uri="{FF2B5EF4-FFF2-40B4-BE49-F238E27FC236}">
                  <a16:creationId xmlns:a16="http://schemas.microsoft.com/office/drawing/2014/main" id="{3E011C57-477F-49CC-9C17-5D160F81DE3C}"/>
                </a:ext>
              </a:extLst>
            </p:cNvPr>
            <p:cNvSpPr/>
            <p:nvPr/>
          </p:nvSpPr>
          <p:spPr>
            <a:xfrm>
              <a:off x="7458760" y="1336531"/>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Oval 57">
              <a:extLst>
                <a:ext uri="{FF2B5EF4-FFF2-40B4-BE49-F238E27FC236}">
                  <a16:creationId xmlns:a16="http://schemas.microsoft.com/office/drawing/2014/main" id="{846A5520-4028-4E02-9EE2-79B848FEA4EA}"/>
                </a:ext>
              </a:extLst>
            </p:cNvPr>
            <p:cNvSpPr/>
            <p:nvPr/>
          </p:nvSpPr>
          <p:spPr>
            <a:xfrm>
              <a:off x="7525483" y="175123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Oval 58">
              <a:extLst>
                <a:ext uri="{FF2B5EF4-FFF2-40B4-BE49-F238E27FC236}">
                  <a16:creationId xmlns:a16="http://schemas.microsoft.com/office/drawing/2014/main" id="{3FFDCD82-C11D-4FCD-8AE4-04BEDA83344A}"/>
                </a:ext>
              </a:extLst>
            </p:cNvPr>
            <p:cNvSpPr/>
            <p:nvPr/>
          </p:nvSpPr>
          <p:spPr>
            <a:xfrm>
              <a:off x="7525483" y="1682121"/>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9E399AEA-E428-46FA-9D9A-941BEA4F8AE9}"/>
                </a:ext>
              </a:extLst>
            </p:cNvPr>
            <p:cNvSpPr/>
            <p:nvPr/>
          </p:nvSpPr>
          <p:spPr>
            <a:xfrm>
              <a:off x="7525483" y="1613003"/>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40E7C052-68A0-4FE8-982C-03CCCB208DD6}"/>
                </a:ext>
              </a:extLst>
            </p:cNvPr>
            <p:cNvSpPr/>
            <p:nvPr/>
          </p:nvSpPr>
          <p:spPr>
            <a:xfrm>
              <a:off x="7525483" y="1543885"/>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a:extLst>
                <a:ext uri="{FF2B5EF4-FFF2-40B4-BE49-F238E27FC236}">
                  <a16:creationId xmlns:a16="http://schemas.microsoft.com/office/drawing/2014/main" id="{00DF76A5-338D-46B6-9223-10E5CB2BCE56}"/>
                </a:ext>
              </a:extLst>
            </p:cNvPr>
            <p:cNvSpPr/>
            <p:nvPr/>
          </p:nvSpPr>
          <p:spPr>
            <a:xfrm>
              <a:off x="7525483" y="147476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a:extLst>
                <a:ext uri="{FF2B5EF4-FFF2-40B4-BE49-F238E27FC236}">
                  <a16:creationId xmlns:a16="http://schemas.microsoft.com/office/drawing/2014/main" id="{EF05A002-5D34-4F64-AC20-29A99A7F1A2D}"/>
                </a:ext>
              </a:extLst>
            </p:cNvPr>
            <p:cNvSpPr/>
            <p:nvPr/>
          </p:nvSpPr>
          <p:spPr>
            <a:xfrm>
              <a:off x="7525483" y="1405649"/>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a:extLst>
                <a:ext uri="{FF2B5EF4-FFF2-40B4-BE49-F238E27FC236}">
                  <a16:creationId xmlns:a16="http://schemas.microsoft.com/office/drawing/2014/main" id="{139BB765-4A32-4465-9975-834465E363B7}"/>
                </a:ext>
              </a:extLst>
            </p:cNvPr>
            <p:cNvSpPr/>
            <p:nvPr/>
          </p:nvSpPr>
          <p:spPr>
            <a:xfrm>
              <a:off x="7594845" y="175123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1F32FA84-6236-4DD2-86CE-ECEC9B13A56D}"/>
                </a:ext>
              </a:extLst>
            </p:cNvPr>
            <p:cNvSpPr/>
            <p:nvPr/>
          </p:nvSpPr>
          <p:spPr>
            <a:xfrm>
              <a:off x="7594845" y="1682121"/>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E9D8D916-7D9C-4EDF-975E-20CA29036780}"/>
                </a:ext>
              </a:extLst>
            </p:cNvPr>
            <p:cNvSpPr/>
            <p:nvPr/>
          </p:nvSpPr>
          <p:spPr>
            <a:xfrm>
              <a:off x="7594845" y="1613003"/>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a:extLst>
                <a:ext uri="{FF2B5EF4-FFF2-40B4-BE49-F238E27FC236}">
                  <a16:creationId xmlns:a16="http://schemas.microsoft.com/office/drawing/2014/main" id="{1E9CEC11-D2CE-494C-B5C9-E8C3D0B6347F}"/>
                </a:ext>
              </a:extLst>
            </p:cNvPr>
            <p:cNvSpPr/>
            <p:nvPr/>
          </p:nvSpPr>
          <p:spPr>
            <a:xfrm>
              <a:off x="7594845" y="1543885"/>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a:extLst>
                <a:ext uri="{FF2B5EF4-FFF2-40B4-BE49-F238E27FC236}">
                  <a16:creationId xmlns:a16="http://schemas.microsoft.com/office/drawing/2014/main" id="{74B6FCFE-ED61-4464-8D47-9B3E7B22C093}"/>
                </a:ext>
              </a:extLst>
            </p:cNvPr>
            <p:cNvSpPr/>
            <p:nvPr/>
          </p:nvSpPr>
          <p:spPr>
            <a:xfrm>
              <a:off x="7594845" y="147476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6F412E81-0CB2-439C-A927-C8F5A659285D}"/>
                </a:ext>
              </a:extLst>
            </p:cNvPr>
            <p:cNvSpPr/>
            <p:nvPr/>
          </p:nvSpPr>
          <p:spPr>
            <a:xfrm>
              <a:off x="7664852" y="175123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D1179921-C99A-4E8F-ADBC-0CB3F04420EA}"/>
                </a:ext>
              </a:extLst>
            </p:cNvPr>
            <p:cNvSpPr/>
            <p:nvPr/>
          </p:nvSpPr>
          <p:spPr>
            <a:xfrm>
              <a:off x="7664852" y="1682121"/>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a:extLst>
                <a:ext uri="{FF2B5EF4-FFF2-40B4-BE49-F238E27FC236}">
                  <a16:creationId xmlns:a16="http://schemas.microsoft.com/office/drawing/2014/main" id="{5F39579D-040B-4A15-8E5D-BD233A2B64B1}"/>
                </a:ext>
              </a:extLst>
            </p:cNvPr>
            <p:cNvSpPr/>
            <p:nvPr/>
          </p:nvSpPr>
          <p:spPr>
            <a:xfrm>
              <a:off x="7664852" y="1613003"/>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a:extLst>
                <a:ext uri="{FF2B5EF4-FFF2-40B4-BE49-F238E27FC236}">
                  <a16:creationId xmlns:a16="http://schemas.microsoft.com/office/drawing/2014/main" id="{AB8E94EB-3A7D-4561-BA1F-6D14ED32E636}"/>
                </a:ext>
              </a:extLst>
            </p:cNvPr>
            <p:cNvSpPr/>
            <p:nvPr/>
          </p:nvSpPr>
          <p:spPr>
            <a:xfrm>
              <a:off x="7664852" y="1543885"/>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a:extLst>
                <a:ext uri="{FF2B5EF4-FFF2-40B4-BE49-F238E27FC236}">
                  <a16:creationId xmlns:a16="http://schemas.microsoft.com/office/drawing/2014/main" id="{37E978AF-7D8D-4FF7-A200-6601DF9B8FFE}"/>
                </a:ext>
              </a:extLst>
            </p:cNvPr>
            <p:cNvSpPr/>
            <p:nvPr/>
          </p:nvSpPr>
          <p:spPr>
            <a:xfrm>
              <a:off x="7734214" y="175123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4AA6FB2A-6BDA-400F-B038-01A8FD495D42}"/>
                </a:ext>
              </a:extLst>
            </p:cNvPr>
            <p:cNvSpPr/>
            <p:nvPr/>
          </p:nvSpPr>
          <p:spPr>
            <a:xfrm>
              <a:off x="7734214" y="1682121"/>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656FDD7C-AC32-45C7-8026-B88573C6CE69}"/>
                </a:ext>
              </a:extLst>
            </p:cNvPr>
            <p:cNvSpPr/>
            <p:nvPr/>
          </p:nvSpPr>
          <p:spPr>
            <a:xfrm>
              <a:off x="7734214" y="1613003"/>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a16="http://schemas.microsoft.com/office/drawing/2014/main" id="{710ECF92-1C6E-4544-A635-DBB1331E113A}"/>
                </a:ext>
              </a:extLst>
            </p:cNvPr>
            <p:cNvSpPr/>
            <p:nvPr/>
          </p:nvSpPr>
          <p:spPr>
            <a:xfrm>
              <a:off x="7803576" y="175123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F668E6DF-28C1-429E-95E6-AB7F451C1DA5}"/>
                </a:ext>
              </a:extLst>
            </p:cNvPr>
            <p:cNvSpPr/>
            <p:nvPr/>
          </p:nvSpPr>
          <p:spPr>
            <a:xfrm>
              <a:off x="7803576" y="1682121"/>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a:extLst>
                <a:ext uri="{FF2B5EF4-FFF2-40B4-BE49-F238E27FC236}">
                  <a16:creationId xmlns:a16="http://schemas.microsoft.com/office/drawing/2014/main" id="{7BB160C7-AE46-4432-A74E-61CE054D6759}"/>
                </a:ext>
              </a:extLst>
            </p:cNvPr>
            <p:cNvSpPr/>
            <p:nvPr/>
          </p:nvSpPr>
          <p:spPr>
            <a:xfrm>
              <a:off x="7872938" y="1751237"/>
              <a:ext cx="45719" cy="45719"/>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3" name="Picture 222" descr="A person sitting on a chair&#10;&#10;Description automatically generated">
            <a:extLst>
              <a:ext uri="{FF2B5EF4-FFF2-40B4-BE49-F238E27FC236}">
                <a16:creationId xmlns:a16="http://schemas.microsoft.com/office/drawing/2014/main" id="{BE747783-5BAC-4C05-AE03-EBA6E1093AC8}"/>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5577033" y="1264507"/>
            <a:ext cx="2704764" cy="2989159"/>
          </a:xfrm>
          <a:custGeom>
            <a:avLst/>
            <a:gdLst>
              <a:gd name="connsiteX0" fmla="*/ 0 w 2704764"/>
              <a:gd name="connsiteY0" fmla="*/ 0 h 2989159"/>
              <a:gd name="connsiteX1" fmla="*/ 2704764 w 2704764"/>
              <a:gd name="connsiteY1" fmla="*/ 0 h 2989159"/>
              <a:gd name="connsiteX2" fmla="*/ 2704764 w 2704764"/>
              <a:gd name="connsiteY2" fmla="*/ 2562854 h 2989159"/>
              <a:gd name="connsiteX3" fmla="*/ 2606302 w 2704764"/>
              <a:gd name="connsiteY3" fmla="*/ 2622671 h 2989159"/>
              <a:gd name="connsiteX4" fmla="*/ 1158929 w 2704764"/>
              <a:gd name="connsiteY4" fmla="*/ 2989159 h 2989159"/>
              <a:gd name="connsiteX5" fmla="*/ 255969 w 2704764"/>
              <a:gd name="connsiteY5" fmla="*/ 2852644 h 2989159"/>
              <a:gd name="connsiteX6" fmla="*/ 0 w 2704764"/>
              <a:gd name="connsiteY6" fmla="*/ 2758959 h 298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04764" h="2989159">
                <a:moveTo>
                  <a:pt x="0" y="0"/>
                </a:moveTo>
                <a:lnTo>
                  <a:pt x="2704764" y="0"/>
                </a:lnTo>
                <a:lnTo>
                  <a:pt x="2704764" y="2562854"/>
                </a:lnTo>
                <a:lnTo>
                  <a:pt x="2606302" y="2622671"/>
                </a:lnTo>
                <a:cubicBezTo>
                  <a:pt x="2176052" y="2856397"/>
                  <a:pt x="1682995" y="2989159"/>
                  <a:pt x="1158929" y="2989159"/>
                </a:cubicBezTo>
                <a:cubicBezTo>
                  <a:pt x="844490" y="2989159"/>
                  <a:pt x="541214" y="2941365"/>
                  <a:pt x="255969" y="2852644"/>
                </a:cubicBezTo>
                <a:lnTo>
                  <a:pt x="0" y="2758959"/>
                </a:lnTo>
                <a:close/>
              </a:path>
            </a:pathLst>
          </a:custGeom>
        </p:spPr>
      </p:pic>
      <p:grpSp>
        <p:nvGrpSpPr>
          <p:cNvPr id="13" name="Group 12">
            <a:extLst>
              <a:ext uri="{FF2B5EF4-FFF2-40B4-BE49-F238E27FC236}">
                <a16:creationId xmlns:a16="http://schemas.microsoft.com/office/drawing/2014/main" id="{0A7F51F2-9F53-4062-A850-E25AB01C1AEE}"/>
              </a:ext>
            </a:extLst>
          </p:cNvPr>
          <p:cNvGrpSpPr/>
          <p:nvPr/>
        </p:nvGrpSpPr>
        <p:grpSpPr>
          <a:xfrm rot="20059151">
            <a:off x="5116753" y="3653939"/>
            <a:ext cx="1225785" cy="514604"/>
            <a:chOff x="4855297" y="3668900"/>
            <a:chExt cx="1042936" cy="437841"/>
          </a:xfrm>
        </p:grpSpPr>
        <p:pic>
          <p:nvPicPr>
            <p:cNvPr id="11" name="Picture 10" descr="A picture containing sitting, photo, black, table&#10;&#10;Description automatically generated">
              <a:extLst>
                <a:ext uri="{FF2B5EF4-FFF2-40B4-BE49-F238E27FC236}">
                  <a16:creationId xmlns:a16="http://schemas.microsoft.com/office/drawing/2014/main" id="{C2DEAEBA-5D51-4BD2-B95F-7142E4B439C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rot="665426">
              <a:off x="4855297" y="3668900"/>
              <a:ext cx="904620" cy="437841"/>
            </a:xfrm>
            <a:prstGeom prst="rect">
              <a:avLst/>
            </a:prstGeom>
          </p:spPr>
        </p:pic>
        <p:pic>
          <p:nvPicPr>
            <p:cNvPr id="12" name="Picture 11" descr="A picture containing sitting, photo, black, table&#10;&#10;Description automatically generated">
              <a:extLst>
                <a:ext uri="{FF2B5EF4-FFF2-40B4-BE49-F238E27FC236}">
                  <a16:creationId xmlns:a16="http://schemas.microsoft.com/office/drawing/2014/main" id="{26323919-6B81-47A2-9C66-7860038A448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2406420">
              <a:off x="5743314" y="3830133"/>
              <a:ext cx="154919" cy="115372"/>
            </a:xfrm>
            <a:prstGeom prst="rect">
              <a:avLst/>
            </a:prstGeom>
          </p:spPr>
        </p:pic>
      </p:grpSp>
      <p:sp>
        <p:nvSpPr>
          <p:cNvPr id="15" name="Oval 14">
            <a:extLst>
              <a:ext uri="{FF2B5EF4-FFF2-40B4-BE49-F238E27FC236}">
                <a16:creationId xmlns:a16="http://schemas.microsoft.com/office/drawing/2014/main" id="{BD907335-0E76-4AD8-B8B6-3A81209917DC}"/>
              </a:ext>
            </a:extLst>
          </p:cNvPr>
          <p:cNvSpPr/>
          <p:nvPr/>
        </p:nvSpPr>
        <p:spPr>
          <a:xfrm>
            <a:off x="6020020" y="3503470"/>
            <a:ext cx="349768" cy="349768"/>
          </a:xfrm>
          <a:prstGeom prst="ellipse">
            <a:avLst/>
          </a:prstGeom>
          <a:solidFill>
            <a:schemeClr val="accent6">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Rectangle: Rounded Corners 139">
            <a:extLst>
              <a:ext uri="{FF2B5EF4-FFF2-40B4-BE49-F238E27FC236}">
                <a16:creationId xmlns:a16="http://schemas.microsoft.com/office/drawing/2014/main" id="{56B45817-A1D5-4666-8AF8-C916D55659E3}"/>
              </a:ext>
            </a:extLst>
          </p:cNvPr>
          <p:cNvSpPr/>
          <p:nvPr/>
        </p:nvSpPr>
        <p:spPr>
          <a:xfrm>
            <a:off x="8075409" y="2241279"/>
            <a:ext cx="133973" cy="151274"/>
          </a:xfrm>
          <a:prstGeom prst="roundRect">
            <a:avLst/>
          </a:prstGeom>
          <a:ln>
            <a:solidFill>
              <a:schemeClr val="accent1"/>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41" name="Isosceles Triangle 49">
            <a:extLst>
              <a:ext uri="{FF2B5EF4-FFF2-40B4-BE49-F238E27FC236}">
                <a16:creationId xmlns:a16="http://schemas.microsoft.com/office/drawing/2014/main" id="{1C46AC58-9FE3-4582-9BCC-19AF9BE3E702}"/>
              </a:ext>
            </a:extLst>
          </p:cNvPr>
          <p:cNvSpPr/>
          <p:nvPr/>
        </p:nvSpPr>
        <p:spPr>
          <a:xfrm rot="5400000">
            <a:off x="8352658" y="3440563"/>
            <a:ext cx="203929" cy="177863"/>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ln>
            <a:solidFill>
              <a:schemeClr val="bg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26" name="Rectangle: Rounded Corners 125">
            <a:extLst>
              <a:ext uri="{FF2B5EF4-FFF2-40B4-BE49-F238E27FC236}">
                <a16:creationId xmlns:a16="http://schemas.microsoft.com/office/drawing/2014/main" id="{B6D1466F-6145-41C7-88D0-3FF73E352C5A}"/>
              </a:ext>
            </a:extLst>
          </p:cNvPr>
          <p:cNvSpPr/>
          <p:nvPr/>
        </p:nvSpPr>
        <p:spPr>
          <a:xfrm>
            <a:off x="5736013" y="1843735"/>
            <a:ext cx="332171" cy="375069"/>
          </a:xfrm>
          <a:prstGeom prst="roundRect">
            <a:avLst/>
          </a:prstGeom>
          <a:ln>
            <a:solidFill>
              <a:schemeClr val="accent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28" name="Isosceles Triangle 49">
            <a:extLst>
              <a:ext uri="{FF2B5EF4-FFF2-40B4-BE49-F238E27FC236}">
                <a16:creationId xmlns:a16="http://schemas.microsoft.com/office/drawing/2014/main" id="{4F7F0C06-A125-4B06-A1EA-135B41C29596}"/>
              </a:ext>
            </a:extLst>
          </p:cNvPr>
          <p:cNvSpPr/>
          <p:nvPr/>
        </p:nvSpPr>
        <p:spPr>
          <a:xfrm>
            <a:off x="5109698" y="2881511"/>
            <a:ext cx="481155" cy="41965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4"/>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27" name="Isosceles Triangle 49">
            <a:extLst>
              <a:ext uri="{FF2B5EF4-FFF2-40B4-BE49-F238E27FC236}">
                <a16:creationId xmlns:a16="http://schemas.microsoft.com/office/drawing/2014/main" id="{CB168959-A061-4177-939A-1A571EB710FD}"/>
              </a:ext>
            </a:extLst>
          </p:cNvPr>
          <p:cNvSpPr/>
          <p:nvPr/>
        </p:nvSpPr>
        <p:spPr>
          <a:xfrm>
            <a:off x="5258610" y="2814589"/>
            <a:ext cx="481155" cy="41965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ln>
            <a:solidFill>
              <a:schemeClr val="accent1"/>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30" name="Rectangle: Rounded Corners 129">
            <a:extLst>
              <a:ext uri="{FF2B5EF4-FFF2-40B4-BE49-F238E27FC236}">
                <a16:creationId xmlns:a16="http://schemas.microsoft.com/office/drawing/2014/main" id="{53314CA6-DF4A-493D-B23A-1F9033751C69}"/>
              </a:ext>
            </a:extLst>
          </p:cNvPr>
          <p:cNvSpPr/>
          <p:nvPr/>
        </p:nvSpPr>
        <p:spPr>
          <a:xfrm>
            <a:off x="5684925" y="1927855"/>
            <a:ext cx="332171" cy="375069"/>
          </a:xfrm>
          <a:prstGeom prst="roundRect">
            <a:avLst/>
          </a:prstGeom>
          <a:ln>
            <a:solidFill>
              <a:schemeClr val="accent4"/>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206" name="Group 205">
            <a:extLst>
              <a:ext uri="{FF2B5EF4-FFF2-40B4-BE49-F238E27FC236}">
                <a16:creationId xmlns:a16="http://schemas.microsoft.com/office/drawing/2014/main" id="{A96C699F-82CC-41B8-BF63-BDC46653B49B}"/>
              </a:ext>
            </a:extLst>
          </p:cNvPr>
          <p:cNvGrpSpPr/>
          <p:nvPr/>
        </p:nvGrpSpPr>
        <p:grpSpPr>
          <a:xfrm>
            <a:off x="6969130" y="2620302"/>
            <a:ext cx="1638479" cy="1525300"/>
            <a:chOff x="6860201" y="2704884"/>
            <a:chExt cx="1679289" cy="1563293"/>
          </a:xfrm>
        </p:grpSpPr>
        <p:cxnSp>
          <p:nvCxnSpPr>
            <p:cNvPr id="207" name="Straight Connector 206">
              <a:extLst>
                <a:ext uri="{FF2B5EF4-FFF2-40B4-BE49-F238E27FC236}">
                  <a16:creationId xmlns:a16="http://schemas.microsoft.com/office/drawing/2014/main" id="{2B313CCC-076B-4D87-AB5B-63F0E3D17F56}"/>
                </a:ext>
              </a:extLst>
            </p:cNvPr>
            <p:cNvCxnSpPr/>
            <p:nvPr/>
          </p:nvCxnSpPr>
          <p:spPr>
            <a:xfrm flipV="1">
              <a:off x="6860201" y="2704884"/>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B8D9DBE5-1ED8-4CD3-AA71-367F9CFFAB09}"/>
                </a:ext>
              </a:extLst>
            </p:cNvPr>
            <p:cNvCxnSpPr/>
            <p:nvPr/>
          </p:nvCxnSpPr>
          <p:spPr>
            <a:xfrm flipV="1">
              <a:off x="6888195" y="2728247"/>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2A58CD61-1814-4003-83C3-57ADAF562434}"/>
                </a:ext>
              </a:extLst>
            </p:cNvPr>
            <p:cNvCxnSpPr/>
            <p:nvPr/>
          </p:nvCxnSpPr>
          <p:spPr>
            <a:xfrm flipV="1">
              <a:off x="6972177" y="2798336"/>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C7702500-BD70-448E-9321-CF2537522F67}"/>
                </a:ext>
              </a:extLst>
            </p:cNvPr>
            <p:cNvCxnSpPr/>
            <p:nvPr/>
          </p:nvCxnSpPr>
          <p:spPr>
            <a:xfrm flipV="1">
              <a:off x="7028165" y="2845062"/>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EE29BA42-B719-4960-8835-16865B1A1E1B}"/>
                </a:ext>
              </a:extLst>
            </p:cNvPr>
            <p:cNvCxnSpPr/>
            <p:nvPr/>
          </p:nvCxnSpPr>
          <p:spPr>
            <a:xfrm flipV="1">
              <a:off x="7084153" y="2891788"/>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84AB44E5-2E05-4872-8381-2DB131F266EB}"/>
                </a:ext>
              </a:extLst>
            </p:cNvPr>
            <p:cNvCxnSpPr/>
            <p:nvPr/>
          </p:nvCxnSpPr>
          <p:spPr>
            <a:xfrm flipV="1">
              <a:off x="7140141" y="2938514"/>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4228CCB2-2E97-49AC-9D76-0FE147B5F7DE}"/>
                </a:ext>
              </a:extLst>
            </p:cNvPr>
            <p:cNvCxnSpPr/>
            <p:nvPr/>
          </p:nvCxnSpPr>
          <p:spPr>
            <a:xfrm flipV="1">
              <a:off x="7196129" y="2985240"/>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3C54B550-BC19-46CA-B99A-C0F75335E915}"/>
                </a:ext>
              </a:extLst>
            </p:cNvPr>
            <p:cNvCxnSpPr/>
            <p:nvPr/>
          </p:nvCxnSpPr>
          <p:spPr>
            <a:xfrm flipV="1">
              <a:off x="7252117" y="3031966"/>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FA0F720B-EF60-431A-9EDB-C842A7507769}"/>
                </a:ext>
              </a:extLst>
            </p:cNvPr>
            <p:cNvCxnSpPr/>
            <p:nvPr/>
          </p:nvCxnSpPr>
          <p:spPr>
            <a:xfrm flipV="1">
              <a:off x="6916189" y="2751610"/>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497DEA5E-CF1D-4D3B-A1F7-E74DF74DAF06}"/>
                </a:ext>
              </a:extLst>
            </p:cNvPr>
            <p:cNvCxnSpPr/>
            <p:nvPr/>
          </p:nvCxnSpPr>
          <p:spPr>
            <a:xfrm flipV="1">
              <a:off x="6944183" y="2774973"/>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6474141C-4D9E-4801-81EF-966FD4529FF1}"/>
                </a:ext>
              </a:extLst>
            </p:cNvPr>
            <p:cNvCxnSpPr/>
            <p:nvPr/>
          </p:nvCxnSpPr>
          <p:spPr>
            <a:xfrm flipV="1">
              <a:off x="7000171" y="2821699"/>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0BDE4EDE-EBA9-41A2-8CDC-6C9932772B65}"/>
                </a:ext>
              </a:extLst>
            </p:cNvPr>
            <p:cNvCxnSpPr/>
            <p:nvPr/>
          </p:nvCxnSpPr>
          <p:spPr>
            <a:xfrm flipV="1">
              <a:off x="7056159" y="2868425"/>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DC91DE50-8935-4CB8-8901-1A8DFF512B3C}"/>
                </a:ext>
              </a:extLst>
            </p:cNvPr>
            <p:cNvCxnSpPr/>
            <p:nvPr/>
          </p:nvCxnSpPr>
          <p:spPr>
            <a:xfrm flipV="1">
              <a:off x="7112147" y="2915151"/>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9E7B622F-A7D7-4B24-9256-AA097511D223}"/>
                </a:ext>
              </a:extLst>
            </p:cNvPr>
            <p:cNvCxnSpPr/>
            <p:nvPr/>
          </p:nvCxnSpPr>
          <p:spPr>
            <a:xfrm flipV="1">
              <a:off x="7168135" y="2961877"/>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BFF8E7D-4756-4B42-AD4C-06BBA0B56188}"/>
                </a:ext>
              </a:extLst>
            </p:cNvPr>
            <p:cNvCxnSpPr/>
            <p:nvPr/>
          </p:nvCxnSpPr>
          <p:spPr>
            <a:xfrm flipV="1">
              <a:off x="7224123" y="3008603"/>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8C75804B-C7BA-4250-BADE-E586DDF76A21}"/>
                </a:ext>
              </a:extLst>
            </p:cNvPr>
            <p:cNvCxnSpPr/>
            <p:nvPr/>
          </p:nvCxnSpPr>
          <p:spPr>
            <a:xfrm flipV="1">
              <a:off x="7280112" y="3055327"/>
              <a:ext cx="1259378" cy="1212850"/>
            </a:xfrm>
            <a:prstGeom prst="line">
              <a:avLst/>
            </a:prstGeom>
            <a:ln w="6350">
              <a:solidFill>
                <a:schemeClr val="accent2"/>
              </a:solidFill>
              <a:miter lim="800000"/>
            </a:ln>
          </p:spPr>
          <p:style>
            <a:lnRef idx="1">
              <a:schemeClr val="accent1"/>
            </a:lnRef>
            <a:fillRef idx="0">
              <a:schemeClr val="accent1"/>
            </a:fillRef>
            <a:effectRef idx="0">
              <a:schemeClr val="accent1"/>
            </a:effectRef>
            <a:fontRef idx="minor">
              <a:schemeClr val="tx1"/>
            </a:fontRef>
          </p:style>
        </p:cxnSp>
      </p:grpSp>
      <p:sp>
        <p:nvSpPr>
          <p:cNvPr id="2" name="Oval 1">
            <a:extLst>
              <a:ext uri="{FF2B5EF4-FFF2-40B4-BE49-F238E27FC236}">
                <a16:creationId xmlns:a16="http://schemas.microsoft.com/office/drawing/2014/main" id="{5F6F5198-C018-402F-B451-31B0FA8A0208}"/>
              </a:ext>
            </a:extLst>
          </p:cNvPr>
          <p:cNvSpPr/>
          <p:nvPr/>
        </p:nvSpPr>
        <p:spPr>
          <a:xfrm>
            <a:off x="5968897" y="3452347"/>
            <a:ext cx="452014" cy="452014"/>
          </a:xfrm>
          <a:prstGeom prst="ellips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4" name="Arc 3">
            <a:extLst>
              <a:ext uri="{FF2B5EF4-FFF2-40B4-BE49-F238E27FC236}">
                <a16:creationId xmlns:a16="http://schemas.microsoft.com/office/drawing/2014/main" id="{54E33D18-2D8C-4352-9484-F6E0FA0E1C2F}"/>
              </a:ext>
            </a:extLst>
          </p:cNvPr>
          <p:cNvSpPr/>
          <p:nvPr/>
        </p:nvSpPr>
        <p:spPr>
          <a:xfrm rot="9900000">
            <a:off x="5144474" y="3750871"/>
            <a:ext cx="508674" cy="508674"/>
          </a:xfrm>
          <a:prstGeom prst="arc">
            <a:avLst>
              <a:gd name="adj1" fmla="val 13533864"/>
              <a:gd name="adj2" fmla="val 0"/>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5" name="Arc 224">
            <a:extLst>
              <a:ext uri="{FF2B5EF4-FFF2-40B4-BE49-F238E27FC236}">
                <a16:creationId xmlns:a16="http://schemas.microsoft.com/office/drawing/2014/main" id="{A6E1F35E-EEE1-4079-912E-90D36CEBF203}"/>
              </a:ext>
            </a:extLst>
          </p:cNvPr>
          <p:cNvSpPr/>
          <p:nvPr/>
        </p:nvSpPr>
        <p:spPr>
          <a:xfrm rot="14216884">
            <a:off x="5115950" y="3722347"/>
            <a:ext cx="565722" cy="565722"/>
          </a:xfrm>
          <a:prstGeom prst="arc">
            <a:avLst>
              <a:gd name="adj1" fmla="val 15160479"/>
              <a:gd name="adj2" fmla="val 2891701"/>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7" name="Straight Connector 6">
            <a:extLst>
              <a:ext uri="{FF2B5EF4-FFF2-40B4-BE49-F238E27FC236}">
                <a16:creationId xmlns:a16="http://schemas.microsoft.com/office/drawing/2014/main" id="{2C8EB677-0EDB-4A44-BED6-5C17B23279B8}"/>
              </a:ext>
            </a:extLst>
          </p:cNvPr>
          <p:cNvCxnSpPr>
            <a:cxnSpLocks/>
          </p:cNvCxnSpPr>
          <p:nvPr/>
        </p:nvCxnSpPr>
        <p:spPr>
          <a:xfrm flipH="1">
            <a:off x="4516401" y="4142306"/>
            <a:ext cx="554760" cy="14238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4F053492-AF5B-4268-B5FD-12757ADBCFF9}"/>
              </a:ext>
            </a:extLst>
          </p:cNvPr>
          <p:cNvCxnSpPr>
            <a:cxnSpLocks/>
          </p:cNvCxnSpPr>
          <p:nvPr/>
        </p:nvCxnSpPr>
        <p:spPr>
          <a:xfrm flipH="1">
            <a:off x="4814846" y="4261818"/>
            <a:ext cx="369695" cy="38946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75DA011E-A30D-40BA-88EB-3BF67C28B886}"/>
              </a:ext>
            </a:extLst>
          </p:cNvPr>
          <p:cNvCxnSpPr>
            <a:cxnSpLocks/>
          </p:cNvCxnSpPr>
          <p:nvPr/>
        </p:nvCxnSpPr>
        <p:spPr>
          <a:xfrm>
            <a:off x="5469991" y="4290066"/>
            <a:ext cx="271423" cy="39386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C34CBF82-E771-4647-B7C8-575C8368B158}"/>
              </a:ext>
            </a:extLst>
          </p:cNvPr>
          <p:cNvCxnSpPr>
            <a:cxnSpLocks/>
          </p:cNvCxnSpPr>
          <p:nvPr/>
        </p:nvCxnSpPr>
        <p:spPr>
          <a:xfrm flipH="1">
            <a:off x="5302985" y="4297233"/>
            <a:ext cx="18693" cy="48626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92222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5" name="Text Placeholder 24">
            <a:extLst>
              <a:ext uri="{FF2B5EF4-FFF2-40B4-BE49-F238E27FC236}">
                <a16:creationId xmlns:a16="http://schemas.microsoft.com/office/drawing/2014/main" id="{05B6C90E-A167-43D7-965D-2C4C94318FB6}"/>
              </a:ext>
            </a:extLst>
          </p:cNvPr>
          <p:cNvSpPr>
            <a:spLocks noGrp="1"/>
          </p:cNvSpPr>
          <p:nvPr>
            <p:ph type="body" sz="quarter" idx="11"/>
          </p:nvPr>
        </p:nvSpPr>
        <p:spPr>
          <a:xfrm>
            <a:off x="533400" y="660400"/>
            <a:ext cx="2638425" cy="3822700"/>
          </a:xfrm>
        </p:spPr>
        <p:txBody>
          <a:bodyPr/>
          <a:lstStyle/>
          <a:p>
            <a:r>
              <a:rPr lang="en-US">
                <a:solidFill>
                  <a:schemeClr val="bg2"/>
                </a:solidFill>
              </a:rPr>
              <a:t>The security industry isn’t making it any easier</a:t>
            </a:r>
          </a:p>
        </p:txBody>
      </p:sp>
      <p:cxnSp>
        <p:nvCxnSpPr>
          <p:cNvPr id="26" name="Straight Connector 25">
            <a:extLst>
              <a:ext uri="{FF2B5EF4-FFF2-40B4-BE49-F238E27FC236}">
                <a16:creationId xmlns:a16="http://schemas.microsoft.com/office/drawing/2014/main" id="{453241E9-63F1-4495-BEC9-4E97AF6A50FE}"/>
              </a:ext>
            </a:extLst>
          </p:cNvPr>
          <p:cNvCxnSpPr>
            <a:cxnSpLocks/>
          </p:cNvCxnSpPr>
          <p:nvPr/>
        </p:nvCxnSpPr>
        <p:spPr>
          <a:xfrm>
            <a:off x="3164455" y="709571"/>
            <a:ext cx="0" cy="3192871"/>
          </a:xfrm>
          <a:prstGeom prst="line">
            <a:avLst/>
          </a:prstGeom>
          <a:ln>
            <a:solidFill>
              <a:schemeClr val="accent3"/>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63000CE-BAE1-4FA4-8F19-BFE36894ECC4}"/>
              </a:ext>
            </a:extLst>
          </p:cNvPr>
          <p:cNvCxnSpPr>
            <a:cxnSpLocks/>
          </p:cNvCxnSpPr>
          <p:nvPr/>
        </p:nvCxnSpPr>
        <p:spPr>
          <a:xfrm>
            <a:off x="3246230" y="1179903"/>
            <a:ext cx="0" cy="3192871"/>
          </a:xfrm>
          <a:prstGeom prst="line">
            <a:avLst/>
          </a:prstGeom>
          <a:ln>
            <a:solidFill>
              <a:schemeClr val="accent4"/>
            </a:solidFill>
            <a:miter lim="800000"/>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F24B1134-24DA-4389-86D9-1F18E7986175}"/>
              </a:ext>
            </a:extLst>
          </p:cNvPr>
          <p:cNvGrpSpPr/>
          <p:nvPr/>
        </p:nvGrpSpPr>
        <p:grpSpPr>
          <a:xfrm>
            <a:off x="4881136" y="3668194"/>
            <a:ext cx="3022927" cy="966768"/>
            <a:chOff x="4800162" y="3764748"/>
            <a:chExt cx="3022927" cy="966768"/>
          </a:xfrm>
        </p:grpSpPr>
        <p:sp>
          <p:nvSpPr>
            <p:cNvPr id="9" name="TextBox 8">
              <a:extLst>
                <a:ext uri="{FF2B5EF4-FFF2-40B4-BE49-F238E27FC236}">
                  <a16:creationId xmlns:a16="http://schemas.microsoft.com/office/drawing/2014/main" id="{25AA8A31-069D-4EF4-9B31-0F6946E5BF65}"/>
                </a:ext>
              </a:extLst>
            </p:cNvPr>
            <p:cNvSpPr txBox="1"/>
            <p:nvPr/>
          </p:nvSpPr>
          <p:spPr>
            <a:xfrm flipH="1">
              <a:off x="4800162" y="3764748"/>
              <a:ext cx="3022927" cy="484708"/>
            </a:xfrm>
            <a:prstGeom prst="rect">
              <a:avLst/>
            </a:prstGeom>
            <a:extLst>
              <a:ext uri="{E45631CC-5BF2-4c18-A39C-3461C7D3F71A}">
                <a14:hiddenSp3d xmlns="" xmlns:a14="http://schemas.microsoft.com/office/drawing/2010/main"/>
              </a:ext>
            </a:extLst>
          </p:spPr>
          <p:txBody>
            <a:bodyPr wrap="square" lIns="137160" tIns="45720" rIns="91440" bIns="45720" rtlCol="0" anchor="t">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BCEB"/>
                  </a:solidFill>
                  <a:effectLst/>
                  <a:uLnTx/>
                  <a:uFillTx/>
                  <a:latin typeface="CiscoSansTT ExtraLight"/>
                  <a:ea typeface="ＭＳ Ｐゴシック" charset="0"/>
                </a:rPr>
                <a:t>Reduced effectiveness</a:t>
              </a:r>
            </a:p>
          </p:txBody>
        </p:sp>
        <p:sp>
          <p:nvSpPr>
            <p:cNvPr id="83" name="TextBox 82">
              <a:extLst>
                <a:ext uri="{FF2B5EF4-FFF2-40B4-BE49-F238E27FC236}">
                  <a16:creationId xmlns:a16="http://schemas.microsoft.com/office/drawing/2014/main" id="{E87CA599-6F5A-4346-B7D4-0C648911350E}"/>
                </a:ext>
              </a:extLst>
            </p:cNvPr>
            <p:cNvSpPr txBox="1"/>
            <p:nvPr/>
          </p:nvSpPr>
          <p:spPr>
            <a:xfrm flipH="1">
              <a:off x="4800162" y="3994677"/>
              <a:ext cx="3022926" cy="736839"/>
            </a:xfrm>
            <a:prstGeom prst="rect">
              <a:avLst/>
            </a:prstGeom>
            <a:noFill/>
            <a:effectLst>
              <a:outerShdw sx="0" sy="0" rotWithShape="0">
                <a:scrgbClr r="0" g="0" b="0"/>
              </a:outerShdw>
            </a:effectLst>
            <a:extLst>
              <a:ext uri="{E45631CC-5BF2-4c18-A39C-3461C7D3F71A}">
                <a14:hiddenSp3d xmlns="" xmlns:a14="http://schemas.microsoft.com/office/drawing/2010/main"/>
              </a:ext>
            </a:extLst>
          </p:spPr>
          <p:txBody>
            <a:bodyPr wrap="square" lIns="137160" tIns="45720" rIns="91440" bIns="45720" rtlCol="0" anchor="ctr">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274D"/>
                  </a:solidFill>
                  <a:effectLst/>
                  <a:uLnTx/>
                  <a:uFillTx/>
                  <a:latin typeface="CiscoSansTT ExtraLight"/>
                  <a:ea typeface="ＭＳ Ｐゴシック" charset="0"/>
                </a:rPr>
                <a:t>79% of CISOs say it’s difficult to orchestrate alerts</a:t>
              </a:r>
              <a:r>
                <a:rPr kumimoji="0" lang="en-US" sz="1600" b="0" i="0" u="none" strike="noStrike" kern="1200" cap="none" spc="0" normalizeH="0" baseline="30000" noProof="0">
                  <a:ln>
                    <a:noFill/>
                  </a:ln>
                  <a:solidFill>
                    <a:srgbClr val="0D274D"/>
                  </a:solidFill>
                  <a:effectLst/>
                  <a:uLnTx/>
                  <a:uFillTx/>
                  <a:latin typeface="CiscoSansTT ExtraLight"/>
                  <a:ea typeface="ＭＳ Ｐゴシック" charset="0"/>
                </a:rPr>
                <a:t>3</a:t>
              </a:r>
              <a:endParaRPr kumimoji="0" lang="en-US" sz="1600" b="0" i="0" u="none" strike="noStrike" kern="1200" cap="none" spc="0" normalizeH="0" baseline="0" noProof="0">
                <a:ln>
                  <a:noFill/>
                </a:ln>
                <a:solidFill>
                  <a:srgbClr val="0D274D"/>
                </a:solidFill>
                <a:effectLst/>
                <a:uLnTx/>
                <a:uFillTx/>
                <a:latin typeface="CiscoSansTT ExtraLight"/>
                <a:ea typeface="ＭＳ Ｐゴシック" charset="0"/>
              </a:endParaRPr>
            </a:p>
          </p:txBody>
        </p:sp>
      </p:grpSp>
      <p:grpSp>
        <p:nvGrpSpPr>
          <p:cNvPr id="22" name="Group 21">
            <a:extLst>
              <a:ext uri="{FF2B5EF4-FFF2-40B4-BE49-F238E27FC236}">
                <a16:creationId xmlns:a16="http://schemas.microsoft.com/office/drawing/2014/main" id="{69FA6340-C656-47ED-9F02-130C2663CC68}"/>
              </a:ext>
            </a:extLst>
          </p:cNvPr>
          <p:cNvGrpSpPr/>
          <p:nvPr/>
        </p:nvGrpSpPr>
        <p:grpSpPr>
          <a:xfrm>
            <a:off x="4881136" y="521418"/>
            <a:ext cx="3022926" cy="813923"/>
            <a:chOff x="4800162" y="484061"/>
            <a:chExt cx="3022926" cy="813923"/>
          </a:xfrm>
        </p:grpSpPr>
        <p:sp>
          <p:nvSpPr>
            <p:cNvPr id="12" name="TextBox 11">
              <a:extLst>
                <a:ext uri="{FF2B5EF4-FFF2-40B4-BE49-F238E27FC236}">
                  <a16:creationId xmlns:a16="http://schemas.microsoft.com/office/drawing/2014/main" id="{95C8DAD2-EBF2-4982-81FC-F5CDB788ED08}"/>
                </a:ext>
              </a:extLst>
            </p:cNvPr>
            <p:cNvSpPr txBox="1">
              <a:spLocks/>
            </p:cNvSpPr>
            <p:nvPr/>
          </p:nvSpPr>
          <p:spPr>
            <a:xfrm flipH="1">
              <a:off x="4800162" y="484061"/>
              <a:ext cx="2831957" cy="376120"/>
            </a:xfrm>
            <a:prstGeom prst="rect">
              <a:avLst/>
            </a:prstGeom>
            <a:extLst>
              <a:ext uri="{E45631CC-5BF2-4c18-A39C-3461C7D3F71A}">
                <a14:hiddenSp3d xmlns="" xmlns:a14="http://schemas.microsoft.com/office/drawing/2010/main"/>
              </a:ext>
            </a:extLst>
          </p:spPr>
          <p:txBody>
            <a:bodyPr wrap="square" lIns="137160" tIns="45720" rIns="91440" bIns="45720" rtlCol="0" anchor="t">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BCEB"/>
                  </a:solidFill>
                  <a:effectLst/>
                  <a:uLnTx/>
                  <a:uFillTx/>
                  <a:latin typeface="CiscoSansTT ExtraLight"/>
                  <a:ea typeface="ＭＳ Ｐゴシック" charset="0"/>
                </a:rPr>
                <a:t>Vast security market</a:t>
              </a:r>
            </a:p>
          </p:txBody>
        </p:sp>
        <p:sp>
          <p:nvSpPr>
            <p:cNvPr id="84" name="TextBox 83">
              <a:extLst>
                <a:ext uri="{FF2B5EF4-FFF2-40B4-BE49-F238E27FC236}">
                  <a16:creationId xmlns:a16="http://schemas.microsoft.com/office/drawing/2014/main" id="{4A82A411-B000-4356-B9BC-51E9290A3D5F}"/>
                </a:ext>
              </a:extLst>
            </p:cNvPr>
            <p:cNvSpPr txBox="1">
              <a:spLocks/>
            </p:cNvSpPr>
            <p:nvPr/>
          </p:nvSpPr>
          <p:spPr>
            <a:xfrm flipH="1">
              <a:off x="4800162" y="869748"/>
              <a:ext cx="3022926" cy="428236"/>
            </a:xfrm>
            <a:prstGeom prst="rect">
              <a:avLst/>
            </a:prstGeom>
            <a:noFill/>
            <a:effectLst>
              <a:outerShdw sx="0" sy="0" rotWithShape="0">
                <a:scrgbClr r="0" g="0" b="0"/>
              </a:outerShdw>
            </a:effectLst>
            <a:extLst>
              <a:ext uri="{E45631CC-5BF2-4c18-A39C-3461C7D3F71A}">
                <a14:hiddenSp3d xmlns="" xmlns:a14="http://schemas.microsoft.com/office/drawing/2010/main"/>
              </a:ext>
            </a:extLst>
          </p:spPr>
          <p:txBody>
            <a:bodyPr wrap="square" lIns="137160" tIns="45720" rIns="91440" bIns="45720" rtlCol="0" anchor="ctr">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274D"/>
                  </a:solidFill>
                  <a:effectLst/>
                  <a:uLnTx/>
                  <a:uFillTx/>
                  <a:latin typeface="CiscoSansTT ExtraLight"/>
                  <a:ea typeface="CiscoSansTT ExtraLight" pitchFamily="34" charset="0"/>
                  <a:cs typeface="CiscoSansTT ExtraLight" pitchFamily="34" charset="0"/>
                </a:rPr>
                <a:t>3000+ Cybersecurity </a:t>
              </a:r>
              <a:br>
                <a:rPr kumimoji="0" lang="en-US" sz="1600" b="0" i="0" u="none" strike="noStrike" kern="1200" cap="none" spc="0" normalizeH="0" baseline="0" noProof="0">
                  <a:ln>
                    <a:noFill/>
                  </a:ln>
                  <a:solidFill>
                    <a:srgbClr val="0D274D"/>
                  </a:solidFill>
                  <a:effectLst/>
                  <a:uLnTx/>
                  <a:uFillTx/>
                  <a:latin typeface="CiscoSansTT ExtraLight"/>
                  <a:ea typeface="CiscoSansTT ExtraLight" pitchFamily="34" charset="0"/>
                  <a:cs typeface="CiscoSansTT ExtraLight" pitchFamily="34" charset="0"/>
                </a:rPr>
              </a:br>
              <a:r>
                <a:rPr kumimoji="0" lang="en-US" sz="1600" b="0" i="0" u="none" strike="noStrike" kern="1200" cap="none" spc="0" normalizeH="0" baseline="0" noProof="0">
                  <a:ln>
                    <a:noFill/>
                  </a:ln>
                  <a:solidFill>
                    <a:srgbClr val="0D274D"/>
                  </a:solidFill>
                  <a:effectLst/>
                  <a:uLnTx/>
                  <a:uFillTx/>
                  <a:latin typeface="CiscoSansTT ExtraLight"/>
                  <a:ea typeface="CiscoSansTT ExtraLight" pitchFamily="34" charset="0"/>
                  <a:cs typeface="CiscoSansTT ExtraLight" pitchFamily="34" charset="0"/>
                </a:rPr>
                <a:t>vendors</a:t>
              </a:r>
              <a:r>
                <a:rPr kumimoji="0" lang="en-US" sz="1600" b="0" i="0" u="none" strike="noStrike" kern="1200" cap="none" spc="0" normalizeH="0" baseline="30000" noProof="0">
                  <a:ln>
                    <a:noFill/>
                  </a:ln>
                  <a:solidFill>
                    <a:srgbClr val="0D274D"/>
                  </a:solidFill>
                  <a:effectLst/>
                  <a:uLnTx/>
                  <a:uFillTx/>
                  <a:latin typeface="CiscoSansTT ExtraLight"/>
                  <a:ea typeface="CiscoSansTT ExtraLight" pitchFamily="34" charset="0"/>
                  <a:cs typeface="CiscoSansTT ExtraLight" pitchFamily="34" charset="0"/>
                </a:rPr>
                <a:t>1</a:t>
              </a:r>
              <a:endParaRPr kumimoji="0" lang="en-US" sz="1600" b="0" i="0" u="none" strike="noStrike" kern="1200" cap="none" spc="0" normalizeH="0" baseline="0" noProof="0">
                <a:ln>
                  <a:noFill/>
                </a:ln>
                <a:solidFill>
                  <a:srgbClr val="0D274D"/>
                </a:solidFill>
                <a:effectLst/>
                <a:uLnTx/>
                <a:uFillTx/>
                <a:latin typeface="CiscoSansTT ExtraLight"/>
                <a:ea typeface="CiscoSansTT ExtraLight" pitchFamily="34" charset="0"/>
                <a:cs typeface="CiscoSansTT ExtraLight" pitchFamily="34" charset="0"/>
              </a:endParaRPr>
            </a:p>
          </p:txBody>
        </p:sp>
      </p:grpSp>
      <p:grpSp>
        <p:nvGrpSpPr>
          <p:cNvPr id="20" name="Group 19">
            <a:extLst>
              <a:ext uri="{FF2B5EF4-FFF2-40B4-BE49-F238E27FC236}">
                <a16:creationId xmlns:a16="http://schemas.microsoft.com/office/drawing/2014/main" id="{89F550D5-34EE-47DB-9451-B75D3525297F}"/>
              </a:ext>
            </a:extLst>
          </p:cNvPr>
          <p:cNvGrpSpPr/>
          <p:nvPr/>
        </p:nvGrpSpPr>
        <p:grpSpPr>
          <a:xfrm>
            <a:off x="4881136" y="2069083"/>
            <a:ext cx="3022926" cy="896232"/>
            <a:chOff x="4800162" y="2020720"/>
            <a:chExt cx="3022926" cy="896232"/>
          </a:xfrm>
        </p:grpSpPr>
        <p:sp>
          <p:nvSpPr>
            <p:cNvPr id="13" name="TextBox 12">
              <a:extLst>
                <a:ext uri="{FF2B5EF4-FFF2-40B4-BE49-F238E27FC236}">
                  <a16:creationId xmlns:a16="http://schemas.microsoft.com/office/drawing/2014/main" id="{8480940B-EE94-4475-BF46-59CDFA24C578}"/>
                </a:ext>
              </a:extLst>
            </p:cNvPr>
            <p:cNvSpPr txBox="1">
              <a:spLocks/>
            </p:cNvSpPr>
            <p:nvPr/>
          </p:nvSpPr>
          <p:spPr>
            <a:xfrm flipH="1">
              <a:off x="4800162" y="2020720"/>
              <a:ext cx="2672434" cy="402660"/>
            </a:xfrm>
            <a:prstGeom prst="rect">
              <a:avLst/>
            </a:prstGeom>
            <a:extLst>
              <a:ext uri="{E45631CC-5BF2-4c18-A39C-3461C7D3F71A}">
                <a14:hiddenSp3d xmlns="" xmlns:a14="http://schemas.microsoft.com/office/drawing/2010/main"/>
              </a:ext>
            </a:extLst>
          </p:spPr>
          <p:txBody>
            <a:bodyPr wrap="square" lIns="137160" tIns="45720" rIns="91440" bIns="45720" rtlCol="0" anchor="t">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00BCEB"/>
                  </a:solidFill>
                  <a:effectLst/>
                  <a:uLnTx/>
                  <a:uFillTx/>
                  <a:latin typeface="CiscoSansTT ExtraLight"/>
                  <a:ea typeface="ＭＳ Ｐゴシック" charset="0"/>
                </a:rPr>
                <a:t>Siloed solution sets</a:t>
              </a:r>
            </a:p>
          </p:txBody>
        </p:sp>
        <p:sp>
          <p:nvSpPr>
            <p:cNvPr id="85" name="TextBox 84">
              <a:extLst>
                <a:ext uri="{FF2B5EF4-FFF2-40B4-BE49-F238E27FC236}">
                  <a16:creationId xmlns:a16="http://schemas.microsoft.com/office/drawing/2014/main" id="{E9FD3C39-BF43-4B1B-BFA5-19EF29580648}"/>
                </a:ext>
              </a:extLst>
            </p:cNvPr>
            <p:cNvSpPr txBox="1">
              <a:spLocks/>
            </p:cNvSpPr>
            <p:nvPr/>
          </p:nvSpPr>
          <p:spPr>
            <a:xfrm flipH="1">
              <a:off x="4800162" y="2337504"/>
              <a:ext cx="3022926" cy="579448"/>
            </a:xfrm>
            <a:prstGeom prst="rect">
              <a:avLst/>
            </a:prstGeom>
            <a:noFill/>
            <a:effectLst>
              <a:outerShdw sx="0" sy="0" rotWithShape="0">
                <a:scrgbClr r="0" g="0" b="0"/>
              </a:outerShdw>
            </a:effectLst>
            <a:extLst>
              <a:ext uri="{E45631CC-5BF2-4c18-A39C-3461C7D3F71A}">
                <a14:hiddenSp3d xmlns="" xmlns:a14="http://schemas.microsoft.com/office/drawing/2010/main"/>
              </a:ext>
            </a:extLst>
          </p:spPr>
          <p:txBody>
            <a:bodyPr wrap="square" lIns="137160" tIns="45720" rIns="91440" bIns="45720" rtlCol="0" anchor="ctr">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D274D"/>
                  </a:solidFill>
                  <a:effectLst/>
                  <a:uLnTx/>
                  <a:uFillTx/>
                  <a:latin typeface="CiscoSansTT ExtraLight"/>
                  <a:ea typeface="CiscoSansTT ExtraLight" pitchFamily="34" charset="0"/>
                  <a:cs typeface="CiscoSansTT ExtraLight" pitchFamily="34" charset="0"/>
                </a:rPr>
                <a:t>75 security tools </a:t>
              </a:r>
              <a:br>
                <a:rPr kumimoji="0" lang="en-US" sz="1600" b="0" i="0" u="none" strike="noStrike" kern="1200" cap="none" spc="0" normalizeH="0" baseline="0" noProof="0">
                  <a:ln>
                    <a:noFill/>
                  </a:ln>
                  <a:solidFill>
                    <a:srgbClr val="0D274D"/>
                  </a:solidFill>
                  <a:effectLst/>
                  <a:uLnTx/>
                  <a:uFillTx/>
                  <a:latin typeface="CiscoSansTT ExtraLight"/>
                  <a:ea typeface="CiscoSansTT ExtraLight" pitchFamily="34" charset="0"/>
                  <a:cs typeface="CiscoSansTT ExtraLight" pitchFamily="34" charset="0"/>
                </a:rPr>
              </a:br>
              <a:r>
                <a:rPr kumimoji="0" lang="en-US" sz="1600" b="0" i="0" u="none" strike="noStrike" kern="1200" cap="none" spc="0" normalizeH="0" baseline="0" noProof="0">
                  <a:ln>
                    <a:noFill/>
                  </a:ln>
                  <a:solidFill>
                    <a:srgbClr val="0D274D"/>
                  </a:solidFill>
                  <a:effectLst/>
                  <a:uLnTx/>
                  <a:uFillTx/>
                  <a:latin typeface="CiscoSansTT ExtraLight"/>
                  <a:ea typeface="CiscoSansTT ExtraLight" pitchFamily="34" charset="0"/>
                  <a:cs typeface="CiscoSansTT ExtraLight" pitchFamily="34" charset="0"/>
                </a:rPr>
                <a:t>on average</a:t>
              </a:r>
              <a:r>
                <a:rPr kumimoji="0" lang="en-US" sz="1600" b="0" i="0" u="none" strike="noStrike" kern="1200" cap="none" spc="0" normalizeH="0" baseline="30000" noProof="0">
                  <a:ln>
                    <a:noFill/>
                  </a:ln>
                  <a:solidFill>
                    <a:srgbClr val="0D274D"/>
                  </a:solidFill>
                  <a:effectLst/>
                  <a:uLnTx/>
                  <a:uFillTx/>
                  <a:latin typeface="CiscoSansTT ExtraLight"/>
                  <a:ea typeface="CiscoSansTT ExtraLight" pitchFamily="34" charset="0"/>
                  <a:cs typeface="CiscoSansTT ExtraLight" pitchFamily="34" charset="0"/>
                </a:rPr>
                <a:t>2</a:t>
              </a:r>
              <a:endParaRPr kumimoji="0" lang="en-US" sz="1600" b="0" i="0" u="none" strike="noStrike" kern="1200" cap="none" spc="0" normalizeH="0" baseline="0" noProof="0">
                <a:ln>
                  <a:noFill/>
                </a:ln>
                <a:solidFill>
                  <a:srgbClr val="0D274D"/>
                </a:solidFill>
                <a:effectLst/>
                <a:uLnTx/>
                <a:uFillTx/>
                <a:latin typeface="CiscoSansTT ExtraLight"/>
                <a:ea typeface="CiscoSansTT ExtraLight" pitchFamily="34" charset="0"/>
                <a:cs typeface="CiscoSansTT ExtraLight" pitchFamily="34" charset="0"/>
              </a:endParaRPr>
            </a:p>
          </p:txBody>
        </p:sp>
      </p:grpSp>
      <p:grpSp>
        <p:nvGrpSpPr>
          <p:cNvPr id="2" name="Group 1">
            <a:extLst>
              <a:ext uri="{FF2B5EF4-FFF2-40B4-BE49-F238E27FC236}">
                <a16:creationId xmlns:a16="http://schemas.microsoft.com/office/drawing/2014/main" id="{69308E30-108F-4E20-8F4E-A02B70013DD3}"/>
              </a:ext>
            </a:extLst>
          </p:cNvPr>
          <p:cNvGrpSpPr/>
          <p:nvPr/>
        </p:nvGrpSpPr>
        <p:grpSpPr>
          <a:xfrm>
            <a:off x="3703563" y="415968"/>
            <a:ext cx="1096601" cy="1024823"/>
            <a:chOff x="6119937" y="1385402"/>
            <a:chExt cx="1096601" cy="1024823"/>
          </a:xfrm>
        </p:grpSpPr>
        <p:pic>
          <p:nvPicPr>
            <p:cNvPr id="135" name="Picture 134">
              <a:extLst>
                <a:ext uri="{FF2B5EF4-FFF2-40B4-BE49-F238E27FC236}">
                  <a16:creationId xmlns:a16="http://schemas.microsoft.com/office/drawing/2014/main" id="{5231A5B3-F511-4FEB-8E75-E8E595D4D3B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5520"/>
            <a:stretch/>
          </p:blipFill>
          <p:spPr>
            <a:xfrm>
              <a:off x="6119937" y="1385402"/>
              <a:ext cx="1019642" cy="1024823"/>
            </a:xfrm>
            <a:prstGeom prst="ellipse">
              <a:avLst/>
            </a:prstGeom>
          </p:spPr>
        </p:pic>
        <p:sp>
          <p:nvSpPr>
            <p:cNvPr id="116" name="Freeform: Shape 115">
              <a:extLst>
                <a:ext uri="{FF2B5EF4-FFF2-40B4-BE49-F238E27FC236}">
                  <a16:creationId xmlns:a16="http://schemas.microsoft.com/office/drawing/2014/main" id="{64FA52B0-BF0D-4451-BCF6-E98188271E46}"/>
                </a:ext>
              </a:extLst>
            </p:cNvPr>
            <p:cNvSpPr/>
            <p:nvPr/>
          </p:nvSpPr>
          <p:spPr>
            <a:xfrm>
              <a:off x="6242405" y="1492138"/>
              <a:ext cx="784173" cy="784173"/>
            </a:xfrm>
            <a:custGeom>
              <a:avLst/>
              <a:gdLst>
                <a:gd name="connsiteX0" fmla="*/ 3141730 w 3141730"/>
                <a:gd name="connsiteY0" fmla="*/ 1570865 h 3141730"/>
                <a:gd name="connsiteX1" fmla="*/ 1570865 w 3141730"/>
                <a:gd name="connsiteY1" fmla="*/ 3141731 h 3141730"/>
                <a:gd name="connsiteX2" fmla="*/ -1 w 3141730"/>
                <a:gd name="connsiteY2" fmla="*/ 1570865 h 3141730"/>
                <a:gd name="connsiteX3" fmla="*/ 1570865 w 3141730"/>
                <a:gd name="connsiteY3" fmla="*/ 0 h 3141730"/>
                <a:gd name="connsiteX4" fmla="*/ 3141730 w 3141730"/>
                <a:gd name="connsiteY4" fmla="*/ 1570865 h 314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1730" h="3141730">
                  <a:moveTo>
                    <a:pt x="3141730" y="1570865"/>
                  </a:moveTo>
                  <a:cubicBezTo>
                    <a:pt x="3141730" y="2438430"/>
                    <a:pt x="2438430" y="3141731"/>
                    <a:pt x="1570865" y="3141731"/>
                  </a:cubicBezTo>
                  <a:cubicBezTo>
                    <a:pt x="703300" y="3141731"/>
                    <a:pt x="-1" y="2438430"/>
                    <a:pt x="-1" y="1570865"/>
                  </a:cubicBezTo>
                  <a:cubicBezTo>
                    <a:pt x="-1" y="703300"/>
                    <a:pt x="703300" y="0"/>
                    <a:pt x="1570865" y="0"/>
                  </a:cubicBezTo>
                  <a:cubicBezTo>
                    <a:pt x="2438430" y="0"/>
                    <a:pt x="3141730" y="703300"/>
                    <a:pt x="3141730" y="1570865"/>
                  </a:cubicBezTo>
                  <a:close/>
                </a:path>
              </a:pathLst>
            </a:custGeom>
            <a:solidFill>
              <a:schemeClr val="bg2">
                <a:alpha val="60000"/>
              </a:schemeClr>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06" name="Freeform: Shape 205">
              <a:extLst>
                <a:ext uri="{FF2B5EF4-FFF2-40B4-BE49-F238E27FC236}">
                  <a16:creationId xmlns:a16="http://schemas.microsoft.com/office/drawing/2014/main" id="{C7143400-9CD2-487E-A47D-124D67107869}"/>
                </a:ext>
              </a:extLst>
            </p:cNvPr>
            <p:cNvSpPr/>
            <p:nvPr/>
          </p:nvSpPr>
          <p:spPr>
            <a:xfrm>
              <a:off x="6732010" y="1641555"/>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07" name="Freeform: Shape 206">
              <a:extLst>
                <a:ext uri="{FF2B5EF4-FFF2-40B4-BE49-F238E27FC236}">
                  <a16:creationId xmlns:a16="http://schemas.microsoft.com/office/drawing/2014/main" id="{467F9D4F-1B07-4133-9259-25E70F6C734F}"/>
                </a:ext>
              </a:extLst>
            </p:cNvPr>
            <p:cNvSpPr/>
            <p:nvPr/>
          </p:nvSpPr>
          <p:spPr>
            <a:xfrm>
              <a:off x="6659760" y="1641555"/>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00" name="Freeform: Shape 199">
              <a:extLst>
                <a:ext uri="{FF2B5EF4-FFF2-40B4-BE49-F238E27FC236}">
                  <a16:creationId xmlns:a16="http://schemas.microsoft.com/office/drawing/2014/main" id="{37835E72-C8DF-45D4-A3AE-5936EED14E92}"/>
                </a:ext>
              </a:extLst>
            </p:cNvPr>
            <p:cNvSpPr/>
            <p:nvPr/>
          </p:nvSpPr>
          <p:spPr>
            <a:xfrm>
              <a:off x="6732010" y="1721591"/>
              <a:ext cx="25970" cy="2597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01" name="Freeform: Shape 200">
              <a:extLst>
                <a:ext uri="{FF2B5EF4-FFF2-40B4-BE49-F238E27FC236}">
                  <a16:creationId xmlns:a16="http://schemas.microsoft.com/office/drawing/2014/main" id="{78864B02-3CFF-43B4-9697-EDEF58E7C658}"/>
                </a:ext>
              </a:extLst>
            </p:cNvPr>
            <p:cNvSpPr/>
            <p:nvPr/>
          </p:nvSpPr>
          <p:spPr>
            <a:xfrm>
              <a:off x="6659760" y="1721591"/>
              <a:ext cx="25970" cy="2597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02" name="Freeform: Shape 201">
              <a:extLst>
                <a:ext uri="{FF2B5EF4-FFF2-40B4-BE49-F238E27FC236}">
                  <a16:creationId xmlns:a16="http://schemas.microsoft.com/office/drawing/2014/main" id="{F1E83D9C-AD0F-445F-87A6-5173BD4C2760}"/>
                </a:ext>
              </a:extLst>
            </p:cNvPr>
            <p:cNvSpPr/>
            <p:nvPr/>
          </p:nvSpPr>
          <p:spPr>
            <a:xfrm>
              <a:off x="6587487" y="1721591"/>
              <a:ext cx="25970" cy="2597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03" name="Freeform: Shape 202">
              <a:extLst>
                <a:ext uri="{FF2B5EF4-FFF2-40B4-BE49-F238E27FC236}">
                  <a16:creationId xmlns:a16="http://schemas.microsoft.com/office/drawing/2014/main" id="{3D82D042-0823-451A-921E-CB0C284BD45B}"/>
                </a:ext>
              </a:extLst>
            </p:cNvPr>
            <p:cNvSpPr/>
            <p:nvPr/>
          </p:nvSpPr>
          <p:spPr>
            <a:xfrm>
              <a:off x="6507358" y="1721591"/>
              <a:ext cx="25970" cy="2597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04" name="Freeform: Shape 203">
              <a:extLst>
                <a:ext uri="{FF2B5EF4-FFF2-40B4-BE49-F238E27FC236}">
                  <a16:creationId xmlns:a16="http://schemas.microsoft.com/office/drawing/2014/main" id="{B848782E-AA7A-468B-A8BB-4C21373E1DC7}"/>
                </a:ext>
              </a:extLst>
            </p:cNvPr>
            <p:cNvSpPr/>
            <p:nvPr/>
          </p:nvSpPr>
          <p:spPr>
            <a:xfrm>
              <a:off x="6423694" y="1721591"/>
              <a:ext cx="25970" cy="2597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05" name="Freeform: Shape 204">
              <a:extLst>
                <a:ext uri="{FF2B5EF4-FFF2-40B4-BE49-F238E27FC236}">
                  <a16:creationId xmlns:a16="http://schemas.microsoft.com/office/drawing/2014/main" id="{1257808F-9F98-42E8-B6F7-A3B994084706}"/>
                </a:ext>
              </a:extLst>
            </p:cNvPr>
            <p:cNvSpPr/>
            <p:nvPr/>
          </p:nvSpPr>
          <p:spPr>
            <a:xfrm>
              <a:off x="6344743" y="1721591"/>
              <a:ext cx="25970" cy="2597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4" name="Freeform: Shape 193">
              <a:extLst>
                <a:ext uri="{FF2B5EF4-FFF2-40B4-BE49-F238E27FC236}">
                  <a16:creationId xmlns:a16="http://schemas.microsoft.com/office/drawing/2014/main" id="{9B7A059B-BBCF-4AAF-8B14-5D4272BA072B}"/>
                </a:ext>
              </a:extLst>
            </p:cNvPr>
            <p:cNvSpPr/>
            <p:nvPr/>
          </p:nvSpPr>
          <p:spPr>
            <a:xfrm>
              <a:off x="6732010" y="1801628"/>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5" name="Freeform: Shape 194">
              <a:extLst>
                <a:ext uri="{FF2B5EF4-FFF2-40B4-BE49-F238E27FC236}">
                  <a16:creationId xmlns:a16="http://schemas.microsoft.com/office/drawing/2014/main" id="{03D22078-CAE4-485A-84DC-5905D2B9341E}"/>
                </a:ext>
              </a:extLst>
            </p:cNvPr>
            <p:cNvSpPr/>
            <p:nvPr/>
          </p:nvSpPr>
          <p:spPr>
            <a:xfrm>
              <a:off x="6659760" y="1801628"/>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6" name="Freeform: Shape 195">
              <a:extLst>
                <a:ext uri="{FF2B5EF4-FFF2-40B4-BE49-F238E27FC236}">
                  <a16:creationId xmlns:a16="http://schemas.microsoft.com/office/drawing/2014/main" id="{2B5059D0-552D-467E-A94C-1C68D5615B48}"/>
                </a:ext>
              </a:extLst>
            </p:cNvPr>
            <p:cNvSpPr/>
            <p:nvPr/>
          </p:nvSpPr>
          <p:spPr>
            <a:xfrm>
              <a:off x="6587487" y="1801628"/>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7" name="Freeform: Shape 196">
              <a:extLst>
                <a:ext uri="{FF2B5EF4-FFF2-40B4-BE49-F238E27FC236}">
                  <a16:creationId xmlns:a16="http://schemas.microsoft.com/office/drawing/2014/main" id="{96398408-A229-4A78-9738-E5F647E3CDDF}"/>
                </a:ext>
              </a:extLst>
            </p:cNvPr>
            <p:cNvSpPr/>
            <p:nvPr/>
          </p:nvSpPr>
          <p:spPr>
            <a:xfrm>
              <a:off x="6507358" y="1801628"/>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8" name="Freeform: Shape 197">
              <a:extLst>
                <a:ext uri="{FF2B5EF4-FFF2-40B4-BE49-F238E27FC236}">
                  <a16:creationId xmlns:a16="http://schemas.microsoft.com/office/drawing/2014/main" id="{2CA2516F-64E9-4603-B808-386E745D2D8C}"/>
                </a:ext>
              </a:extLst>
            </p:cNvPr>
            <p:cNvSpPr/>
            <p:nvPr/>
          </p:nvSpPr>
          <p:spPr>
            <a:xfrm>
              <a:off x="6423694" y="1801628"/>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9" name="Freeform: Shape 198">
              <a:extLst>
                <a:ext uri="{FF2B5EF4-FFF2-40B4-BE49-F238E27FC236}">
                  <a16:creationId xmlns:a16="http://schemas.microsoft.com/office/drawing/2014/main" id="{947F0B16-AAD4-4214-B859-366A8FDD6218}"/>
                </a:ext>
              </a:extLst>
            </p:cNvPr>
            <p:cNvSpPr/>
            <p:nvPr/>
          </p:nvSpPr>
          <p:spPr>
            <a:xfrm>
              <a:off x="6344743" y="1801628"/>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88" name="Freeform: Shape 187">
              <a:extLst>
                <a:ext uri="{FF2B5EF4-FFF2-40B4-BE49-F238E27FC236}">
                  <a16:creationId xmlns:a16="http://schemas.microsoft.com/office/drawing/2014/main" id="{698EC439-D648-4802-AE7C-16D3DC31E115}"/>
                </a:ext>
              </a:extLst>
            </p:cNvPr>
            <p:cNvSpPr/>
            <p:nvPr/>
          </p:nvSpPr>
          <p:spPr>
            <a:xfrm>
              <a:off x="6732010" y="1881665"/>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89" name="Freeform: Shape 188">
              <a:extLst>
                <a:ext uri="{FF2B5EF4-FFF2-40B4-BE49-F238E27FC236}">
                  <a16:creationId xmlns:a16="http://schemas.microsoft.com/office/drawing/2014/main" id="{4C2C4539-2AFE-421E-ABA5-050A83CF9727}"/>
                </a:ext>
              </a:extLst>
            </p:cNvPr>
            <p:cNvSpPr/>
            <p:nvPr/>
          </p:nvSpPr>
          <p:spPr>
            <a:xfrm>
              <a:off x="6659760" y="1881665"/>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0" name="Freeform: Shape 189">
              <a:extLst>
                <a:ext uri="{FF2B5EF4-FFF2-40B4-BE49-F238E27FC236}">
                  <a16:creationId xmlns:a16="http://schemas.microsoft.com/office/drawing/2014/main" id="{09E4F026-1A7D-46B9-9A66-4AA8FCB74248}"/>
                </a:ext>
              </a:extLst>
            </p:cNvPr>
            <p:cNvSpPr/>
            <p:nvPr/>
          </p:nvSpPr>
          <p:spPr>
            <a:xfrm>
              <a:off x="6587487" y="1881665"/>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1" name="Freeform: Shape 190">
              <a:extLst>
                <a:ext uri="{FF2B5EF4-FFF2-40B4-BE49-F238E27FC236}">
                  <a16:creationId xmlns:a16="http://schemas.microsoft.com/office/drawing/2014/main" id="{7A4ECCF0-E25F-488D-9EBD-D40423136BCA}"/>
                </a:ext>
              </a:extLst>
            </p:cNvPr>
            <p:cNvSpPr/>
            <p:nvPr/>
          </p:nvSpPr>
          <p:spPr>
            <a:xfrm>
              <a:off x="6507358" y="1881665"/>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2" name="Freeform: Shape 191">
              <a:extLst>
                <a:ext uri="{FF2B5EF4-FFF2-40B4-BE49-F238E27FC236}">
                  <a16:creationId xmlns:a16="http://schemas.microsoft.com/office/drawing/2014/main" id="{27214257-7588-423C-8756-27C89A3A1CF0}"/>
                </a:ext>
              </a:extLst>
            </p:cNvPr>
            <p:cNvSpPr/>
            <p:nvPr/>
          </p:nvSpPr>
          <p:spPr>
            <a:xfrm>
              <a:off x="6423694" y="1881665"/>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93" name="Freeform: Shape 192">
              <a:extLst>
                <a:ext uri="{FF2B5EF4-FFF2-40B4-BE49-F238E27FC236}">
                  <a16:creationId xmlns:a16="http://schemas.microsoft.com/office/drawing/2014/main" id="{513874C2-33E1-4B67-8847-43A966D4551A}"/>
                </a:ext>
              </a:extLst>
            </p:cNvPr>
            <p:cNvSpPr/>
            <p:nvPr/>
          </p:nvSpPr>
          <p:spPr>
            <a:xfrm>
              <a:off x="6344743" y="1881665"/>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pic>
          <p:nvPicPr>
            <p:cNvPr id="169" name="Picture 168">
              <a:extLst>
                <a:ext uri="{FF2B5EF4-FFF2-40B4-BE49-F238E27FC236}">
                  <a16:creationId xmlns:a16="http://schemas.microsoft.com/office/drawing/2014/main" id="{12FD09A9-FA89-4D5B-9D7E-1EB060D7009B}"/>
                </a:ext>
              </a:extLst>
            </p:cNvPr>
            <p:cNvPicPr>
              <a:picLocks noChangeAspect="1"/>
            </p:cNvPicPr>
            <p:nvPr/>
          </p:nvPicPr>
          <p:blipFill>
            <a:blip r:embed="rId4" cstate="screen">
              <a:duotone>
                <a:prstClr val="black"/>
                <a:schemeClr val="accent4">
                  <a:tint val="45000"/>
                  <a:satMod val="400000"/>
                </a:schemeClr>
              </a:duotone>
              <a:extLst>
                <a:ext uri="{BEBA8EAE-BF5A-486C-A8C5-ECC9F3942E4B}">
                  <a14:imgProps xmlns:a14="http://schemas.microsoft.com/office/drawing/2010/main">
                    <a14:imgLayer r:embed="rId5">
                      <a14:imgEffect>
                        <a14:brightnessContrast bright="-16000" contrast="53000"/>
                      </a14:imgEffect>
                    </a14:imgLayer>
                  </a14:imgProps>
                </a:ext>
                <a:ext uri="{28A0092B-C50C-407E-A947-70E740481C1C}">
                  <a14:useLocalDpi xmlns:a14="http://schemas.microsoft.com/office/drawing/2010/main"/>
                </a:ext>
              </a:extLst>
            </a:blip>
            <a:srcRect/>
            <a:stretch>
              <a:fillRect/>
            </a:stretch>
          </p:blipFill>
          <p:spPr>
            <a:xfrm>
              <a:off x="6242405" y="1593775"/>
              <a:ext cx="784173" cy="682536"/>
            </a:xfrm>
            <a:custGeom>
              <a:avLst/>
              <a:gdLst>
                <a:gd name="connsiteX0" fmla="*/ 518296 w 3141731"/>
                <a:gd name="connsiteY0" fmla="*/ 0 h 2734531"/>
                <a:gd name="connsiteX1" fmla="*/ 2623436 w 3141731"/>
                <a:gd name="connsiteY1" fmla="*/ 0 h 2734531"/>
                <a:gd name="connsiteX2" fmla="*/ 2681636 w 3141731"/>
                <a:gd name="connsiteY2" fmla="*/ 52896 h 2734531"/>
                <a:gd name="connsiteX3" fmla="*/ 3141731 w 3141731"/>
                <a:gd name="connsiteY3" fmla="*/ 1163665 h 2734531"/>
                <a:gd name="connsiteX4" fmla="*/ 1570866 w 3141731"/>
                <a:gd name="connsiteY4" fmla="*/ 2734531 h 2734531"/>
                <a:gd name="connsiteX5" fmla="*/ 0 w 3141731"/>
                <a:gd name="connsiteY5" fmla="*/ 1163665 h 2734531"/>
                <a:gd name="connsiteX6" fmla="*/ 460096 w 3141731"/>
                <a:gd name="connsiteY6" fmla="*/ 52896 h 273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1731" h="2734531">
                  <a:moveTo>
                    <a:pt x="518296" y="0"/>
                  </a:moveTo>
                  <a:lnTo>
                    <a:pt x="2623436" y="0"/>
                  </a:lnTo>
                  <a:lnTo>
                    <a:pt x="2681636" y="52896"/>
                  </a:lnTo>
                  <a:cubicBezTo>
                    <a:pt x="2965906" y="337166"/>
                    <a:pt x="3141731" y="729883"/>
                    <a:pt x="3141731" y="1163665"/>
                  </a:cubicBezTo>
                  <a:cubicBezTo>
                    <a:pt x="3141731" y="2031230"/>
                    <a:pt x="2438431" y="2734531"/>
                    <a:pt x="1570866" y="2734531"/>
                  </a:cubicBezTo>
                  <a:cubicBezTo>
                    <a:pt x="703301" y="2734531"/>
                    <a:pt x="0" y="2031230"/>
                    <a:pt x="0" y="1163665"/>
                  </a:cubicBezTo>
                  <a:cubicBezTo>
                    <a:pt x="0" y="729883"/>
                    <a:pt x="175825" y="337166"/>
                    <a:pt x="460096" y="52896"/>
                  </a:cubicBezTo>
                  <a:close/>
                </a:path>
              </a:pathLst>
            </a:custGeom>
          </p:spPr>
        </p:pic>
        <p:sp>
          <p:nvSpPr>
            <p:cNvPr id="227" name="Freeform: Shape 226">
              <a:extLst>
                <a:ext uri="{FF2B5EF4-FFF2-40B4-BE49-F238E27FC236}">
                  <a16:creationId xmlns:a16="http://schemas.microsoft.com/office/drawing/2014/main" id="{A5992DCC-6C0B-4F54-B5F8-F172F9083338}"/>
                </a:ext>
              </a:extLst>
            </p:cNvPr>
            <p:cNvSpPr/>
            <p:nvPr/>
          </p:nvSpPr>
          <p:spPr>
            <a:xfrm>
              <a:off x="7190568" y="1641555"/>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accent4"/>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28" name="Freeform: Shape 227">
              <a:extLst>
                <a:ext uri="{FF2B5EF4-FFF2-40B4-BE49-F238E27FC236}">
                  <a16:creationId xmlns:a16="http://schemas.microsoft.com/office/drawing/2014/main" id="{CD67F7A1-7D0B-4755-868E-D0BDF66ADBF3}"/>
                </a:ext>
              </a:extLst>
            </p:cNvPr>
            <p:cNvSpPr/>
            <p:nvPr/>
          </p:nvSpPr>
          <p:spPr>
            <a:xfrm>
              <a:off x="7118318" y="1641555"/>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4"/>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29" name="Freeform: Shape 228">
              <a:extLst>
                <a:ext uri="{FF2B5EF4-FFF2-40B4-BE49-F238E27FC236}">
                  <a16:creationId xmlns:a16="http://schemas.microsoft.com/office/drawing/2014/main" id="{D06B65EC-1500-4279-B01F-3C6FA8972008}"/>
                </a:ext>
              </a:extLst>
            </p:cNvPr>
            <p:cNvSpPr/>
            <p:nvPr/>
          </p:nvSpPr>
          <p:spPr>
            <a:xfrm>
              <a:off x="7046045" y="1641555"/>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accent1"/>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30" name="Freeform: Shape 229">
              <a:extLst>
                <a:ext uri="{FF2B5EF4-FFF2-40B4-BE49-F238E27FC236}">
                  <a16:creationId xmlns:a16="http://schemas.microsoft.com/office/drawing/2014/main" id="{369536AD-ED43-4386-A0A6-DC4F5B9387C0}"/>
                </a:ext>
              </a:extLst>
            </p:cNvPr>
            <p:cNvSpPr/>
            <p:nvPr/>
          </p:nvSpPr>
          <p:spPr>
            <a:xfrm>
              <a:off x="6965916" y="1641555"/>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accent4"/>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31" name="Freeform: Shape 230">
              <a:extLst>
                <a:ext uri="{FF2B5EF4-FFF2-40B4-BE49-F238E27FC236}">
                  <a16:creationId xmlns:a16="http://schemas.microsoft.com/office/drawing/2014/main" id="{5DF419BD-44D9-45EA-8BC7-F2307733F7FE}"/>
                </a:ext>
              </a:extLst>
            </p:cNvPr>
            <p:cNvSpPr/>
            <p:nvPr/>
          </p:nvSpPr>
          <p:spPr>
            <a:xfrm>
              <a:off x="6882251" y="1641555"/>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32" name="Freeform: Shape 231">
              <a:extLst>
                <a:ext uri="{FF2B5EF4-FFF2-40B4-BE49-F238E27FC236}">
                  <a16:creationId xmlns:a16="http://schemas.microsoft.com/office/drawing/2014/main" id="{AEF9B137-B291-4912-A48D-9B42FC935EB0}"/>
                </a:ext>
              </a:extLst>
            </p:cNvPr>
            <p:cNvSpPr/>
            <p:nvPr/>
          </p:nvSpPr>
          <p:spPr>
            <a:xfrm>
              <a:off x="6803301" y="1641555"/>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33" name="Freeform: Shape 232">
              <a:extLst>
                <a:ext uri="{FF2B5EF4-FFF2-40B4-BE49-F238E27FC236}">
                  <a16:creationId xmlns:a16="http://schemas.microsoft.com/office/drawing/2014/main" id="{FC140B4E-18DF-4639-8881-94B97BE427B2}"/>
                </a:ext>
              </a:extLst>
            </p:cNvPr>
            <p:cNvSpPr/>
            <p:nvPr/>
          </p:nvSpPr>
          <p:spPr>
            <a:xfrm>
              <a:off x="7190568" y="1721591"/>
              <a:ext cx="25970" cy="2597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chemeClr val="accent4"/>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34" name="Freeform: Shape 233">
              <a:extLst>
                <a:ext uri="{FF2B5EF4-FFF2-40B4-BE49-F238E27FC236}">
                  <a16:creationId xmlns:a16="http://schemas.microsoft.com/office/drawing/2014/main" id="{BA237E2C-5AAC-4F7D-A4AC-BBD6CAF5C410}"/>
                </a:ext>
              </a:extLst>
            </p:cNvPr>
            <p:cNvSpPr/>
            <p:nvPr/>
          </p:nvSpPr>
          <p:spPr>
            <a:xfrm>
              <a:off x="7118318" y="1721591"/>
              <a:ext cx="25970" cy="2597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chemeClr val="accent4"/>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35" name="Freeform: Shape 234">
              <a:extLst>
                <a:ext uri="{FF2B5EF4-FFF2-40B4-BE49-F238E27FC236}">
                  <a16:creationId xmlns:a16="http://schemas.microsoft.com/office/drawing/2014/main" id="{85DA3511-8C4B-4575-82F9-BCC2E7AF3DF9}"/>
                </a:ext>
              </a:extLst>
            </p:cNvPr>
            <p:cNvSpPr/>
            <p:nvPr/>
          </p:nvSpPr>
          <p:spPr>
            <a:xfrm>
              <a:off x="7046045" y="1721591"/>
              <a:ext cx="25970" cy="2597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chemeClr val="accent1"/>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36" name="Freeform: Shape 235">
              <a:extLst>
                <a:ext uri="{FF2B5EF4-FFF2-40B4-BE49-F238E27FC236}">
                  <a16:creationId xmlns:a16="http://schemas.microsoft.com/office/drawing/2014/main" id="{E7E54A8A-F4F3-4BD2-9547-B0002237E1F2}"/>
                </a:ext>
              </a:extLst>
            </p:cNvPr>
            <p:cNvSpPr/>
            <p:nvPr/>
          </p:nvSpPr>
          <p:spPr>
            <a:xfrm>
              <a:off x="6965916" y="1721591"/>
              <a:ext cx="25970" cy="25970"/>
            </a:xfrm>
            <a:custGeom>
              <a:avLst/>
              <a:gdLst>
                <a:gd name="connsiteX0" fmla="*/ 58221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1"/>
                    <a:pt x="29110" y="58221"/>
                  </a:cubicBezTo>
                  <a:cubicBezTo>
                    <a:pt x="13033" y="58221"/>
                    <a:pt x="0" y="45187"/>
                    <a:pt x="0" y="29110"/>
                  </a:cubicBezTo>
                  <a:cubicBezTo>
                    <a:pt x="0" y="13033"/>
                    <a:pt x="13033" y="0"/>
                    <a:pt x="29110" y="0"/>
                  </a:cubicBezTo>
                  <a:cubicBezTo>
                    <a:pt x="45187" y="0"/>
                    <a:pt x="58221" y="13033"/>
                    <a:pt x="58221" y="29110"/>
                  </a:cubicBezTo>
                  <a:close/>
                </a:path>
              </a:pathLst>
            </a:custGeom>
            <a:solidFill>
              <a:schemeClr val="accent4"/>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37" name="Freeform: Shape 236">
              <a:extLst>
                <a:ext uri="{FF2B5EF4-FFF2-40B4-BE49-F238E27FC236}">
                  <a16:creationId xmlns:a16="http://schemas.microsoft.com/office/drawing/2014/main" id="{59B40E3F-F214-405D-A86A-3A11E4E0B1F8}"/>
                </a:ext>
              </a:extLst>
            </p:cNvPr>
            <p:cNvSpPr/>
            <p:nvPr/>
          </p:nvSpPr>
          <p:spPr>
            <a:xfrm>
              <a:off x="6882251" y="1721591"/>
              <a:ext cx="25970" cy="2597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38" name="Freeform: Shape 237">
              <a:extLst>
                <a:ext uri="{FF2B5EF4-FFF2-40B4-BE49-F238E27FC236}">
                  <a16:creationId xmlns:a16="http://schemas.microsoft.com/office/drawing/2014/main" id="{85B35AD7-2172-4784-93C2-F5E59EED863C}"/>
                </a:ext>
              </a:extLst>
            </p:cNvPr>
            <p:cNvSpPr/>
            <p:nvPr/>
          </p:nvSpPr>
          <p:spPr>
            <a:xfrm>
              <a:off x="6803301" y="1721591"/>
              <a:ext cx="25970" cy="25970"/>
            </a:xfrm>
            <a:custGeom>
              <a:avLst/>
              <a:gdLst>
                <a:gd name="connsiteX0" fmla="*/ 58220 w 58220"/>
                <a:gd name="connsiteY0" fmla="*/ 29110 h 58220"/>
                <a:gd name="connsiteX1" fmla="*/ 29110 w 58220"/>
                <a:gd name="connsiteY1" fmla="*/ 58221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1"/>
                    <a:pt x="29110" y="58221"/>
                  </a:cubicBezTo>
                  <a:cubicBezTo>
                    <a:pt x="13033" y="58221"/>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39" name="Freeform: Shape 238">
              <a:extLst>
                <a:ext uri="{FF2B5EF4-FFF2-40B4-BE49-F238E27FC236}">
                  <a16:creationId xmlns:a16="http://schemas.microsoft.com/office/drawing/2014/main" id="{50EE9B20-1C4E-414C-8585-07E6727DC771}"/>
                </a:ext>
              </a:extLst>
            </p:cNvPr>
            <p:cNvSpPr/>
            <p:nvPr/>
          </p:nvSpPr>
          <p:spPr>
            <a:xfrm>
              <a:off x="7190568" y="1801628"/>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accent1"/>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40" name="Freeform: Shape 239">
              <a:extLst>
                <a:ext uri="{FF2B5EF4-FFF2-40B4-BE49-F238E27FC236}">
                  <a16:creationId xmlns:a16="http://schemas.microsoft.com/office/drawing/2014/main" id="{BBC41512-5676-4290-9B78-4212F3FAC6DE}"/>
                </a:ext>
              </a:extLst>
            </p:cNvPr>
            <p:cNvSpPr/>
            <p:nvPr/>
          </p:nvSpPr>
          <p:spPr>
            <a:xfrm>
              <a:off x="7118318" y="1801628"/>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1"/>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41" name="Freeform: Shape 240">
              <a:extLst>
                <a:ext uri="{FF2B5EF4-FFF2-40B4-BE49-F238E27FC236}">
                  <a16:creationId xmlns:a16="http://schemas.microsoft.com/office/drawing/2014/main" id="{548BD0E0-2D0C-4DC6-8F72-9C2E57B6C593}"/>
                </a:ext>
              </a:extLst>
            </p:cNvPr>
            <p:cNvSpPr/>
            <p:nvPr/>
          </p:nvSpPr>
          <p:spPr>
            <a:xfrm>
              <a:off x="7046045" y="1801628"/>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accent1"/>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42" name="Freeform: Shape 241">
              <a:extLst>
                <a:ext uri="{FF2B5EF4-FFF2-40B4-BE49-F238E27FC236}">
                  <a16:creationId xmlns:a16="http://schemas.microsoft.com/office/drawing/2014/main" id="{CED39F8C-D0E8-49D0-AABA-3165F066B6FF}"/>
                </a:ext>
              </a:extLst>
            </p:cNvPr>
            <p:cNvSpPr/>
            <p:nvPr/>
          </p:nvSpPr>
          <p:spPr>
            <a:xfrm>
              <a:off x="6965916" y="1801628"/>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bg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43" name="Freeform: Shape 242">
              <a:extLst>
                <a:ext uri="{FF2B5EF4-FFF2-40B4-BE49-F238E27FC236}">
                  <a16:creationId xmlns:a16="http://schemas.microsoft.com/office/drawing/2014/main" id="{959ACB9F-0C5B-4ED3-B811-DBF51D5E003F}"/>
                </a:ext>
              </a:extLst>
            </p:cNvPr>
            <p:cNvSpPr/>
            <p:nvPr/>
          </p:nvSpPr>
          <p:spPr>
            <a:xfrm>
              <a:off x="6882251" y="1801628"/>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44" name="Freeform: Shape 243">
              <a:extLst>
                <a:ext uri="{FF2B5EF4-FFF2-40B4-BE49-F238E27FC236}">
                  <a16:creationId xmlns:a16="http://schemas.microsoft.com/office/drawing/2014/main" id="{77CC87C7-1C79-4735-9EFE-D88070302F05}"/>
                </a:ext>
              </a:extLst>
            </p:cNvPr>
            <p:cNvSpPr/>
            <p:nvPr/>
          </p:nvSpPr>
          <p:spPr>
            <a:xfrm>
              <a:off x="6803301" y="1801628"/>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46" name="Freeform: Shape 245">
              <a:extLst>
                <a:ext uri="{FF2B5EF4-FFF2-40B4-BE49-F238E27FC236}">
                  <a16:creationId xmlns:a16="http://schemas.microsoft.com/office/drawing/2014/main" id="{1CE18029-94C4-407F-8D54-097B5158C7E7}"/>
                </a:ext>
              </a:extLst>
            </p:cNvPr>
            <p:cNvSpPr/>
            <p:nvPr/>
          </p:nvSpPr>
          <p:spPr>
            <a:xfrm>
              <a:off x="7118318" y="1881665"/>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4"/>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47" name="Freeform: Shape 246">
              <a:extLst>
                <a:ext uri="{FF2B5EF4-FFF2-40B4-BE49-F238E27FC236}">
                  <a16:creationId xmlns:a16="http://schemas.microsoft.com/office/drawing/2014/main" id="{6FB63B20-B56A-4F5F-B5F4-7902B64A6AF6}"/>
                </a:ext>
              </a:extLst>
            </p:cNvPr>
            <p:cNvSpPr/>
            <p:nvPr/>
          </p:nvSpPr>
          <p:spPr>
            <a:xfrm>
              <a:off x="7046045" y="1881665"/>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accent1"/>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48" name="Freeform: Shape 247">
              <a:extLst>
                <a:ext uri="{FF2B5EF4-FFF2-40B4-BE49-F238E27FC236}">
                  <a16:creationId xmlns:a16="http://schemas.microsoft.com/office/drawing/2014/main" id="{E3A5601C-5D8B-4C60-84D6-0460B903D052}"/>
                </a:ext>
              </a:extLst>
            </p:cNvPr>
            <p:cNvSpPr/>
            <p:nvPr/>
          </p:nvSpPr>
          <p:spPr>
            <a:xfrm>
              <a:off x="6965916" y="1881665"/>
              <a:ext cx="25970" cy="25970"/>
            </a:xfrm>
            <a:custGeom>
              <a:avLst/>
              <a:gdLst>
                <a:gd name="connsiteX0" fmla="*/ 58221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1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1" y="29110"/>
                  </a:moveTo>
                  <a:cubicBezTo>
                    <a:pt x="58221" y="45187"/>
                    <a:pt x="45187" y="58220"/>
                    <a:pt x="29110" y="58220"/>
                  </a:cubicBezTo>
                  <a:cubicBezTo>
                    <a:pt x="13033" y="58220"/>
                    <a:pt x="0" y="45187"/>
                    <a:pt x="0" y="29110"/>
                  </a:cubicBezTo>
                  <a:cubicBezTo>
                    <a:pt x="0" y="13033"/>
                    <a:pt x="13033" y="0"/>
                    <a:pt x="29110" y="0"/>
                  </a:cubicBezTo>
                  <a:cubicBezTo>
                    <a:pt x="45187" y="0"/>
                    <a:pt x="58221" y="13033"/>
                    <a:pt x="58221" y="29110"/>
                  </a:cubicBezTo>
                  <a:close/>
                </a:path>
              </a:pathLst>
            </a:custGeom>
            <a:solidFill>
              <a:schemeClr val="bg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49" name="Freeform: Shape 248">
              <a:extLst>
                <a:ext uri="{FF2B5EF4-FFF2-40B4-BE49-F238E27FC236}">
                  <a16:creationId xmlns:a16="http://schemas.microsoft.com/office/drawing/2014/main" id="{CBDE525F-8392-4102-A2E6-68BBDDED67EE}"/>
                </a:ext>
              </a:extLst>
            </p:cNvPr>
            <p:cNvSpPr/>
            <p:nvPr/>
          </p:nvSpPr>
          <p:spPr>
            <a:xfrm>
              <a:off x="6882251" y="1881665"/>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50" name="Freeform: Shape 249">
              <a:extLst>
                <a:ext uri="{FF2B5EF4-FFF2-40B4-BE49-F238E27FC236}">
                  <a16:creationId xmlns:a16="http://schemas.microsoft.com/office/drawing/2014/main" id="{42B51DCD-2324-4A81-948A-DE3851A157D2}"/>
                </a:ext>
              </a:extLst>
            </p:cNvPr>
            <p:cNvSpPr/>
            <p:nvPr/>
          </p:nvSpPr>
          <p:spPr>
            <a:xfrm>
              <a:off x="6803301" y="1881665"/>
              <a:ext cx="25970" cy="25970"/>
            </a:xfrm>
            <a:custGeom>
              <a:avLst/>
              <a:gdLst>
                <a:gd name="connsiteX0" fmla="*/ 58220 w 58220"/>
                <a:gd name="connsiteY0" fmla="*/ 29110 h 58220"/>
                <a:gd name="connsiteX1" fmla="*/ 29110 w 58220"/>
                <a:gd name="connsiteY1" fmla="*/ 58220 h 58220"/>
                <a:gd name="connsiteX2" fmla="*/ 0 w 58220"/>
                <a:gd name="connsiteY2" fmla="*/ 29110 h 58220"/>
                <a:gd name="connsiteX3" fmla="*/ 29110 w 58220"/>
                <a:gd name="connsiteY3" fmla="*/ 0 h 58220"/>
                <a:gd name="connsiteX4" fmla="*/ 58220 w 58220"/>
                <a:gd name="connsiteY4" fmla="*/ 29110 h 58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220" h="58220">
                  <a:moveTo>
                    <a:pt x="58220" y="29110"/>
                  </a:moveTo>
                  <a:cubicBezTo>
                    <a:pt x="58220" y="45187"/>
                    <a:pt x="45187" y="58220"/>
                    <a:pt x="29110" y="58220"/>
                  </a:cubicBezTo>
                  <a:cubicBezTo>
                    <a:pt x="13033" y="58220"/>
                    <a:pt x="0" y="45187"/>
                    <a:pt x="0" y="29110"/>
                  </a:cubicBezTo>
                  <a:cubicBezTo>
                    <a:pt x="0" y="13033"/>
                    <a:pt x="13033" y="0"/>
                    <a:pt x="29110" y="0"/>
                  </a:cubicBezTo>
                  <a:cubicBezTo>
                    <a:pt x="45187" y="0"/>
                    <a:pt x="58220" y="13033"/>
                    <a:pt x="58220" y="29110"/>
                  </a:cubicBezTo>
                  <a:close/>
                </a:path>
              </a:pathLst>
            </a:custGeom>
            <a:solidFill>
              <a:schemeClr val="accent2"/>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6" name="Group 5">
            <a:extLst>
              <a:ext uri="{FF2B5EF4-FFF2-40B4-BE49-F238E27FC236}">
                <a16:creationId xmlns:a16="http://schemas.microsoft.com/office/drawing/2014/main" id="{7409E27F-32CE-49BC-B040-CB758F856C12}"/>
              </a:ext>
            </a:extLst>
          </p:cNvPr>
          <p:cNvGrpSpPr/>
          <p:nvPr/>
        </p:nvGrpSpPr>
        <p:grpSpPr>
          <a:xfrm>
            <a:off x="3646090" y="1866328"/>
            <a:ext cx="1128104" cy="1301742"/>
            <a:chOff x="6468867" y="2449706"/>
            <a:chExt cx="1128104" cy="1301742"/>
          </a:xfrm>
        </p:grpSpPr>
        <p:sp>
          <p:nvSpPr>
            <p:cNvPr id="251" name="Freeform: Shape 250">
              <a:extLst>
                <a:ext uri="{FF2B5EF4-FFF2-40B4-BE49-F238E27FC236}">
                  <a16:creationId xmlns:a16="http://schemas.microsoft.com/office/drawing/2014/main" id="{72AEA46A-5069-4238-A54A-E01D30D1EE3D}"/>
                </a:ext>
              </a:extLst>
            </p:cNvPr>
            <p:cNvSpPr/>
            <p:nvPr/>
          </p:nvSpPr>
          <p:spPr>
            <a:xfrm rot="1666687">
              <a:off x="6684592" y="2848137"/>
              <a:ext cx="582089" cy="582090"/>
            </a:xfrm>
            <a:custGeom>
              <a:avLst/>
              <a:gdLst>
                <a:gd name="connsiteX0" fmla="*/ 3141730 w 3141730"/>
                <a:gd name="connsiteY0" fmla="*/ 1570865 h 3141730"/>
                <a:gd name="connsiteX1" fmla="*/ 1570865 w 3141730"/>
                <a:gd name="connsiteY1" fmla="*/ 3141731 h 3141730"/>
                <a:gd name="connsiteX2" fmla="*/ -1 w 3141730"/>
                <a:gd name="connsiteY2" fmla="*/ 1570865 h 3141730"/>
                <a:gd name="connsiteX3" fmla="*/ 1570865 w 3141730"/>
                <a:gd name="connsiteY3" fmla="*/ 0 h 3141730"/>
                <a:gd name="connsiteX4" fmla="*/ 3141730 w 3141730"/>
                <a:gd name="connsiteY4" fmla="*/ 1570865 h 314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1730" h="3141730">
                  <a:moveTo>
                    <a:pt x="3141730" y="1570865"/>
                  </a:moveTo>
                  <a:cubicBezTo>
                    <a:pt x="3141730" y="2438430"/>
                    <a:pt x="2438430" y="3141731"/>
                    <a:pt x="1570865" y="3141731"/>
                  </a:cubicBezTo>
                  <a:cubicBezTo>
                    <a:pt x="703300" y="3141731"/>
                    <a:pt x="-1" y="2438430"/>
                    <a:pt x="-1" y="1570865"/>
                  </a:cubicBezTo>
                  <a:cubicBezTo>
                    <a:pt x="-1" y="703300"/>
                    <a:pt x="703300" y="0"/>
                    <a:pt x="1570865" y="0"/>
                  </a:cubicBezTo>
                  <a:cubicBezTo>
                    <a:pt x="2438430" y="0"/>
                    <a:pt x="3141730" y="703300"/>
                    <a:pt x="3141730" y="1570865"/>
                  </a:cubicBezTo>
                  <a:close/>
                </a:path>
              </a:pathLst>
            </a:custGeom>
            <a:solidFill>
              <a:srgbClr val="6CBE4C">
                <a:alpha val="60000"/>
              </a:srgbClr>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pic>
          <p:nvPicPr>
            <p:cNvPr id="254" name="Picture 2">
              <a:extLst>
                <a:ext uri="{FF2B5EF4-FFF2-40B4-BE49-F238E27FC236}">
                  <a16:creationId xmlns:a16="http://schemas.microsoft.com/office/drawing/2014/main" id="{13C5F0A6-8C25-4DAD-868E-ABF5819BDBE6}"/>
                </a:ext>
              </a:extLst>
            </p:cNvPr>
            <p:cNvPicPr>
              <a:picLocks noChangeAspect="1" noChangeArrowheads="1"/>
            </p:cNvPicPr>
            <p:nvPr/>
          </p:nvPicPr>
          <p:blipFill>
            <a:blip r:embed="rId6" cstate="screen">
              <a:duotone>
                <a:schemeClr val="accent1">
                  <a:shade val="45000"/>
                  <a:satMod val="135000"/>
                </a:schemeClr>
                <a:prstClr val="white"/>
              </a:duotone>
              <a:alphaModFix amt="20000"/>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rot="4411388">
              <a:off x="6673421" y="2822323"/>
              <a:ext cx="685192" cy="1024940"/>
            </a:xfrm>
            <a:prstGeom prst="rect">
              <a:avLst/>
            </a:prstGeom>
            <a:noFill/>
            <a:extLst>
              <a:ext uri="{909E8E84-426E-40DD-AFC4-6F175D3DCCD1}">
                <a14:hiddenFill xmlns:a14="http://schemas.microsoft.com/office/drawing/2010/main">
                  <a:solidFill>
                    <a:srgbClr val="FFFFFF"/>
                  </a:solidFill>
                </a14:hiddenFill>
              </a:ext>
            </a:extLst>
          </p:spPr>
        </p:pic>
        <p:pic>
          <p:nvPicPr>
            <p:cNvPr id="253" name="Picture 2">
              <a:extLst>
                <a:ext uri="{FF2B5EF4-FFF2-40B4-BE49-F238E27FC236}">
                  <a16:creationId xmlns:a16="http://schemas.microsoft.com/office/drawing/2014/main" id="{8413CED9-BE49-419C-8C97-56C752038494}"/>
                </a:ext>
              </a:extLst>
            </p:cNvPr>
            <p:cNvPicPr>
              <a:picLocks noChangeAspect="1" noChangeArrowheads="1"/>
            </p:cNvPicPr>
            <p:nvPr/>
          </p:nvPicPr>
          <p:blipFill>
            <a:blip r:embed="rId8" cstate="screen">
              <a:duotone>
                <a:schemeClr val="accent2">
                  <a:shade val="45000"/>
                  <a:satMod val="135000"/>
                </a:schemeClr>
                <a:prstClr val="white"/>
              </a:duotone>
              <a:alphaModFix amt="40000"/>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rot="3466687">
              <a:off x="6655840" y="2694897"/>
              <a:ext cx="754158" cy="1128104"/>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03853490-9D10-41CB-A2B4-262BDE0DDF52}"/>
                </a:ext>
              </a:extLst>
            </p:cNvPr>
            <p:cNvPicPr>
              <a:picLocks noChangeAspect="1" noChangeArrowheads="1"/>
            </p:cNvPicPr>
            <p:nvPr/>
          </p:nvPicPr>
          <p:blipFill>
            <a:blip r:embed="rId10" cstate="screen">
              <a:duotone>
                <a:schemeClr val="bg2">
                  <a:shade val="45000"/>
                  <a:satMod val="135000"/>
                </a:schemeClr>
                <a:prstClr val="white"/>
              </a:duotone>
              <a:alphaModFix amt="6000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rot="2390207">
              <a:off x="6615881" y="2565528"/>
              <a:ext cx="792810" cy="1185920"/>
            </a:xfrm>
            <a:prstGeom prst="rect">
              <a:avLst/>
            </a:prstGeom>
            <a:noFill/>
            <a:extLst>
              <a:ext uri="{909E8E84-426E-40DD-AFC4-6F175D3DCCD1}">
                <a14:hiddenFill xmlns:a14="http://schemas.microsoft.com/office/drawing/2010/main">
                  <a:solidFill>
                    <a:srgbClr val="FFFFFF"/>
                  </a:solidFill>
                </a14:hiddenFill>
              </a:ext>
            </a:extLst>
          </p:spPr>
        </p:pic>
        <p:pic>
          <p:nvPicPr>
            <p:cNvPr id="252" name="Picture 2">
              <a:extLst>
                <a:ext uri="{FF2B5EF4-FFF2-40B4-BE49-F238E27FC236}">
                  <a16:creationId xmlns:a16="http://schemas.microsoft.com/office/drawing/2014/main" id="{59102DD9-F0E0-4320-8925-20C343861F9F}"/>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rot="1445765">
              <a:off x="6552460" y="2449706"/>
              <a:ext cx="842903" cy="12608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333A5FA6-FF94-4175-820F-AA892B27E9B4}"/>
              </a:ext>
            </a:extLst>
          </p:cNvPr>
          <p:cNvGrpSpPr/>
          <p:nvPr/>
        </p:nvGrpSpPr>
        <p:grpSpPr>
          <a:xfrm>
            <a:off x="3789207" y="3647716"/>
            <a:ext cx="874140" cy="1007724"/>
            <a:chOff x="4930730" y="2538653"/>
            <a:chExt cx="874140" cy="1007724"/>
          </a:xfrm>
        </p:grpSpPr>
        <p:sp>
          <p:nvSpPr>
            <p:cNvPr id="260" name="Freeform: Shape 259">
              <a:extLst>
                <a:ext uri="{FF2B5EF4-FFF2-40B4-BE49-F238E27FC236}">
                  <a16:creationId xmlns:a16="http://schemas.microsoft.com/office/drawing/2014/main" id="{19E58F2C-E0F8-41D9-B87A-C69405C013C3}"/>
                </a:ext>
              </a:extLst>
            </p:cNvPr>
            <p:cNvSpPr/>
            <p:nvPr/>
          </p:nvSpPr>
          <p:spPr>
            <a:xfrm>
              <a:off x="5027209" y="2856358"/>
              <a:ext cx="668171" cy="668170"/>
            </a:xfrm>
            <a:custGeom>
              <a:avLst/>
              <a:gdLst>
                <a:gd name="connsiteX0" fmla="*/ 3141730 w 3141730"/>
                <a:gd name="connsiteY0" fmla="*/ 1570865 h 3141730"/>
                <a:gd name="connsiteX1" fmla="*/ 1570865 w 3141730"/>
                <a:gd name="connsiteY1" fmla="*/ 3141731 h 3141730"/>
                <a:gd name="connsiteX2" fmla="*/ -1 w 3141730"/>
                <a:gd name="connsiteY2" fmla="*/ 1570865 h 3141730"/>
                <a:gd name="connsiteX3" fmla="*/ 1570865 w 3141730"/>
                <a:gd name="connsiteY3" fmla="*/ 0 h 3141730"/>
                <a:gd name="connsiteX4" fmla="*/ 3141730 w 3141730"/>
                <a:gd name="connsiteY4" fmla="*/ 1570865 h 314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1730" h="3141730">
                  <a:moveTo>
                    <a:pt x="3141730" y="1570865"/>
                  </a:moveTo>
                  <a:cubicBezTo>
                    <a:pt x="3141730" y="2438430"/>
                    <a:pt x="2438430" y="3141731"/>
                    <a:pt x="1570865" y="3141731"/>
                  </a:cubicBezTo>
                  <a:cubicBezTo>
                    <a:pt x="703300" y="3141731"/>
                    <a:pt x="-1" y="2438430"/>
                    <a:pt x="-1" y="1570865"/>
                  </a:cubicBezTo>
                  <a:cubicBezTo>
                    <a:pt x="-1" y="703300"/>
                    <a:pt x="703300" y="0"/>
                    <a:pt x="1570865" y="0"/>
                  </a:cubicBezTo>
                  <a:cubicBezTo>
                    <a:pt x="2438430" y="0"/>
                    <a:pt x="3141730" y="703300"/>
                    <a:pt x="3141730" y="1570865"/>
                  </a:cubicBezTo>
                  <a:close/>
                </a:path>
              </a:pathLst>
            </a:custGeom>
            <a:solidFill>
              <a:schemeClr val="tx1"/>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63" name="Freeform: Shape 262">
              <a:extLst>
                <a:ext uri="{FF2B5EF4-FFF2-40B4-BE49-F238E27FC236}">
                  <a16:creationId xmlns:a16="http://schemas.microsoft.com/office/drawing/2014/main" id="{3E505285-FAC4-4FD3-971E-7FEA0F4A0549}"/>
                </a:ext>
              </a:extLst>
            </p:cNvPr>
            <p:cNvSpPr>
              <a:spLocks/>
            </p:cNvSpPr>
            <p:nvPr/>
          </p:nvSpPr>
          <p:spPr bwMode="auto">
            <a:xfrm>
              <a:off x="4930730" y="2963762"/>
              <a:ext cx="574254" cy="582615"/>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bg2"/>
            </a:soli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258" name="Freeform: Shape 257">
              <a:extLst>
                <a:ext uri="{FF2B5EF4-FFF2-40B4-BE49-F238E27FC236}">
                  <a16:creationId xmlns:a16="http://schemas.microsoft.com/office/drawing/2014/main" id="{26EBB6FD-0FA2-49E9-A92B-502C64956287}"/>
                </a:ext>
              </a:extLst>
            </p:cNvPr>
            <p:cNvSpPr/>
            <p:nvPr/>
          </p:nvSpPr>
          <p:spPr>
            <a:xfrm>
              <a:off x="5027209" y="2856358"/>
              <a:ext cx="668171" cy="668170"/>
            </a:xfrm>
            <a:custGeom>
              <a:avLst/>
              <a:gdLst>
                <a:gd name="connsiteX0" fmla="*/ 3141730 w 3141730"/>
                <a:gd name="connsiteY0" fmla="*/ 1570865 h 3141730"/>
                <a:gd name="connsiteX1" fmla="*/ 1570865 w 3141730"/>
                <a:gd name="connsiteY1" fmla="*/ 3141731 h 3141730"/>
                <a:gd name="connsiteX2" fmla="*/ -1 w 3141730"/>
                <a:gd name="connsiteY2" fmla="*/ 1570865 h 3141730"/>
                <a:gd name="connsiteX3" fmla="*/ 1570865 w 3141730"/>
                <a:gd name="connsiteY3" fmla="*/ 0 h 3141730"/>
                <a:gd name="connsiteX4" fmla="*/ 3141730 w 3141730"/>
                <a:gd name="connsiteY4" fmla="*/ 1570865 h 314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1730" h="3141730">
                  <a:moveTo>
                    <a:pt x="3141730" y="1570865"/>
                  </a:moveTo>
                  <a:cubicBezTo>
                    <a:pt x="3141730" y="2438430"/>
                    <a:pt x="2438430" y="3141731"/>
                    <a:pt x="1570865" y="3141731"/>
                  </a:cubicBezTo>
                  <a:cubicBezTo>
                    <a:pt x="703300" y="3141731"/>
                    <a:pt x="-1" y="2438430"/>
                    <a:pt x="-1" y="1570865"/>
                  </a:cubicBezTo>
                  <a:cubicBezTo>
                    <a:pt x="-1" y="703300"/>
                    <a:pt x="703300" y="0"/>
                    <a:pt x="1570865" y="0"/>
                  </a:cubicBezTo>
                  <a:cubicBezTo>
                    <a:pt x="2438430" y="0"/>
                    <a:pt x="3141730" y="703300"/>
                    <a:pt x="3141730" y="1570865"/>
                  </a:cubicBezTo>
                  <a:close/>
                </a:path>
              </a:pathLst>
            </a:custGeom>
            <a:solidFill>
              <a:schemeClr val="accent1">
                <a:alpha val="60000"/>
              </a:schemeClr>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pic>
          <p:nvPicPr>
            <p:cNvPr id="79" name="Picture 78" descr="A black sign with white text&#10;&#10;Description automatically generated">
              <a:extLst>
                <a:ext uri="{FF2B5EF4-FFF2-40B4-BE49-F238E27FC236}">
                  <a16:creationId xmlns:a16="http://schemas.microsoft.com/office/drawing/2014/main" id="{F9E5630E-E13C-478E-8AA4-5486B4A10FEF}"/>
                </a:ext>
              </a:extLst>
            </p:cNvPr>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a:xfrm rot="5400000">
              <a:off x="4931374" y="2650988"/>
              <a:ext cx="985832" cy="761161"/>
            </a:xfrm>
            <a:custGeom>
              <a:avLst/>
              <a:gdLst>
                <a:gd name="connsiteX0" fmla="*/ 0 w 985832"/>
                <a:gd name="connsiteY0" fmla="*/ 586596 h 761161"/>
                <a:gd name="connsiteX1" fmla="*/ 0 w 985832"/>
                <a:gd name="connsiteY1" fmla="*/ 188687 h 761161"/>
                <a:gd name="connsiteX2" fmla="*/ 15087 w 985832"/>
                <a:gd name="connsiteY2" fmla="*/ 162438 h 761161"/>
                <a:gd name="connsiteX3" fmla="*/ 48105 w 985832"/>
                <a:gd name="connsiteY3" fmla="*/ 122420 h 761161"/>
                <a:gd name="connsiteX4" fmla="*/ 48702 w 985832"/>
                <a:gd name="connsiteY4" fmla="*/ 116492 h 761161"/>
                <a:gd name="connsiteX5" fmla="*/ 68526 w 985832"/>
                <a:gd name="connsiteY5" fmla="*/ 49747 h 761161"/>
                <a:gd name="connsiteX6" fmla="*/ 93229 w 985832"/>
                <a:gd name="connsiteY6" fmla="*/ 0 h 761161"/>
                <a:gd name="connsiteX7" fmla="*/ 796094 w 985832"/>
                <a:gd name="connsiteY7" fmla="*/ 0 h 761161"/>
                <a:gd name="connsiteX8" fmla="*/ 820797 w 985832"/>
                <a:gd name="connsiteY8" fmla="*/ 49747 h 761161"/>
                <a:gd name="connsiteX9" fmla="*/ 840620 w 985832"/>
                <a:gd name="connsiteY9" fmla="*/ 116492 h 761161"/>
                <a:gd name="connsiteX10" fmla="*/ 842183 w 985832"/>
                <a:gd name="connsiteY10" fmla="*/ 131999 h 761161"/>
                <a:gd name="connsiteX11" fmla="*/ 867454 w 985832"/>
                <a:gd name="connsiteY11" fmla="*/ 152849 h 761161"/>
                <a:gd name="connsiteX12" fmla="*/ 985832 w 985832"/>
                <a:gd name="connsiteY12" fmla="*/ 438642 h 761161"/>
                <a:gd name="connsiteX13" fmla="*/ 867453 w 985832"/>
                <a:gd name="connsiteY13" fmla="*/ 724435 h 761161"/>
                <a:gd name="connsiteX14" fmla="*/ 822942 w 985832"/>
                <a:gd name="connsiteY14" fmla="*/ 761161 h 761161"/>
                <a:gd name="connsiteX15" fmla="*/ 193989 w 985832"/>
                <a:gd name="connsiteY15" fmla="*/ 761161 h 761161"/>
                <a:gd name="connsiteX16" fmla="*/ 192910 w 985832"/>
                <a:gd name="connsiteY16" fmla="*/ 760826 h 761161"/>
                <a:gd name="connsiteX17" fmla="*/ 15087 w 985832"/>
                <a:gd name="connsiteY17" fmla="*/ 614392 h 761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5832" h="761161">
                  <a:moveTo>
                    <a:pt x="0" y="586596"/>
                  </a:moveTo>
                  <a:lnTo>
                    <a:pt x="0" y="188687"/>
                  </a:lnTo>
                  <a:lnTo>
                    <a:pt x="15087" y="162438"/>
                  </a:lnTo>
                  <a:lnTo>
                    <a:pt x="48105" y="122420"/>
                  </a:lnTo>
                  <a:lnTo>
                    <a:pt x="48702" y="116492"/>
                  </a:lnTo>
                  <a:cubicBezTo>
                    <a:pt x="53413" y="93471"/>
                    <a:pt x="60081" y="71162"/>
                    <a:pt x="68526" y="49747"/>
                  </a:cubicBezTo>
                  <a:lnTo>
                    <a:pt x="93229" y="0"/>
                  </a:lnTo>
                  <a:lnTo>
                    <a:pt x="796094" y="0"/>
                  </a:lnTo>
                  <a:lnTo>
                    <a:pt x="820797" y="49747"/>
                  </a:lnTo>
                  <a:cubicBezTo>
                    <a:pt x="829241" y="71162"/>
                    <a:pt x="835909" y="93471"/>
                    <a:pt x="840620" y="116492"/>
                  </a:cubicBezTo>
                  <a:lnTo>
                    <a:pt x="842183" y="131999"/>
                  </a:lnTo>
                  <a:lnTo>
                    <a:pt x="867454" y="152849"/>
                  </a:lnTo>
                  <a:cubicBezTo>
                    <a:pt x="940594" y="225990"/>
                    <a:pt x="985832" y="327033"/>
                    <a:pt x="985832" y="438642"/>
                  </a:cubicBezTo>
                  <a:cubicBezTo>
                    <a:pt x="985832" y="550251"/>
                    <a:pt x="940594" y="651294"/>
                    <a:pt x="867453" y="724435"/>
                  </a:cubicBezTo>
                  <a:lnTo>
                    <a:pt x="822942" y="761161"/>
                  </a:lnTo>
                  <a:lnTo>
                    <a:pt x="193989" y="761161"/>
                  </a:lnTo>
                  <a:lnTo>
                    <a:pt x="192910" y="760826"/>
                  </a:lnTo>
                  <a:cubicBezTo>
                    <a:pt x="120379" y="730148"/>
                    <a:pt x="58666" y="678898"/>
                    <a:pt x="15087" y="614392"/>
                  </a:cubicBezTo>
                  <a:close/>
                </a:path>
              </a:pathLst>
            </a:custGeom>
          </p:spPr>
        </p:pic>
        <p:sp>
          <p:nvSpPr>
            <p:cNvPr id="259" name="Freeform: Shape 258">
              <a:extLst>
                <a:ext uri="{FF2B5EF4-FFF2-40B4-BE49-F238E27FC236}">
                  <a16:creationId xmlns:a16="http://schemas.microsoft.com/office/drawing/2014/main" id="{224DA72C-8684-4642-A0B2-99B70A900640}"/>
                </a:ext>
              </a:extLst>
            </p:cNvPr>
            <p:cNvSpPr/>
            <p:nvPr/>
          </p:nvSpPr>
          <p:spPr>
            <a:xfrm>
              <a:off x="5066341" y="2821948"/>
              <a:ext cx="326660" cy="326659"/>
            </a:xfrm>
            <a:custGeom>
              <a:avLst/>
              <a:gdLst>
                <a:gd name="connsiteX0" fmla="*/ 3141730 w 3141730"/>
                <a:gd name="connsiteY0" fmla="*/ 1570865 h 3141730"/>
                <a:gd name="connsiteX1" fmla="*/ 1570865 w 3141730"/>
                <a:gd name="connsiteY1" fmla="*/ 3141731 h 3141730"/>
                <a:gd name="connsiteX2" fmla="*/ -1 w 3141730"/>
                <a:gd name="connsiteY2" fmla="*/ 1570865 h 3141730"/>
                <a:gd name="connsiteX3" fmla="*/ 1570865 w 3141730"/>
                <a:gd name="connsiteY3" fmla="*/ 0 h 3141730"/>
                <a:gd name="connsiteX4" fmla="*/ 3141730 w 3141730"/>
                <a:gd name="connsiteY4" fmla="*/ 1570865 h 3141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1730" h="3141730">
                  <a:moveTo>
                    <a:pt x="3141730" y="1570865"/>
                  </a:moveTo>
                  <a:cubicBezTo>
                    <a:pt x="3141730" y="2438430"/>
                    <a:pt x="2438430" y="3141731"/>
                    <a:pt x="1570865" y="3141731"/>
                  </a:cubicBezTo>
                  <a:cubicBezTo>
                    <a:pt x="703300" y="3141731"/>
                    <a:pt x="-1" y="2438430"/>
                    <a:pt x="-1" y="1570865"/>
                  </a:cubicBezTo>
                  <a:cubicBezTo>
                    <a:pt x="-1" y="703300"/>
                    <a:pt x="703300" y="0"/>
                    <a:pt x="1570865" y="0"/>
                  </a:cubicBezTo>
                  <a:cubicBezTo>
                    <a:pt x="2438430" y="0"/>
                    <a:pt x="3141730" y="703300"/>
                    <a:pt x="3141730" y="1570865"/>
                  </a:cubicBezTo>
                  <a:close/>
                </a:path>
              </a:pathLst>
            </a:custGeom>
            <a:solidFill>
              <a:schemeClr val="accent5">
                <a:alpha val="60000"/>
              </a:schemeClr>
            </a:solidFill>
            <a:ln w="517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cxnSp>
        <p:nvCxnSpPr>
          <p:cNvPr id="10" name="Straight Arrow Connector 9">
            <a:extLst>
              <a:ext uri="{FF2B5EF4-FFF2-40B4-BE49-F238E27FC236}">
                <a16:creationId xmlns:a16="http://schemas.microsoft.com/office/drawing/2014/main" id="{F56685EE-E670-4F59-A082-3643D3F24558}"/>
              </a:ext>
            </a:extLst>
          </p:cNvPr>
          <p:cNvCxnSpPr/>
          <p:nvPr/>
        </p:nvCxnSpPr>
        <p:spPr>
          <a:xfrm>
            <a:off x="4184556" y="1415632"/>
            <a:ext cx="0" cy="562917"/>
          </a:xfrm>
          <a:prstGeom prst="straightConnector1">
            <a:avLst/>
          </a:prstGeom>
          <a:solidFill>
            <a:schemeClr val="tx1"/>
          </a:solidFill>
          <a:ln>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7" name="Isosceles Triangle 49">
            <a:extLst>
              <a:ext uri="{FF2B5EF4-FFF2-40B4-BE49-F238E27FC236}">
                <a16:creationId xmlns:a16="http://schemas.microsoft.com/office/drawing/2014/main" id="{BB632585-369F-48DC-966A-DD8E4EE467FF}"/>
              </a:ext>
            </a:extLst>
          </p:cNvPr>
          <p:cNvSpPr/>
          <p:nvPr/>
        </p:nvSpPr>
        <p:spPr>
          <a:xfrm rot="10800000">
            <a:off x="4061702" y="1826563"/>
            <a:ext cx="244792" cy="194330"/>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tx1"/>
          </a:solidFill>
          <a:ln>
            <a:solidFill>
              <a:schemeClr val="bg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cxnSp>
        <p:nvCxnSpPr>
          <p:cNvPr id="14" name="Straight Connector 13">
            <a:extLst>
              <a:ext uri="{FF2B5EF4-FFF2-40B4-BE49-F238E27FC236}">
                <a16:creationId xmlns:a16="http://schemas.microsoft.com/office/drawing/2014/main" id="{84F9C187-67D5-4661-B1FA-8D39578EB829}"/>
              </a:ext>
            </a:extLst>
          </p:cNvPr>
          <p:cNvCxnSpPr>
            <a:cxnSpLocks/>
          </p:cNvCxnSpPr>
          <p:nvPr/>
        </p:nvCxnSpPr>
        <p:spPr>
          <a:xfrm>
            <a:off x="4128608" y="1415632"/>
            <a:ext cx="0" cy="341965"/>
          </a:xfrm>
          <a:prstGeom prst="line">
            <a:avLst/>
          </a:prstGeom>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7F012606-AA15-4906-BB9F-77C96F2C632F}"/>
              </a:ext>
            </a:extLst>
          </p:cNvPr>
          <p:cNvGrpSpPr/>
          <p:nvPr/>
        </p:nvGrpSpPr>
        <p:grpSpPr>
          <a:xfrm>
            <a:off x="4061702" y="2953171"/>
            <a:ext cx="244792" cy="564373"/>
            <a:chOff x="4061702" y="2890296"/>
            <a:chExt cx="244792" cy="564373"/>
          </a:xfrm>
        </p:grpSpPr>
        <p:cxnSp>
          <p:nvCxnSpPr>
            <p:cNvPr id="86" name="Straight Arrow Connector 85">
              <a:extLst>
                <a:ext uri="{FF2B5EF4-FFF2-40B4-BE49-F238E27FC236}">
                  <a16:creationId xmlns:a16="http://schemas.microsoft.com/office/drawing/2014/main" id="{E2902B7A-BCBD-424D-A180-5ADED02836A6}"/>
                </a:ext>
              </a:extLst>
            </p:cNvPr>
            <p:cNvCxnSpPr/>
            <p:nvPr/>
          </p:nvCxnSpPr>
          <p:spPr>
            <a:xfrm>
              <a:off x="4184556" y="2891730"/>
              <a:ext cx="0" cy="562917"/>
            </a:xfrm>
            <a:prstGeom prst="straightConnector1">
              <a:avLst/>
            </a:prstGeom>
            <a:solidFill>
              <a:schemeClr val="tx1"/>
            </a:solidFill>
            <a:ln>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Isosceles Triangle 49">
              <a:extLst>
                <a:ext uri="{FF2B5EF4-FFF2-40B4-BE49-F238E27FC236}">
                  <a16:creationId xmlns:a16="http://schemas.microsoft.com/office/drawing/2014/main" id="{E7915DAC-66D8-4602-A8B3-EE140E40592F}"/>
                </a:ext>
              </a:extLst>
            </p:cNvPr>
            <p:cNvSpPr/>
            <p:nvPr/>
          </p:nvSpPr>
          <p:spPr>
            <a:xfrm rot="10800000">
              <a:off x="4061702" y="3260339"/>
              <a:ext cx="244792" cy="194330"/>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tx1"/>
            </a:solidFill>
            <a:ln>
              <a:solidFill>
                <a:schemeClr val="bg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cxnSp>
          <p:nvCxnSpPr>
            <p:cNvPr id="90" name="Straight Connector 89">
              <a:extLst>
                <a:ext uri="{FF2B5EF4-FFF2-40B4-BE49-F238E27FC236}">
                  <a16:creationId xmlns:a16="http://schemas.microsoft.com/office/drawing/2014/main" id="{7277C6D7-F8CF-464A-B28B-9A93C5653ED2}"/>
                </a:ext>
              </a:extLst>
            </p:cNvPr>
            <p:cNvCxnSpPr>
              <a:cxnSpLocks/>
            </p:cNvCxnSpPr>
            <p:nvPr/>
          </p:nvCxnSpPr>
          <p:spPr>
            <a:xfrm>
              <a:off x="4128608" y="2890296"/>
              <a:ext cx="0" cy="341965"/>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739901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24" name="Freeform: Shape 623">
            <a:extLst>
              <a:ext uri="{FF2B5EF4-FFF2-40B4-BE49-F238E27FC236}">
                <a16:creationId xmlns:a16="http://schemas.microsoft.com/office/drawing/2014/main" id="{AA5726A5-B110-4BD3-95A6-48B86218A7D7}"/>
              </a:ext>
            </a:extLst>
          </p:cNvPr>
          <p:cNvSpPr/>
          <p:nvPr/>
        </p:nvSpPr>
        <p:spPr>
          <a:xfrm>
            <a:off x="4783465" y="366798"/>
            <a:ext cx="3048071" cy="3054919"/>
          </a:xfrm>
          <a:custGeom>
            <a:avLst/>
            <a:gdLst>
              <a:gd name="connsiteX0" fmla="*/ 1329266 w 2609254"/>
              <a:gd name="connsiteY0" fmla="*/ 0 h 2615115"/>
              <a:gd name="connsiteX1" fmla="*/ 2598771 w 2609254"/>
              <a:gd name="connsiteY1" fmla="*/ 933983 h 2615115"/>
              <a:gd name="connsiteX2" fmla="*/ 2609254 w 2609254"/>
              <a:gd name="connsiteY2" fmla="*/ 974752 h 2615115"/>
              <a:gd name="connsiteX3" fmla="*/ 2545426 w 2609254"/>
              <a:gd name="connsiteY3" fmla="*/ 958340 h 2615115"/>
              <a:gd name="connsiteX4" fmla="*/ 2277533 w 2609254"/>
              <a:gd name="connsiteY4" fmla="*/ 931334 h 2615115"/>
              <a:gd name="connsiteX5" fmla="*/ 948267 w 2609254"/>
              <a:gd name="connsiteY5" fmla="*/ 2260600 h 2615115"/>
              <a:gd name="connsiteX6" fmla="*/ 975273 w 2609254"/>
              <a:gd name="connsiteY6" fmla="*/ 2528493 h 2615115"/>
              <a:gd name="connsiteX7" fmla="*/ 997546 w 2609254"/>
              <a:gd name="connsiteY7" fmla="*/ 2615115 h 2615115"/>
              <a:gd name="connsiteX8" fmla="*/ 933983 w 2609254"/>
              <a:gd name="connsiteY8" fmla="*/ 2598771 h 2615115"/>
              <a:gd name="connsiteX9" fmla="*/ 0 w 2609254"/>
              <a:gd name="connsiteY9" fmla="*/ 1329266 h 2615115"/>
              <a:gd name="connsiteX10" fmla="*/ 1329266 w 2609254"/>
              <a:gd name="connsiteY10" fmla="*/ 0 h 261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9254" h="2615115">
                <a:moveTo>
                  <a:pt x="1329266" y="0"/>
                </a:moveTo>
                <a:cubicBezTo>
                  <a:pt x="1925749" y="0"/>
                  <a:pt x="2430470" y="392881"/>
                  <a:pt x="2598771" y="933983"/>
                </a:cubicBezTo>
                <a:lnTo>
                  <a:pt x="2609254" y="974752"/>
                </a:lnTo>
                <a:lnTo>
                  <a:pt x="2545426" y="958340"/>
                </a:lnTo>
                <a:cubicBezTo>
                  <a:pt x="2458894" y="940633"/>
                  <a:pt x="2369300" y="931334"/>
                  <a:pt x="2277533" y="931334"/>
                </a:cubicBezTo>
                <a:cubicBezTo>
                  <a:pt x="1543400" y="931334"/>
                  <a:pt x="948267" y="1526467"/>
                  <a:pt x="948267" y="2260600"/>
                </a:cubicBezTo>
                <a:cubicBezTo>
                  <a:pt x="948267" y="2352367"/>
                  <a:pt x="957566" y="2441962"/>
                  <a:pt x="975273" y="2528493"/>
                </a:cubicBezTo>
                <a:lnTo>
                  <a:pt x="997546" y="2615115"/>
                </a:lnTo>
                <a:lnTo>
                  <a:pt x="933983" y="2598771"/>
                </a:lnTo>
                <a:cubicBezTo>
                  <a:pt x="392881" y="2430471"/>
                  <a:pt x="0" y="1925749"/>
                  <a:pt x="0" y="1329266"/>
                </a:cubicBezTo>
                <a:cubicBezTo>
                  <a:pt x="0" y="595133"/>
                  <a:pt x="595133" y="0"/>
                  <a:pt x="1329266" y="0"/>
                </a:cubicBezTo>
                <a:close/>
              </a:path>
            </a:pathLst>
          </a:custGeom>
          <a:pattFill prst="wdUpDiag">
            <a:fgClr>
              <a:srgbClr val="EFFCFF"/>
            </a:fgClr>
            <a:bgClr>
              <a:srgbClr val="FFFFFF"/>
            </a:bgClr>
          </a:pattFill>
          <a:ln w="25400" cap="flat" cmpd="sng" algn="ctr">
            <a:noFill/>
            <a:prstDash val="solid"/>
          </a:ln>
          <a:effectLst/>
        </p:spPr>
        <p:txBody>
          <a:bodyPr wrap="square" rtlCol="0" anchor="t">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mn-ea"/>
              <a:cs typeface="+mn-cs"/>
            </a:endParaRPr>
          </a:p>
        </p:txBody>
      </p:sp>
      <p:sp>
        <p:nvSpPr>
          <p:cNvPr id="625" name="Freeform: Shape 624">
            <a:extLst>
              <a:ext uri="{FF2B5EF4-FFF2-40B4-BE49-F238E27FC236}">
                <a16:creationId xmlns:a16="http://schemas.microsoft.com/office/drawing/2014/main" id="{C5C3A6FF-FD37-4B22-8B3B-0EBAC761E278}"/>
              </a:ext>
            </a:extLst>
          </p:cNvPr>
          <p:cNvSpPr/>
          <p:nvPr/>
        </p:nvSpPr>
        <p:spPr>
          <a:xfrm>
            <a:off x="5948777" y="1505480"/>
            <a:ext cx="3048070" cy="3054918"/>
          </a:xfrm>
          <a:custGeom>
            <a:avLst/>
            <a:gdLst>
              <a:gd name="connsiteX0" fmla="*/ 1611708 w 2609253"/>
              <a:gd name="connsiteY0" fmla="*/ 0 h 2615114"/>
              <a:gd name="connsiteX1" fmla="*/ 1675270 w 2609253"/>
              <a:gd name="connsiteY1" fmla="*/ 16343 h 2615114"/>
              <a:gd name="connsiteX2" fmla="*/ 2609253 w 2609253"/>
              <a:gd name="connsiteY2" fmla="*/ 1285848 h 2615114"/>
              <a:gd name="connsiteX3" fmla="*/ 1279987 w 2609253"/>
              <a:gd name="connsiteY3" fmla="*/ 2615114 h 2615114"/>
              <a:gd name="connsiteX4" fmla="*/ 10482 w 2609253"/>
              <a:gd name="connsiteY4" fmla="*/ 1681131 h 2615114"/>
              <a:gd name="connsiteX5" fmla="*/ 0 w 2609253"/>
              <a:gd name="connsiteY5" fmla="*/ 1640363 h 2615114"/>
              <a:gd name="connsiteX6" fmla="*/ 63827 w 2609253"/>
              <a:gd name="connsiteY6" fmla="*/ 1656774 h 2615114"/>
              <a:gd name="connsiteX7" fmla="*/ 331720 w 2609253"/>
              <a:gd name="connsiteY7" fmla="*/ 1683780 h 2615114"/>
              <a:gd name="connsiteX8" fmla="*/ 1660986 w 2609253"/>
              <a:gd name="connsiteY8" fmla="*/ 354514 h 2615114"/>
              <a:gd name="connsiteX9" fmla="*/ 1633980 w 2609253"/>
              <a:gd name="connsiteY9" fmla="*/ 86621 h 2615114"/>
              <a:gd name="connsiteX10" fmla="*/ 1611708 w 2609253"/>
              <a:gd name="connsiteY10" fmla="*/ 0 h 2615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9253" h="2615114">
                <a:moveTo>
                  <a:pt x="1611708" y="0"/>
                </a:moveTo>
                <a:lnTo>
                  <a:pt x="1675270" y="16343"/>
                </a:lnTo>
                <a:cubicBezTo>
                  <a:pt x="2216372" y="184644"/>
                  <a:pt x="2609253" y="689365"/>
                  <a:pt x="2609253" y="1285848"/>
                </a:cubicBezTo>
                <a:cubicBezTo>
                  <a:pt x="2609253" y="2019981"/>
                  <a:pt x="2014120" y="2615114"/>
                  <a:pt x="1279987" y="2615114"/>
                </a:cubicBezTo>
                <a:cubicBezTo>
                  <a:pt x="683504" y="2615114"/>
                  <a:pt x="178783" y="2222233"/>
                  <a:pt x="10482" y="1681131"/>
                </a:cubicBezTo>
                <a:lnTo>
                  <a:pt x="0" y="1640363"/>
                </a:lnTo>
                <a:lnTo>
                  <a:pt x="63827" y="1656774"/>
                </a:lnTo>
                <a:cubicBezTo>
                  <a:pt x="150359" y="1674481"/>
                  <a:pt x="239954" y="1683780"/>
                  <a:pt x="331720" y="1683780"/>
                </a:cubicBezTo>
                <a:cubicBezTo>
                  <a:pt x="1065853" y="1683780"/>
                  <a:pt x="1660986" y="1088647"/>
                  <a:pt x="1660986" y="354514"/>
                </a:cubicBezTo>
                <a:cubicBezTo>
                  <a:pt x="1660986" y="262747"/>
                  <a:pt x="1651687" y="173153"/>
                  <a:pt x="1633980" y="86621"/>
                </a:cubicBezTo>
                <a:lnTo>
                  <a:pt x="1611708" y="0"/>
                </a:lnTo>
                <a:close/>
              </a:path>
            </a:pathLst>
          </a:custGeom>
          <a:pattFill prst="wdUpDiag">
            <a:fgClr>
              <a:srgbClr val="EDF7E9"/>
            </a:fgClr>
            <a:bgClr>
              <a:srgbClr val="FFFFFF"/>
            </a:bgClr>
          </a:pattFill>
          <a:ln w="25400" cap="flat" cmpd="sng" algn="ctr">
            <a:noFill/>
            <a:prstDash val="solid"/>
          </a:ln>
          <a:effectLst/>
        </p:spPr>
        <p:txBody>
          <a:bodyPr wrap="square" rtlCol="0" anchor="t">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mn-ea"/>
              <a:cs typeface="+mn-cs"/>
            </a:endParaRPr>
          </a:p>
        </p:txBody>
      </p:sp>
      <p:grpSp>
        <p:nvGrpSpPr>
          <p:cNvPr id="626" name="Group 625">
            <a:extLst>
              <a:ext uri="{FF2B5EF4-FFF2-40B4-BE49-F238E27FC236}">
                <a16:creationId xmlns:a16="http://schemas.microsoft.com/office/drawing/2014/main" id="{013E65DC-7E96-40EA-B291-8D7A93492E6B}"/>
              </a:ext>
            </a:extLst>
          </p:cNvPr>
          <p:cNvGrpSpPr/>
          <p:nvPr/>
        </p:nvGrpSpPr>
        <p:grpSpPr>
          <a:xfrm>
            <a:off x="5703360" y="2016936"/>
            <a:ext cx="1428141" cy="540696"/>
            <a:chOff x="3440113" y="5662613"/>
            <a:chExt cx="769938" cy="292100"/>
          </a:xfrm>
        </p:grpSpPr>
        <p:sp>
          <p:nvSpPr>
            <p:cNvPr id="650" name="Freeform 84">
              <a:extLst>
                <a:ext uri="{FF2B5EF4-FFF2-40B4-BE49-F238E27FC236}">
                  <a16:creationId xmlns:a16="http://schemas.microsoft.com/office/drawing/2014/main" id="{1A20167F-FBA6-4595-A0D4-C99D0C980B36}"/>
                </a:ext>
              </a:extLst>
            </p:cNvPr>
            <p:cNvSpPr>
              <a:spLocks/>
            </p:cNvSpPr>
            <p:nvPr/>
          </p:nvSpPr>
          <p:spPr bwMode="auto">
            <a:xfrm>
              <a:off x="3440113"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1" name="Freeform 85">
              <a:extLst>
                <a:ext uri="{FF2B5EF4-FFF2-40B4-BE49-F238E27FC236}">
                  <a16:creationId xmlns:a16="http://schemas.microsoft.com/office/drawing/2014/main" id="{072091A2-E720-45DE-8CF7-947194A9177D}"/>
                </a:ext>
              </a:extLst>
            </p:cNvPr>
            <p:cNvSpPr>
              <a:spLocks/>
            </p:cNvSpPr>
            <p:nvPr/>
          </p:nvSpPr>
          <p:spPr bwMode="auto">
            <a:xfrm>
              <a:off x="3440113"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2" name="Freeform 86">
              <a:extLst>
                <a:ext uri="{FF2B5EF4-FFF2-40B4-BE49-F238E27FC236}">
                  <a16:creationId xmlns:a16="http://schemas.microsoft.com/office/drawing/2014/main" id="{DCC1DF05-3FDA-4823-84D1-2F1C14E02812}"/>
                </a:ext>
              </a:extLst>
            </p:cNvPr>
            <p:cNvSpPr>
              <a:spLocks/>
            </p:cNvSpPr>
            <p:nvPr/>
          </p:nvSpPr>
          <p:spPr bwMode="auto">
            <a:xfrm>
              <a:off x="3440113"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grpSp>
      <p:grpSp>
        <p:nvGrpSpPr>
          <p:cNvPr id="653" name="Group 652">
            <a:extLst>
              <a:ext uri="{FF2B5EF4-FFF2-40B4-BE49-F238E27FC236}">
                <a16:creationId xmlns:a16="http://schemas.microsoft.com/office/drawing/2014/main" id="{3AA7B27A-7D1E-4E5F-BB55-9EFB2BBD4FA7}"/>
              </a:ext>
            </a:extLst>
          </p:cNvPr>
          <p:cNvGrpSpPr/>
          <p:nvPr/>
        </p:nvGrpSpPr>
        <p:grpSpPr>
          <a:xfrm>
            <a:off x="6752295" y="2863783"/>
            <a:ext cx="1428141" cy="540696"/>
            <a:chOff x="3440113" y="5662613"/>
            <a:chExt cx="769938" cy="292100"/>
          </a:xfrm>
          <a:solidFill>
            <a:schemeClr val="accent2"/>
          </a:solidFill>
        </p:grpSpPr>
        <p:sp>
          <p:nvSpPr>
            <p:cNvPr id="654" name="Freeform 84">
              <a:extLst>
                <a:ext uri="{FF2B5EF4-FFF2-40B4-BE49-F238E27FC236}">
                  <a16:creationId xmlns:a16="http://schemas.microsoft.com/office/drawing/2014/main" id="{CD77B037-8780-418C-A548-D03E6D28E23D}"/>
                </a:ext>
              </a:extLst>
            </p:cNvPr>
            <p:cNvSpPr>
              <a:spLocks/>
            </p:cNvSpPr>
            <p:nvPr/>
          </p:nvSpPr>
          <p:spPr bwMode="auto">
            <a:xfrm>
              <a:off x="3440113"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5" name="Freeform 85">
              <a:extLst>
                <a:ext uri="{FF2B5EF4-FFF2-40B4-BE49-F238E27FC236}">
                  <a16:creationId xmlns:a16="http://schemas.microsoft.com/office/drawing/2014/main" id="{DFB2F49B-A7BA-4DB3-8C8F-77E0A1675B90}"/>
                </a:ext>
              </a:extLst>
            </p:cNvPr>
            <p:cNvSpPr>
              <a:spLocks/>
            </p:cNvSpPr>
            <p:nvPr/>
          </p:nvSpPr>
          <p:spPr bwMode="auto">
            <a:xfrm>
              <a:off x="3440113"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6" name="Freeform 86">
              <a:extLst>
                <a:ext uri="{FF2B5EF4-FFF2-40B4-BE49-F238E27FC236}">
                  <a16:creationId xmlns:a16="http://schemas.microsoft.com/office/drawing/2014/main" id="{F7B0BA67-DBD1-4639-B8E6-184BCED4C679}"/>
                </a:ext>
              </a:extLst>
            </p:cNvPr>
            <p:cNvSpPr>
              <a:spLocks/>
            </p:cNvSpPr>
            <p:nvPr/>
          </p:nvSpPr>
          <p:spPr bwMode="auto">
            <a:xfrm>
              <a:off x="3440113"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grpSp>
      <p:grpSp>
        <p:nvGrpSpPr>
          <p:cNvPr id="680" name="Group 679">
            <a:extLst>
              <a:ext uri="{FF2B5EF4-FFF2-40B4-BE49-F238E27FC236}">
                <a16:creationId xmlns:a16="http://schemas.microsoft.com/office/drawing/2014/main" id="{A1AC6623-8061-4F3D-B004-A6AAE6F170E5}"/>
              </a:ext>
            </a:extLst>
          </p:cNvPr>
          <p:cNvGrpSpPr/>
          <p:nvPr/>
        </p:nvGrpSpPr>
        <p:grpSpPr>
          <a:xfrm>
            <a:off x="6046372" y="2620276"/>
            <a:ext cx="1548520" cy="1434125"/>
            <a:chOff x="525968" y="738393"/>
            <a:chExt cx="2572513" cy="2382472"/>
          </a:xfrm>
        </p:grpSpPr>
        <p:sp>
          <p:nvSpPr>
            <p:cNvPr id="681" name="Freeform: Shape 680">
              <a:extLst>
                <a:ext uri="{FF2B5EF4-FFF2-40B4-BE49-F238E27FC236}">
                  <a16:creationId xmlns:a16="http://schemas.microsoft.com/office/drawing/2014/main" id="{66A062BD-CFED-4282-83D6-4116E495EB69}"/>
                </a:ext>
              </a:extLst>
            </p:cNvPr>
            <p:cNvSpPr/>
            <p:nvPr/>
          </p:nvSpPr>
          <p:spPr>
            <a:xfrm>
              <a:off x="1982628" y="3076098"/>
              <a:ext cx="44767" cy="44767"/>
            </a:xfrm>
            <a:custGeom>
              <a:avLst/>
              <a:gdLst>
                <a:gd name="connsiteX0" fmla="*/ 44768 w 44767"/>
                <a:gd name="connsiteY0" fmla="*/ 22384 h 44767"/>
                <a:gd name="connsiteX1" fmla="*/ 22384 w 44767"/>
                <a:gd name="connsiteY1" fmla="*/ 44767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7"/>
                    <a:pt x="22384" y="44767"/>
                  </a:cubicBezTo>
                  <a:cubicBezTo>
                    <a:pt x="10022" y="44767"/>
                    <a:pt x="0" y="34746"/>
                    <a:pt x="0" y="22384"/>
                  </a:cubicBezTo>
                  <a:cubicBezTo>
                    <a:pt x="0" y="10021"/>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2" name="Freeform: Shape 681">
              <a:extLst>
                <a:ext uri="{FF2B5EF4-FFF2-40B4-BE49-F238E27FC236}">
                  <a16:creationId xmlns:a16="http://schemas.microsoft.com/office/drawing/2014/main" id="{206EA229-6EEB-43FC-9216-273C384AD5F8}"/>
                </a:ext>
              </a:extLst>
            </p:cNvPr>
            <p:cNvSpPr/>
            <p:nvPr/>
          </p:nvSpPr>
          <p:spPr>
            <a:xfrm>
              <a:off x="1624965" y="2737485"/>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1"/>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3" name="Freeform: Shape 682">
              <a:extLst>
                <a:ext uri="{FF2B5EF4-FFF2-40B4-BE49-F238E27FC236}">
                  <a16:creationId xmlns:a16="http://schemas.microsoft.com/office/drawing/2014/main" id="{A1AEDBED-A205-47FD-927F-17FC1CA0C48D}"/>
                </a:ext>
              </a:extLst>
            </p:cNvPr>
            <p:cNvSpPr/>
            <p:nvPr/>
          </p:nvSpPr>
          <p:spPr>
            <a:xfrm>
              <a:off x="1624965" y="2393632"/>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2"/>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4" name="Freeform: Shape 683">
              <a:extLst>
                <a:ext uri="{FF2B5EF4-FFF2-40B4-BE49-F238E27FC236}">
                  <a16:creationId xmlns:a16="http://schemas.microsoft.com/office/drawing/2014/main" id="{2E84DF0F-66D7-441E-A0AB-E322EA2ECAEC}"/>
                </a:ext>
              </a:extLst>
            </p:cNvPr>
            <p:cNvSpPr/>
            <p:nvPr/>
          </p:nvSpPr>
          <p:spPr>
            <a:xfrm>
              <a:off x="2338863" y="1705451"/>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2"/>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5" name="Freeform: Shape 684">
              <a:extLst>
                <a:ext uri="{FF2B5EF4-FFF2-40B4-BE49-F238E27FC236}">
                  <a16:creationId xmlns:a16="http://schemas.microsoft.com/office/drawing/2014/main" id="{2A5A9E0A-1778-47CE-827D-963062EDBF55}"/>
                </a:ext>
              </a:extLst>
            </p:cNvPr>
            <p:cNvSpPr/>
            <p:nvPr/>
          </p:nvSpPr>
          <p:spPr>
            <a:xfrm>
              <a:off x="2697480" y="1705451"/>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6" name="Freeform: Shape 685">
              <a:extLst>
                <a:ext uri="{FF2B5EF4-FFF2-40B4-BE49-F238E27FC236}">
                  <a16:creationId xmlns:a16="http://schemas.microsoft.com/office/drawing/2014/main" id="{89504E29-B71A-4C27-A197-04B2FD6E1136}"/>
                </a:ext>
              </a:extLst>
            </p:cNvPr>
            <p:cNvSpPr/>
            <p:nvPr/>
          </p:nvSpPr>
          <p:spPr>
            <a:xfrm>
              <a:off x="2697480" y="2393632"/>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7" name="Freeform: Shape 686">
              <a:extLst>
                <a:ext uri="{FF2B5EF4-FFF2-40B4-BE49-F238E27FC236}">
                  <a16:creationId xmlns:a16="http://schemas.microsoft.com/office/drawing/2014/main" id="{C6CCDD97-5579-40BB-8EE0-EE54082437C7}"/>
                </a:ext>
              </a:extLst>
            </p:cNvPr>
            <p:cNvSpPr/>
            <p:nvPr/>
          </p:nvSpPr>
          <p:spPr>
            <a:xfrm>
              <a:off x="3053714" y="1364456"/>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09" name="Freeform: Shape 708">
              <a:extLst>
                <a:ext uri="{FF2B5EF4-FFF2-40B4-BE49-F238E27FC236}">
                  <a16:creationId xmlns:a16="http://schemas.microsoft.com/office/drawing/2014/main" id="{705A8351-444E-451F-97EE-A26BD039884C}"/>
                </a:ext>
              </a:extLst>
            </p:cNvPr>
            <p:cNvSpPr/>
            <p:nvPr/>
          </p:nvSpPr>
          <p:spPr>
            <a:xfrm>
              <a:off x="2273504" y="2726135"/>
              <a:ext cx="156210" cy="156210"/>
            </a:xfrm>
            <a:custGeom>
              <a:avLst/>
              <a:gdLst>
                <a:gd name="connsiteX0" fmla="*/ 78105 w 156209"/>
                <a:gd name="connsiteY0" fmla="*/ 0 h 156209"/>
                <a:gd name="connsiteX1" fmla="*/ 156210 w 156209"/>
                <a:gd name="connsiteY1" fmla="*/ 78105 h 156209"/>
                <a:gd name="connsiteX2" fmla="*/ 78105 w 156209"/>
                <a:gd name="connsiteY2" fmla="*/ 156210 h 156209"/>
                <a:gd name="connsiteX3" fmla="*/ 0 w 156209"/>
                <a:gd name="connsiteY3" fmla="*/ 78105 h 156209"/>
                <a:gd name="connsiteX4" fmla="*/ 78105 w 156209"/>
                <a:gd name="connsiteY4" fmla="*/ 0 h 156209"/>
                <a:gd name="connsiteX5" fmla="*/ 78105 w 156209"/>
                <a:gd name="connsiteY5" fmla="*/ 141922 h 156209"/>
                <a:gd name="connsiteX6" fmla="*/ 141922 w 156209"/>
                <a:gd name="connsiteY6" fmla="*/ 78105 h 156209"/>
                <a:gd name="connsiteX7" fmla="*/ 78105 w 156209"/>
                <a:gd name="connsiteY7" fmla="*/ 14288 h 156209"/>
                <a:gd name="connsiteX8" fmla="*/ 14288 w 156209"/>
                <a:gd name="connsiteY8" fmla="*/ 78105 h 156209"/>
                <a:gd name="connsiteX9" fmla="*/ 78105 w 156209"/>
                <a:gd name="connsiteY9" fmla="*/ 141922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09">
                  <a:moveTo>
                    <a:pt x="78105" y="0"/>
                  </a:moveTo>
                  <a:cubicBezTo>
                    <a:pt x="120967" y="0"/>
                    <a:pt x="156210" y="35243"/>
                    <a:pt x="156210" y="78105"/>
                  </a:cubicBezTo>
                  <a:cubicBezTo>
                    <a:pt x="156210" y="120968"/>
                    <a:pt x="120967" y="156210"/>
                    <a:pt x="78105" y="156210"/>
                  </a:cubicBezTo>
                  <a:cubicBezTo>
                    <a:pt x="35242" y="156210"/>
                    <a:pt x="0" y="120968"/>
                    <a:pt x="0" y="78105"/>
                  </a:cubicBezTo>
                  <a:cubicBezTo>
                    <a:pt x="0" y="35243"/>
                    <a:pt x="35242" y="0"/>
                    <a:pt x="78105" y="0"/>
                  </a:cubicBezTo>
                  <a:close/>
                  <a:moveTo>
                    <a:pt x="78105" y="141922"/>
                  </a:moveTo>
                  <a:cubicBezTo>
                    <a:pt x="113347" y="141922"/>
                    <a:pt x="141922" y="113347"/>
                    <a:pt x="141922" y="78105"/>
                  </a:cubicBezTo>
                  <a:cubicBezTo>
                    <a:pt x="141922" y="42863"/>
                    <a:pt x="113347" y="14288"/>
                    <a:pt x="78105" y="14288"/>
                  </a:cubicBezTo>
                  <a:cubicBezTo>
                    <a:pt x="42863" y="14288"/>
                    <a:pt x="14288" y="42863"/>
                    <a:pt x="14288" y="78105"/>
                  </a:cubicBezTo>
                  <a:cubicBezTo>
                    <a:pt x="14288" y="113347"/>
                    <a:pt x="42863" y="141922"/>
                    <a:pt x="78105" y="141922"/>
                  </a:cubicBezTo>
                  <a:close/>
                </a:path>
              </a:pathLst>
            </a:custGeom>
            <a:solidFill>
              <a:srgbClr val="00BCEB"/>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0" name="Freeform: Shape 709">
              <a:extLst>
                <a:ext uri="{FF2B5EF4-FFF2-40B4-BE49-F238E27FC236}">
                  <a16:creationId xmlns:a16="http://schemas.microsoft.com/office/drawing/2014/main" id="{5F49EE64-3C3A-42F1-8877-1B61D4B9D04A}"/>
                </a:ext>
              </a:extLst>
            </p:cNvPr>
            <p:cNvSpPr/>
            <p:nvPr/>
          </p:nvSpPr>
          <p:spPr>
            <a:xfrm>
              <a:off x="2615088" y="1353026"/>
              <a:ext cx="156210" cy="156209"/>
            </a:xfrm>
            <a:custGeom>
              <a:avLst/>
              <a:gdLst>
                <a:gd name="connsiteX0" fmla="*/ 78105 w 156210"/>
                <a:gd name="connsiteY0" fmla="*/ 0 h 156209"/>
                <a:gd name="connsiteX1" fmla="*/ 156210 w 156210"/>
                <a:gd name="connsiteY1" fmla="*/ 78105 h 156209"/>
                <a:gd name="connsiteX2" fmla="*/ 78105 w 156210"/>
                <a:gd name="connsiteY2" fmla="*/ 156210 h 156209"/>
                <a:gd name="connsiteX3" fmla="*/ 0 w 156210"/>
                <a:gd name="connsiteY3" fmla="*/ 78105 h 156209"/>
                <a:gd name="connsiteX4" fmla="*/ 78105 w 156210"/>
                <a:gd name="connsiteY4" fmla="*/ 0 h 156209"/>
                <a:gd name="connsiteX5" fmla="*/ 78105 w 156210"/>
                <a:gd name="connsiteY5" fmla="*/ 141922 h 156209"/>
                <a:gd name="connsiteX6" fmla="*/ 141923 w 156210"/>
                <a:gd name="connsiteY6" fmla="*/ 78105 h 156209"/>
                <a:gd name="connsiteX7" fmla="*/ 78105 w 156210"/>
                <a:gd name="connsiteY7" fmla="*/ 14288 h 156209"/>
                <a:gd name="connsiteX8" fmla="*/ 14288 w 156210"/>
                <a:gd name="connsiteY8" fmla="*/ 78105 h 156209"/>
                <a:gd name="connsiteX9" fmla="*/ 78105 w 156210"/>
                <a:gd name="connsiteY9" fmla="*/ 141922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10" h="156209">
                  <a:moveTo>
                    <a:pt x="78105" y="0"/>
                  </a:moveTo>
                  <a:cubicBezTo>
                    <a:pt x="120968" y="0"/>
                    <a:pt x="156210" y="35242"/>
                    <a:pt x="156210" y="78105"/>
                  </a:cubicBezTo>
                  <a:cubicBezTo>
                    <a:pt x="156210" y="120967"/>
                    <a:pt x="120968" y="156210"/>
                    <a:pt x="78105" y="156210"/>
                  </a:cubicBezTo>
                  <a:cubicBezTo>
                    <a:pt x="35243" y="156210"/>
                    <a:pt x="0" y="120967"/>
                    <a:pt x="0" y="78105"/>
                  </a:cubicBezTo>
                  <a:cubicBezTo>
                    <a:pt x="0" y="35242"/>
                    <a:pt x="34766" y="0"/>
                    <a:pt x="78105" y="0"/>
                  </a:cubicBezTo>
                  <a:close/>
                  <a:moveTo>
                    <a:pt x="78105" y="141922"/>
                  </a:moveTo>
                  <a:cubicBezTo>
                    <a:pt x="113348" y="141922"/>
                    <a:pt x="141923" y="113347"/>
                    <a:pt x="141923" y="78105"/>
                  </a:cubicBezTo>
                  <a:cubicBezTo>
                    <a:pt x="141923" y="42863"/>
                    <a:pt x="113348" y="14288"/>
                    <a:pt x="78105" y="14288"/>
                  </a:cubicBezTo>
                  <a:cubicBezTo>
                    <a:pt x="42863" y="14288"/>
                    <a:pt x="14288" y="42863"/>
                    <a:pt x="14288" y="78105"/>
                  </a:cubicBezTo>
                  <a:cubicBezTo>
                    <a:pt x="14288" y="113347"/>
                    <a:pt x="42863" y="141922"/>
                    <a:pt x="78105" y="141922"/>
                  </a:cubicBezTo>
                  <a:close/>
                </a:path>
              </a:pathLst>
            </a:custGeom>
            <a:solidFill>
              <a:srgbClr val="00BCEB"/>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1" name="Freeform: Shape 710">
              <a:extLst>
                <a:ext uri="{FF2B5EF4-FFF2-40B4-BE49-F238E27FC236}">
                  <a16:creationId xmlns:a16="http://schemas.microsoft.com/office/drawing/2014/main" id="{58EBD2FD-19D4-4F11-9749-CF4C5B18CACC}"/>
                </a:ext>
              </a:extLst>
            </p:cNvPr>
            <p:cNvSpPr/>
            <p:nvPr/>
          </p:nvSpPr>
          <p:spPr>
            <a:xfrm>
              <a:off x="525968" y="738393"/>
              <a:ext cx="156210" cy="156210"/>
            </a:xfrm>
            <a:custGeom>
              <a:avLst/>
              <a:gdLst>
                <a:gd name="connsiteX0" fmla="*/ 78105 w 156210"/>
                <a:gd name="connsiteY0" fmla="*/ 0 h 156210"/>
                <a:gd name="connsiteX1" fmla="*/ 156210 w 156210"/>
                <a:gd name="connsiteY1" fmla="*/ 78105 h 156210"/>
                <a:gd name="connsiteX2" fmla="*/ 78105 w 156210"/>
                <a:gd name="connsiteY2" fmla="*/ 156210 h 156210"/>
                <a:gd name="connsiteX3" fmla="*/ 0 w 156210"/>
                <a:gd name="connsiteY3" fmla="*/ 78105 h 156210"/>
                <a:gd name="connsiteX4" fmla="*/ 78105 w 156210"/>
                <a:gd name="connsiteY4" fmla="*/ 0 h 156210"/>
                <a:gd name="connsiteX5" fmla="*/ 78105 w 156210"/>
                <a:gd name="connsiteY5" fmla="*/ 141923 h 156210"/>
                <a:gd name="connsiteX6" fmla="*/ 141923 w 156210"/>
                <a:gd name="connsiteY6" fmla="*/ 78105 h 156210"/>
                <a:gd name="connsiteX7" fmla="*/ 78105 w 156210"/>
                <a:gd name="connsiteY7" fmla="*/ 14288 h 156210"/>
                <a:gd name="connsiteX8" fmla="*/ 14288 w 156210"/>
                <a:gd name="connsiteY8" fmla="*/ 78105 h 156210"/>
                <a:gd name="connsiteX9" fmla="*/ 78105 w 156210"/>
                <a:gd name="connsiteY9" fmla="*/ 141923 h 15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10" h="156210">
                  <a:moveTo>
                    <a:pt x="78105" y="0"/>
                  </a:moveTo>
                  <a:cubicBezTo>
                    <a:pt x="120967" y="0"/>
                    <a:pt x="156210" y="35243"/>
                    <a:pt x="156210" y="78105"/>
                  </a:cubicBezTo>
                  <a:cubicBezTo>
                    <a:pt x="156210" y="120968"/>
                    <a:pt x="120967" y="156210"/>
                    <a:pt x="78105" y="156210"/>
                  </a:cubicBezTo>
                  <a:cubicBezTo>
                    <a:pt x="35242" y="156210"/>
                    <a:pt x="0" y="120968"/>
                    <a:pt x="0" y="78105"/>
                  </a:cubicBezTo>
                  <a:cubicBezTo>
                    <a:pt x="0" y="35243"/>
                    <a:pt x="35242" y="0"/>
                    <a:pt x="78105" y="0"/>
                  </a:cubicBezTo>
                  <a:close/>
                  <a:moveTo>
                    <a:pt x="78105" y="141923"/>
                  </a:moveTo>
                  <a:cubicBezTo>
                    <a:pt x="113348" y="141923"/>
                    <a:pt x="141923" y="113348"/>
                    <a:pt x="141923" y="78105"/>
                  </a:cubicBezTo>
                  <a:cubicBezTo>
                    <a:pt x="141923" y="42862"/>
                    <a:pt x="113348" y="14288"/>
                    <a:pt x="78105" y="14288"/>
                  </a:cubicBezTo>
                  <a:cubicBezTo>
                    <a:pt x="42863" y="14288"/>
                    <a:pt x="14288" y="42862"/>
                    <a:pt x="14288" y="78105"/>
                  </a:cubicBezTo>
                  <a:cubicBezTo>
                    <a:pt x="14288" y="113348"/>
                    <a:pt x="42863" y="141923"/>
                    <a:pt x="78105" y="141923"/>
                  </a:cubicBezTo>
                  <a:close/>
                </a:path>
              </a:pathLst>
            </a:custGeom>
            <a:solidFill>
              <a:schemeClr val="accent4"/>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grpSp>
      <p:grpSp>
        <p:nvGrpSpPr>
          <p:cNvPr id="712" name="Group 711">
            <a:extLst>
              <a:ext uri="{FF2B5EF4-FFF2-40B4-BE49-F238E27FC236}">
                <a16:creationId xmlns:a16="http://schemas.microsoft.com/office/drawing/2014/main" id="{B48A0BF4-75C0-41D9-85DC-E73428F910D0}"/>
              </a:ext>
            </a:extLst>
          </p:cNvPr>
          <p:cNvGrpSpPr/>
          <p:nvPr/>
        </p:nvGrpSpPr>
        <p:grpSpPr>
          <a:xfrm>
            <a:off x="5302120" y="1039864"/>
            <a:ext cx="1310404" cy="1158178"/>
            <a:chOff x="921543" y="1196816"/>
            <a:chExt cx="2176938" cy="1924049"/>
          </a:xfrm>
        </p:grpSpPr>
        <p:sp>
          <p:nvSpPr>
            <p:cNvPr id="713" name="Freeform: Shape 712">
              <a:extLst>
                <a:ext uri="{FF2B5EF4-FFF2-40B4-BE49-F238E27FC236}">
                  <a16:creationId xmlns:a16="http://schemas.microsoft.com/office/drawing/2014/main" id="{9ADE6DD6-6559-4F6E-AD63-C769D812DAC1}"/>
                </a:ext>
              </a:extLst>
            </p:cNvPr>
            <p:cNvSpPr/>
            <p:nvPr/>
          </p:nvSpPr>
          <p:spPr>
            <a:xfrm>
              <a:off x="1982628" y="3076098"/>
              <a:ext cx="44767" cy="44767"/>
            </a:xfrm>
            <a:custGeom>
              <a:avLst/>
              <a:gdLst>
                <a:gd name="connsiteX0" fmla="*/ 44768 w 44767"/>
                <a:gd name="connsiteY0" fmla="*/ 22384 h 44767"/>
                <a:gd name="connsiteX1" fmla="*/ 22384 w 44767"/>
                <a:gd name="connsiteY1" fmla="*/ 44767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7"/>
                    <a:pt x="22384" y="44767"/>
                  </a:cubicBezTo>
                  <a:cubicBezTo>
                    <a:pt x="10022" y="44767"/>
                    <a:pt x="0" y="34746"/>
                    <a:pt x="0" y="22384"/>
                  </a:cubicBezTo>
                  <a:cubicBezTo>
                    <a:pt x="0" y="10021"/>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4" name="Freeform: Shape 713">
              <a:extLst>
                <a:ext uri="{FF2B5EF4-FFF2-40B4-BE49-F238E27FC236}">
                  <a16:creationId xmlns:a16="http://schemas.microsoft.com/office/drawing/2014/main" id="{062EDE31-06C6-472E-A0E3-4EE427A754DF}"/>
                </a:ext>
              </a:extLst>
            </p:cNvPr>
            <p:cNvSpPr/>
            <p:nvPr/>
          </p:nvSpPr>
          <p:spPr>
            <a:xfrm>
              <a:off x="1624965" y="2737485"/>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1"/>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5" name="Freeform: Shape 714">
              <a:extLst>
                <a:ext uri="{FF2B5EF4-FFF2-40B4-BE49-F238E27FC236}">
                  <a16:creationId xmlns:a16="http://schemas.microsoft.com/office/drawing/2014/main" id="{8D872FE2-1864-4AF4-A700-B9008FCFFE18}"/>
                </a:ext>
              </a:extLst>
            </p:cNvPr>
            <p:cNvSpPr/>
            <p:nvPr/>
          </p:nvSpPr>
          <p:spPr>
            <a:xfrm>
              <a:off x="1624965" y="2393632"/>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2"/>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6" name="Freeform: Shape 715">
              <a:extLst>
                <a:ext uri="{FF2B5EF4-FFF2-40B4-BE49-F238E27FC236}">
                  <a16:creationId xmlns:a16="http://schemas.microsoft.com/office/drawing/2014/main" id="{6C089C53-551F-4F9B-A71B-530CA34051D2}"/>
                </a:ext>
              </a:extLst>
            </p:cNvPr>
            <p:cNvSpPr/>
            <p:nvPr/>
          </p:nvSpPr>
          <p:spPr>
            <a:xfrm>
              <a:off x="2338863" y="1705451"/>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2"/>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7" name="Freeform: Shape 716">
              <a:extLst>
                <a:ext uri="{FF2B5EF4-FFF2-40B4-BE49-F238E27FC236}">
                  <a16:creationId xmlns:a16="http://schemas.microsoft.com/office/drawing/2014/main" id="{AB1A426E-6040-4B28-B979-578A07F1454A}"/>
                </a:ext>
              </a:extLst>
            </p:cNvPr>
            <p:cNvSpPr/>
            <p:nvPr/>
          </p:nvSpPr>
          <p:spPr>
            <a:xfrm>
              <a:off x="2697480" y="1705451"/>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8" name="Freeform: Shape 717">
              <a:extLst>
                <a:ext uri="{FF2B5EF4-FFF2-40B4-BE49-F238E27FC236}">
                  <a16:creationId xmlns:a16="http://schemas.microsoft.com/office/drawing/2014/main" id="{10522F27-7FFB-49D6-A1B8-11D79DD69706}"/>
                </a:ext>
              </a:extLst>
            </p:cNvPr>
            <p:cNvSpPr/>
            <p:nvPr/>
          </p:nvSpPr>
          <p:spPr>
            <a:xfrm>
              <a:off x="2697480" y="2393632"/>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38" name="Freeform: Shape 737">
              <a:extLst>
                <a:ext uri="{FF2B5EF4-FFF2-40B4-BE49-F238E27FC236}">
                  <a16:creationId xmlns:a16="http://schemas.microsoft.com/office/drawing/2014/main" id="{B7DCDCEC-EF48-4A17-985E-D532F7203667}"/>
                </a:ext>
              </a:extLst>
            </p:cNvPr>
            <p:cNvSpPr/>
            <p:nvPr/>
          </p:nvSpPr>
          <p:spPr>
            <a:xfrm>
              <a:off x="3053714" y="1364456"/>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39" name="Freeform: Shape 738">
              <a:extLst>
                <a:ext uri="{FF2B5EF4-FFF2-40B4-BE49-F238E27FC236}">
                  <a16:creationId xmlns:a16="http://schemas.microsoft.com/office/drawing/2014/main" id="{C1E6BF0C-4BE8-4F4E-B150-87D083D44713}"/>
                </a:ext>
              </a:extLst>
            </p:cNvPr>
            <p:cNvSpPr/>
            <p:nvPr/>
          </p:nvSpPr>
          <p:spPr>
            <a:xfrm>
              <a:off x="2269807" y="2604134"/>
              <a:ext cx="156209" cy="156209"/>
            </a:xfrm>
            <a:custGeom>
              <a:avLst/>
              <a:gdLst>
                <a:gd name="connsiteX0" fmla="*/ 78105 w 156209"/>
                <a:gd name="connsiteY0" fmla="*/ 0 h 156209"/>
                <a:gd name="connsiteX1" fmla="*/ 156210 w 156209"/>
                <a:gd name="connsiteY1" fmla="*/ 78105 h 156209"/>
                <a:gd name="connsiteX2" fmla="*/ 78105 w 156209"/>
                <a:gd name="connsiteY2" fmla="*/ 156210 h 156209"/>
                <a:gd name="connsiteX3" fmla="*/ 0 w 156209"/>
                <a:gd name="connsiteY3" fmla="*/ 78105 h 156209"/>
                <a:gd name="connsiteX4" fmla="*/ 78105 w 156209"/>
                <a:gd name="connsiteY4" fmla="*/ 0 h 156209"/>
                <a:gd name="connsiteX5" fmla="*/ 78105 w 156209"/>
                <a:gd name="connsiteY5" fmla="*/ 141922 h 156209"/>
                <a:gd name="connsiteX6" fmla="*/ 141922 w 156209"/>
                <a:gd name="connsiteY6" fmla="*/ 78105 h 156209"/>
                <a:gd name="connsiteX7" fmla="*/ 78105 w 156209"/>
                <a:gd name="connsiteY7" fmla="*/ 14288 h 156209"/>
                <a:gd name="connsiteX8" fmla="*/ 14288 w 156209"/>
                <a:gd name="connsiteY8" fmla="*/ 78105 h 156209"/>
                <a:gd name="connsiteX9" fmla="*/ 78105 w 156209"/>
                <a:gd name="connsiteY9" fmla="*/ 141922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09">
                  <a:moveTo>
                    <a:pt x="78105" y="0"/>
                  </a:moveTo>
                  <a:cubicBezTo>
                    <a:pt x="120967" y="0"/>
                    <a:pt x="156210" y="35243"/>
                    <a:pt x="156210" y="78105"/>
                  </a:cubicBezTo>
                  <a:cubicBezTo>
                    <a:pt x="156210" y="120968"/>
                    <a:pt x="120967" y="156210"/>
                    <a:pt x="78105" y="156210"/>
                  </a:cubicBezTo>
                  <a:cubicBezTo>
                    <a:pt x="35242" y="156210"/>
                    <a:pt x="0" y="120968"/>
                    <a:pt x="0" y="78105"/>
                  </a:cubicBezTo>
                  <a:cubicBezTo>
                    <a:pt x="0" y="35243"/>
                    <a:pt x="35242" y="0"/>
                    <a:pt x="78105" y="0"/>
                  </a:cubicBezTo>
                  <a:close/>
                  <a:moveTo>
                    <a:pt x="78105" y="141922"/>
                  </a:moveTo>
                  <a:cubicBezTo>
                    <a:pt x="113347" y="141922"/>
                    <a:pt x="141922" y="113347"/>
                    <a:pt x="141922" y="78105"/>
                  </a:cubicBezTo>
                  <a:cubicBezTo>
                    <a:pt x="141922" y="42863"/>
                    <a:pt x="113347" y="14288"/>
                    <a:pt x="78105" y="14288"/>
                  </a:cubicBezTo>
                  <a:cubicBezTo>
                    <a:pt x="42863" y="14288"/>
                    <a:pt x="14288" y="42863"/>
                    <a:pt x="14288" y="78105"/>
                  </a:cubicBezTo>
                  <a:cubicBezTo>
                    <a:pt x="14288" y="113347"/>
                    <a:pt x="42863" y="141922"/>
                    <a:pt x="78105" y="141922"/>
                  </a:cubicBezTo>
                  <a:close/>
                </a:path>
              </a:pathLst>
            </a:custGeom>
            <a:solidFill>
              <a:srgbClr val="00BCEB"/>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0" name="Freeform: Shape 739">
              <a:extLst>
                <a:ext uri="{FF2B5EF4-FFF2-40B4-BE49-F238E27FC236}">
                  <a16:creationId xmlns:a16="http://schemas.microsoft.com/office/drawing/2014/main" id="{918D585E-7EAA-4771-8572-87D48F3F2391}"/>
                </a:ext>
              </a:extLst>
            </p:cNvPr>
            <p:cNvSpPr/>
            <p:nvPr/>
          </p:nvSpPr>
          <p:spPr>
            <a:xfrm>
              <a:off x="2615088" y="1353026"/>
              <a:ext cx="156210" cy="156209"/>
            </a:xfrm>
            <a:custGeom>
              <a:avLst/>
              <a:gdLst>
                <a:gd name="connsiteX0" fmla="*/ 78105 w 156210"/>
                <a:gd name="connsiteY0" fmla="*/ 0 h 156209"/>
                <a:gd name="connsiteX1" fmla="*/ 156210 w 156210"/>
                <a:gd name="connsiteY1" fmla="*/ 78105 h 156209"/>
                <a:gd name="connsiteX2" fmla="*/ 78105 w 156210"/>
                <a:gd name="connsiteY2" fmla="*/ 156210 h 156209"/>
                <a:gd name="connsiteX3" fmla="*/ 0 w 156210"/>
                <a:gd name="connsiteY3" fmla="*/ 78105 h 156209"/>
                <a:gd name="connsiteX4" fmla="*/ 78105 w 156210"/>
                <a:gd name="connsiteY4" fmla="*/ 0 h 156209"/>
                <a:gd name="connsiteX5" fmla="*/ 78105 w 156210"/>
                <a:gd name="connsiteY5" fmla="*/ 141922 h 156209"/>
                <a:gd name="connsiteX6" fmla="*/ 141923 w 156210"/>
                <a:gd name="connsiteY6" fmla="*/ 78105 h 156209"/>
                <a:gd name="connsiteX7" fmla="*/ 78105 w 156210"/>
                <a:gd name="connsiteY7" fmla="*/ 14288 h 156209"/>
                <a:gd name="connsiteX8" fmla="*/ 14288 w 156210"/>
                <a:gd name="connsiteY8" fmla="*/ 78105 h 156209"/>
                <a:gd name="connsiteX9" fmla="*/ 78105 w 156210"/>
                <a:gd name="connsiteY9" fmla="*/ 141922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10" h="156209">
                  <a:moveTo>
                    <a:pt x="78105" y="0"/>
                  </a:moveTo>
                  <a:cubicBezTo>
                    <a:pt x="120968" y="0"/>
                    <a:pt x="156210" y="35242"/>
                    <a:pt x="156210" y="78105"/>
                  </a:cubicBezTo>
                  <a:cubicBezTo>
                    <a:pt x="156210" y="120967"/>
                    <a:pt x="120968" y="156210"/>
                    <a:pt x="78105" y="156210"/>
                  </a:cubicBezTo>
                  <a:cubicBezTo>
                    <a:pt x="35243" y="156210"/>
                    <a:pt x="0" y="120967"/>
                    <a:pt x="0" y="78105"/>
                  </a:cubicBezTo>
                  <a:cubicBezTo>
                    <a:pt x="0" y="35242"/>
                    <a:pt x="34766" y="0"/>
                    <a:pt x="78105" y="0"/>
                  </a:cubicBezTo>
                  <a:close/>
                  <a:moveTo>
                    <a:pt x="78105" y="141922"/>
                  </a:moveTo>
                  <a:cubicBezTo>
                    <a:pt x="113348" y="141922"/>
                    <a:pt x="141923" y="113347"/>
                    <a:pt x="141923" y="78105"/>
                  </a:cubicBezTo>
                  <a:cubicBezTo>
                    <a:pt x="141923" y="42863"/>
                    <a:pt x="113348" y="14288"/>
                    <a:pt x="78105" y="14288"/>
                  </a:cubicBezTo>
                  <a:cubicBezTo>
                    <a:pt x="42863" y="14288"/>
                    <a:pt x="14288" y="42863"/>
                    <a:pt x="14288" y="78105"/>
                  </a:cubicBezTo>
                  <a:cubicBezTo>
                    <a:pt x="14288" y="113347"/>
                    <a:pt x="42863" y="141922"/>
                    <a:pt x="78105" y="141922"/>
                  </a:cubicBezTo>
                  <a:close/>
                </a:path>
              </a:pathLst>
            </a:custGeom>
            <a:solidFill>
              <a:srgbClr val="00BCEB"/>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1" name="Freeform: Shape 740">
              <a:extLst>
                <a:ext uri="{FF2B5EF4-FFF2-40B4-BE49-F238E27FC236}">
                  <a16:creationId xmlns:a16="http://schemas.microsoft.com/office/drawing/2014/main" id="{BA1DC8C5-E632-492C-9F65-6F04F09AAFE4}"/>
                </a:ext>
              </a:extLst>
            </p:cNvPr>
            <p:cNvSpPr/>
            <p:nvPr/>
          </p:nvSpPr>
          <p:spPr>
            <a:xfrm>
              <a:off x="921543" y="1196816"/>
              <a:ext cx="156210" cy="156210"/>
            </a:xfrm>
            <a:custGeom>
              <a:avLst/>
              <a:gdLst>
                <a:gd name="connsiteX0" fmla="*/ 78105 w 156210"/>
                <a:gd name="connsiteY0" fmla="*/ 0 h 156210"/>
                <a:gd name="connsiteX1" fmla="*/ 156210 w 156210"/>
                <a:gd name="connsiteY1" fmla="*/ 78105 h 156210"/>
                <a:gd name="connsiteX2" fmla="*/ 78105 w 156210"/>
                <a:gd name="connsiteY2" fmla="*/ 156210 h 156210"/>
                <a:gd name="connsiteX3" fmla="*/ 0 w 156210"/>
                <a:gd name="connsiteY3" fmla="*/ 78105 h 156210"/>
                <a:gd name="connsiteX4" fmla="*/ 78105 w 156210"/>
                <a:gd name="connsiteY4" fmla="*/ 0 h 156210"/>
                <a:gd name="connsiteX5" fmla="*/ 78105 w 156210"/>
                <a:gd name="connsiteY5" fmla="*/ 141923 h 156210"/>
                <a:gd name="connsiteX6" fmla="*/ 141923 w 156210"/>
                <a:gd name="connsiteY6" fmla="*/ 78105 h 156210"/>
                <a:gd name="connsiteX7" fmla="*/ 78105 w 156210"/>
                <a:gd name="connsiteY7" fmla="*/ 14288 h 156210"/>
                <a:gd name="connsiteX8" fmla="*/ 14288 w 156210"/>
                <a:gd name="connsiteY8" fmla="*/ 78105 h 156210"/>
                <a:gd name="connsiteX9" fmla="*/ 78105 w 156210"/>
                <a:gd name="connsiteY9" fmla="*/ 141923 h 15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10" h="156210">
                  <a:moveTo>
                    <a:pt x="78105" y="0"/>
                  </a:moveTo>
                  <a:cubicBezTo>
                    <a:pt x="120967" y="0"/>
                    <a:pt x="156210" y="35243"/>
                    <a:pt x="156210" y="78105"/>
                  </a:cubicBezTo>
                  <a:cubicBezTo>
                    <a:pt x="156210" y="120968"/>
                    <a:pt x="120967" y="156210"/>
                    <a:pt x="78105" y="156210"/>
                  </a:cubicBezTo>
                  <a:cubicBezTo>
                    <a:pt x="35242" y="156210"/>
                    <a:pt x="0" y="120968"/>
                    <a:pt x="0" y="78105"/>
                  </a:cubicBezTo>
                  <a:cubicBezTo>
                    <a:pt x="0" y="35243"/>
                    <a:pt x="35242" y="0"/>
                    <a:pt x="78105" y="0"/>
                  </a:cubicBezTo>
                  <a:close/>
                  <a:moveTo>
                    <a:pt x="78105" y="141923"/>
                  </a:moveTo>
                  <a:cubicBezTo>
                    <a:pt x="113348" y="141923"/>
                    <a:pt x="141923" y="113348"/>
                    <a:pt x="141923" y="78105"/>
                  </a:cubicBezTo>
                  <a:cubicBezTo>
                    <a:pt x="141923" y="42862"/>
                    <a:pt x="113348" y="14288"/>
                    <a:pt x="78105" y="14288"/>
                  </a:cubicBezTo>
                  <a:cubicBezTo>
                    <a:pt x="42863" y="14288"/>
                    <a:pt x="14288" y="42862"/>
                    <a:pt x="14288" y="78105"/>
                  </a:cubicBezTo>
                  <a:cubicBezTo>
                    <a:pt x="14288" y="113348"/>
                    <a:pt x="42863" y="141923"/>
                    <a:pt x="78105" y="141923"/>
                  </a:cubicBezTo>
                  <a:close/>
                </a:path>
              </a:pathLst>
            </a:custGeom>
            <a:solidFill>
              <a:schemeClr val="accent4"/>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grpSp>
      <p:grpSp>
        <p:nvGrpSpPr>
          <p:cNvPr id="742" name="Group 741">
            <a:extLst>
              <a:ext uri="{FF2B5EF4-FFF2-40B4-BE49-F238E27FC236}">
                <a16:creationId xmlns:a16="http://schemas.microsoft.com/office/drawing/2014/main" id="{196E9986-117D-4571-A0DC-B994E467108E}"/>
              </a:ext>
            </a:extLst>
          </p:cNvPr>
          <p:cNvGrpSpPr/>
          <p:nvPr/>
        </p:nvGrpSpPr>
        <p:grpSpPr>
          <a:xfrm rot="16200000">
            <a:off x="8090670" y="1640014"/>
            <a:ext cx="532587" cy="171995"/>
            <a:chOff x="5304356" y="2182918"/>
            <a:chExt cx="909515" cy="255951"/>
          </a:xfrm>
        </p:grpSpPr>
        <p:sp>
          <p:nvSpPr>
            <p:cNvPr id="743" name="Freeform 198">
              <a:extLst>
                <a:ext uri="{FF2B5EF4-FFF2-40B4-BE49-F238E27FC236}">
                  <a16:creationId xmlns:a16="http://schemas.microsoft.com/office/drawing/2014/main" id="{000CDCC9-85DB-453E-93A5-FAC238C56EF7}"/>
                </a:ext>
              </a:extLst>
            </p:cNvPr>
            <p:cNvSpPr>
              <a:spLocks/>
            </p:cNvSpPr>
            <p:nvPr/>
          </p:nvSpPr>
          <p:spPr bwMode="auto">
            <a:xfrm>
              <a:off x="5994919" y="2182918"/>
              <a:ext cx="218952" cy="255951"/>
            </a:xfrm>
            <a:custGeom>
              <a:avLst/>
              <a:gdLst>
                <a:gd name="T0" fmla="*/ 0 w 134"/>
                <a:gd name="T1" fmla="*/ 0 h 157"/>
                <a:gd name="T2" fmla="*/ 0 w 134"/>
                <a:gd name="T3" fmla="*/ 65 h 157"/>
                <a:gd name="T4" fmla="*/ 23 w 134"/>
                <a:gd name="T5" fmla="*/ 78 h 157"/>
                <a:gd name="T6" fmla="*/ 0 w 134"/>
                <a:gd name="T7" fmla="*/ 92 h 157"/>
                <a:gd name="T8" fmla="*/ 0 w 134"/>
                <a:gd name="T9" fmla="*/ 157 h 157"/>
                <a:gd name="T10" fmla="*/ 134 w 134"/>
                <a:gd name="T11" fmla="*/ 78 h 157"/>
                <a:gd name="T12" fmla="*/ 0 w 134"/>
                <a:gd name="T13" fmla="*/ 0 h 157"/>
                <a:gd name="connsiteX0" fmla="*/ 0 w 10000"/>
                <a:gd name="connsiteY0" fmla="*/ 0 h 10000"/>
                <a:gd name="connsiteX1" fmla="*/ 0 w 10000"/>
                <a:gd name="connsiteY1" fmla="*/ 4140 h 10000"/>
                <a:gd name="connsiteX2" fmla="*/ 0 w 10000"/>
                <a:gd name="connsiteY2" fmla="*/ 5860 h 10000"/>
                <a:gd name="connsiteX3" fmla="*/ 0 w 10000"/>
                <a:gd name="connsiteY3" fmla="*/ 10000 h 10000"/>
                <a:gd name="connsiteX4" fmla="*/ 10000 w 10000"/>
                <a:gd name="connsiteY4" fmla="*/ 4968 h 10000"/>
                <a:gd name="connsiteX5" fmla="*/ 0 w 10000"/>
                <a:gd name="connsiteY5" fmla="*/ 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5" fmla="*/ 4176 w 10000"/>
                <a:gd name="connsiteY5" fmla="*/ 9433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0" fmla="*/ 0 w 10000"/>
                <a:gd name="connsiteY0" fmla="*/ 10000 h 10000"/>
                <a:gd name="connsiteX1" fmla="*/ 10000 w 10000"/>
                <a:gd name="connsiteY1" fmla="*/ 4968 h 10000"/>
                <a:gd name="connsiteX2" fmla="*/ 0 w 10000"/>
                <a:gd name="connsiteY2" fmla="*/ 0 h 10000"/>
              </a:gdLst>
              <a:ahLst/>
              <a:cxnLst>
                <a:cxn ang="0">
                  <a:pos x="connsiteX0" y="connsiteY0"/>
                </a:cxn>
                <a:cxn ang="0">
                  <a:pos x="connsiteX1" y="connsiteY1"/>
                </a:cxn>
                <a:cxn ang="0">
                  <a:pos x="connsiteX2" y="connsiteY2"/>
                </a:cxn>
              </a:cxnLst>
              <a:rect l="l" t="t" r="r" b="b"/>
              <a:pathLst>
                <a:path w="10000" h="10000">
                  <a:moveTo>
                    <a:pt x="0" y="10000"/>
                  </a:moveTo>
                  <a:lnTo>
                    <a:pt x="10000" y="4968"/>
                  </a:lnTo>
                  <a:lnTo>
                    <a:pt x="0" y="0"/>
                  </a:lnTo>
                </a:path>
              </a:pathLst>
            </a:custGeom>
            <a:noFill/>
            <a:ln w="25400" cap="rnd">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4" name="Freeform 198">
              <a:extLst>
                <a:ext uri="{FF2B5EF4-FFF2-40B4-BE49-F238E27FC236}">
                  <a16:creationId xmlns:a16="http://schemas.microsoft.com/office/drawing/2014/main" id="{6D4C8D88-C7BF-4705-A42C-4D999AC2BEBC}"/>
                </a:ext>
              </a:extLst>
            </p:cNvPr>
            <p:cNvSpPr>
              <a:spLocks/>
            </p:cNvSpPr>
            <p:nvPr/>
          </p:nvSpPr>
          <p:spPr bwMode="auto">
            <a:xfrm>
              <a:off x="5792513" y="2182918"/>
              <a:ext cx="218952" cy="255951"/>
            </a:xfrm>
            <a:custGeom>
              <a:avLst/>
              <a:gdLst>
                <a:gd name="T0" fmla="*/ 0 w 134"/>
                <a:gd name="T1" fmla="*/ 0 h 157"/>
                <a:gd name="T2" fmla="*/ 0 w 134"/>
                <a:gd name="T3" fmla="*/ 65 h 157"/>
                <a:gd name="T4" fmla="*/ 23 w 134"/>
                <a:gd name="T5" fmla="*/ 78 h 157"/>
                <a:gd name="T6" fmla="*/ 0 w 134"/>
                <a:gd name="T7" fmla="*/ 92 h 157"/>
                <a:gd name="T8" fmla="*/ 0 w 134"/>
                <a:gd name="T9" fmla="*/ 157 h 157"/>
                <a:gd name="T10" fmla="*/ 134 w 134"/>
                <a:gd name="T11" fmla="*/ 78 h 157"/>
                <a:gd name="T12" fmla="*/ 0 w 134"/>
                <a:gd name="T13" fmla="*/ 0 h 157"/>
                <a:gd name="connsiteX0" fmla="*/ 0 w 10000"/>
                <a:gd name="connsiteY0" fmla="*/ 0 h 10000"/>
                <a:gd name="connsiteX1" fmla="*/ 0 w 10000"/>
                <a:gd name="connsiteY1" fmla="*/ 4140 h 10000"/>
                <a:gd name="connsiteX2" fmla="*/ 0 w 10000"/>
                <a:gd name="connsiteY2" fmla="*/ 5860 h 10000"/>
                <a:gd name="connsiteX3" fmla="*/ 0 w 10000"/>
                <a:gd name="connsiteY3" fmla="*/ 10000 h 10000"/>
                <a:gd name="connsiteX4" fmla="*/ 10000 w 10000"/>
                <a:gd name="connsiteY4" fmla="*/ 4968 h 10000"/>
                <a:gd name="connsiteX5" fmla="*/ 0 w 10000"/>
                <a:gd name="connsiteY5" fmla="*/ 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5" fmla="*/ 4176 w 10000"/>
                <a:gd name="connsiteY5" fmla="*/ 9433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0" fmla="*/ 0 w 10000"/>
                <a:gd name="connsiteY0" fmla="*/ 10000 h 10000"/>
                <a:gd name="connsiteX1" fmla="*/ 10000 w 10000"/>
                <a:gd name="connsiteY1" fmla="*/ 4968 h 10000"/>
                <a:gd name="connsiteX2" fmla="*/ 0 w 10000"/>
                <a:gd name="connsiteY2" fmla="*/ 0 h 10000"/>
              </a:gdLst>
              <a:ahLst/>
              <a:cxnLst>
                <a:cxn ang="0">
                  <a:pos x="connsiteX0" y="connsiteY0"/>
                </a:cxn>
                <a:cxn ang="0">
                  <a:pos x="connsiteX1" y="connsiteY1"/>
                </a:cxn>
                <a:cxn ang="0">
                  <a:pos x="connsiteX2" y="connsiteY2"/>
                </a:cxn>
              </a:cxnLst>
              <a:rect l="l" t="t" r="r" b="b"/>
              <a:pathLst>
                <a:path w="10000" h="10000">
                  <a:moveTo>
                    <a:pt x="0" y="10000"/>
                  </a:moveTo>
                  <a:lnTo>
                    <a:pt x="10000" y="4968"/>
                  </a:lnTo>
                  <a:lnTo>
                    <a:pt x="0" y="0"/>
                  </a:lnTo>
                </a:path>
              </a:pathLst>
            </a:custGeom>
            <a:noFill/>
            <a:ln w="25400" cap="rnd">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5" name="Freeform 198">
              <a:extLst>
                <a:ext uri="{FF2B5EF4-FFF2-40B4-BE49-F238E27FC236}">
                  <a16:creationId xmlns:a16="http://schemas.microsoft.com/office/drawing/2014/main" id="{EBAC735E-D83B-4417-8FA9-BDC0BDF88408}"/>
                </a:ext>
              </a:extLst>
            </p:cNvPr>
            <p:cNvSpPr>
              <a:spLocks/>
            </p:cNvSpPr>
            <p:nvPr/>
          </p:nvSpPr>
          <p:spPr bwMode="auto">
            <a:xfrm>
              <a:off x="5549625" y="2182918"/>
              <a:ext cx="218952" cy="255951"/>
            </a:xfrm>
            <a:custGeom>
              <a:avLst/>
              <a:gdLst>
                <a:gd name="T0" fmla="*/ 0 w 134"/>
                <a:gd name="T1" fmla="*/ 0 h 157"/>
                <a:gd name="T2" fmla="*/ 0 w 134"/>
                <a:gd name="T3" fmla="*/ 65 h 157"/>
                <a:gd name="T4" fmla="*/ 23 w 134"/>
                <a:gd name="T5" fmla="*/ 78 h 157"/>
                <a:gd name="T6" fmla="*/ 0 w 134"/>
                <a:gd name="T7" fmla="*/ 92 h 157"/>
                <a:gd name="T8" fmla="*/ 0 w 134"/>
                <a:gd name="T9" fmla="*/ 157 h 157"/>
                <a:gd name="T10" fmla="*/ 134 w 134"/>
                <a:gd name="T11" fmla="*/ 78 h 157"/>
                <a:gd name="T12" fmla="*/ 0 w 134"/>
                <a:gd name="T13" fmla="*/ 0 h 157"/>
                <a:gd name="connsiteX0" fmla="*/ 0 w 10000"/>
                <a:gd name="connsiteY0" fmla="*/ 0 h 10000"/>
                <a:gd name="connsiteX1" fmla="*/ 0 w 10000"/>
                <a:gd name="connsiteY1" fmla="*/ 4140 h 10000"/>
                <a:gd name="connsiteX2" fmla="*/ 0 w 10000"/>
                <a:gd name="connsiteY2" fmla="*/ 5860 h 10000"/>
                <a:gd name="connsiteX3" fmla="*/ 0 w 10000"/>
                <a:gd name="connsiteY3" fmla="*/ 10000 h 10000"/>
                <a:gd name="connsiteX4" fmla="*/ 10000 w 10000"/>
                <a:gd name="connsiteY4" fmla="*/ 4968 h 10000"/>
                <a:gd name="connsiteX5" fmla="*/ 0 w 10000"/>
                <a:gd name="connsiteY5" fmla="*/ 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5" fmla="*/ 4176 w 10000"/>
                <a:gd name="connsiteY5" fmla="*/ 9433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0" fmla="*/ 0 w 10000"/>
                <a:gd name="connsiteY0" fmla="*/ 10000 h 10000"/>
                <a:gd name="connsiteX1" fmla="*/ 10000 w 10000"/>
                <a:gd name="connsiteY1" fmla="*/ 4968 h 10000"/>
                <a:gd name="connsiteX2" fmla="*/ 0 w 10000"/>
                <a:gd name="connsiteY2" fmla="*/ 0 h 10000"/>
              </a:gdLst>
              <a:ahLst/>
              <a:cxnLst>
                <a:cxn ang="0">
                  <a:pos x="connsiteX0" y="connsiteY0"/>
                </a:cxn>
                <a:cxn ang="0">
                  <a:pos x="connsiteX1" y="connsiteY1"/>
                </a:cxn>
                <a:cxn ang="0">
                  <a:pos x="connsiteX2" y="connsiteY2"/>
                </a:cxn>
              </a:cxnLst>
              <a:rect l="l" t="t" r="r" b="b"/>
              <a:pathLst>
                <a:path w="10000" h="10000">
                  <a:moveTo>
                    <a:pt x="0" y="10000"/>
                  </a:moveTo>
                  <a:lnTo>
                    <a:pt x="10000" y="4968"/>
                  </a:lnTo>
                  <a:lnTo>
                    <a:pt x="0" y="0"/>
                  </a:lnTo>
                </a:path>
              </a:pathLst>
            </a:custGeom>
            <a:noFill/>
            <a:ln w="25400" cap="rnd">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6" name="Freeform 198">
              <a:extLst>
                <a:ext uri="{FF2B5EF4-FFF2-40B4-BE49-F238E27FC236}">
                  <a16:creationId xmlns:a16="http://schemas.microsoft.com/office/drawing/2014/main" id="{4DE6030B-179F-46F2-98F0-1FDD5DFA704F}"/>
                </a:ext>
              </a:extLst>
            </p:cNvPr>
            <p:cNvSpPr>
              <a:spLocks/>
            </p:cNvSpPr>
            <p:nvPr/>
          </p:nvSpPr>
          <p:spPr bwMode="auto">
            <a:xfrm>
              <a:off x="5304356" y="2182918"/>
              <a:ext cx="218952" cy="255951"/>
            </a:xfrm>
            <a:custGeom>
              <a:avLst/>
              <a:gdLst>
                <a:gd name="T0" fmla="*/ 0 w 134"/>
                <a:gd name="T1" fmla="*/ 0 h 157"/>
                <a:gd name="T2" fmla="*/ 0 w 134"/>
                <a:gd name="T3" fmla="*/ 65 h 157"/>
                <a:gd name="T4" fmla="*/ 23 w 134"/>
                <a:gd name="T5" fmla="*/ 78 h 157"/>
                <a:gd name="T6" fmla="*/ 0 w 134"/>
                <a:gd name="T7" fmla="*/ 92 h 157"/>
                <a:gd name="T8" fmla="*/ 0 w 134"/>
                <a:gd name="T9" fmla="*/ 157 h 157"/>
                <a:gd name="T10" fmla="*/ 134 w 134"/>
                <a:gd name="T11" fmla="*/ 78 h 157"/>
                <a:gd name="T12" fmla="*/ 0 w 134"/>
                <a:gd name="T13" fmla="*/ 0 h 157"/>
                <a:gd name="connsiteX0" fmla="*/ 0 w 10000"/>
                <a:gd name="connsiteY0" fmla="*/ 0 h 10000"/>
                <a:gd name="connsiteX1" fmla="*/ 0 w 10000"/>
                <a:gd name="connsiteY1" fmla="*/ 4140 h 10000"/>
                <a:gd name="connsiteX2" fmla="*/ 0 w 10000"/>
                <a:gd name="connsiteY2" fmla="*/ 5860 h 10000"/>
                <a:gd name="connsiteX3" fmla="*/ 0 w 10000"/>
                <a:gd name="connsiteY3" fmla="*/ 10000 h 10000"/>
                <a:gd name="connsiteX4" fmla="*/ 10000 w 10000"/>
                <a:gd name="connsiteY4" fmla="*/ 4968 h 10000"/>
                <a:gd name="connsiteX5" fmla="*/ 0 w 10000"/>
                <a:gd name="connsiteY5" fmla="*/ 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5" fmla="*/ 4176 w 10000"/>
                <a:gd name="connsiteY5" fmla="*/ 9433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0" fmla="*/ 0 w 10000"/>
                <a:gd name="connsiteY0" fmla="*/ 10000 h 10000"/>
                <a:gd name="connsiteX1" fmla="*/ 10000 w 10000"/>
                <a:gd name="connsiteY1" fmla="*/ 4968 h 10000"/>
                <a:gd name="connsiteX2" fmla="*/ 0 w 10000"/>
                <a:gd name="connsiteY2" fmla="*/ 0 h 10000"/>
              </a:gdLst>
              <a:ahLst/>
              <a:cxnLst>
                <a:cxn ang="0">
                  <a:pos x="connsiteX0" y="connsiteY0"/>
                </a:cxn>
                <a:cxn ang="0">
                  <a:pos x="connsiteX1" y="connsiteY1"/>
                </a:cxn>
                <a:cxn ang="0">
                  <a:pos x="connsiteX2" y="connsiteY2"/>
                </a:cxn>
              </a:cxnLst>
              <a:rect l="l" t="t" r="r" b="b"/>
              <a:pathLst>
                <a:path w="10000" h="10000">
                  <a:moveTo>
                    <a:pt x="0" y="10000"/>
                  </a:moveTo>
                  <a:lnTo>
                    <a:pt x="10000" y="4968"/>
                  </a:lnTo>
                  <a:lnTo>
                    <a:pt x="0" y="0"/>
                  </a:lnTo>
                </a:path>
              </a:pathLst>
            </a:custGeom>
            <a:noFill/>
            <a:ln w="25400" cap="rnd">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grpSp>
      <p:grpSp>
        <p:nvGrpSpPr>
          <p:cNvPr id="747" name="Group 746">
            <a:extLst>
              <a:ext uri="{FF2B5EF4-FFF2-40B4-BE49-F238E27FC236}">
                <a16:creationId xmlns:a16="http://schemas.microsoft.com/office/drawing/2014/main" id="{296A3378-D84A-4952-AC5B-5C9A11AB4D48}"/>
              </a:ext>
            </a:extLst>
          </p:cNvPr>
          <p:cNvGrpSpPr/>
          <p:nvPr/>
        </p:nvGrpSpPr>
        <p:grpSpPr>
          <a:xfrm rot="5400000" flipV="1">
            <a:off x="5203615" y="3541974"/>
            <a:ext cx="532587" cy="171995"/>
            <a:chOff x="5304356" y="2182918"/>
            <a:chExt cx="909515" cy="255951"/>
          </a:xfrm>
        </p:grpSpPr>
        <p:sp>
          <p:nvSpPr>
            <p:cNvPr id="748" name="Freeform 198">
              <a:extLst>
                <a:ext uri="{FF2B5EF4-FFF2-40B4-BE49-F238E27FC236}">
                  <a16:creationId xmlns:a16="http://schemas.microsoft.com/office/drawing/2014/main" id="{252CBD83-F039-4465-A4D0-D0B51428F60B}"/>
                </a:ext>
              </a:extLst>
            </p:cNvPr>
            <p:cNvSpPr>
              <a:spLocks/>
            </p:cNvSpPr>
            <p:nvPr/>
          </p:nvSpPr>
          <p:spPr bwMode="auto">
            <a:xfrm>
              <a:off x="5994919" y="2182918"/>
              <a:ext cx="218952" cy="255951"/>
            </a:xfrm>
            <a:custGeom>
              <a:avLst/>
              <a:gdLst>
                <a:gd name="T0" fmla="*/ 0 w 134"/>
                <a:gd name="T1" fmla="*/ 0 h 157"/>
                <a:gd name="T2" fmla="*/ 0 w 134"/>
                <a:gd name="T3" fmla="*/ 65 h 157"/>
                <a:gd name="T4" fmla="*/ 23 w 134"/>
                <a:gd name="T5" fmla="*/ 78 h 157"/>
                <a:gd name="T6" fmla="*/ 0 w 134"/>
                <a:gd name="T7" fmla="*/ 92 h 157"/>
                <a:gd name="T8" fmla="*/ 0 w 134"/>
                <a:gd name="T9" fmla="*/ 157 h 157"/>
                <a:gd name="T10" fmla="*/ 134 w 134"/>
                <a:gd name="T11" fmla="*/ 78 h 157"/>
                <a:gd name="T12" fmla="*/ 0 w 134"/>
                <a:gd name="T13" fmla="*/ 0 h 157"/>
                <a:gd name="connsiteX0" fmla="*/ 0 w 10000"/>
                <a:gd name="connsiteY0" fmla="*/ 0 h 10000"/>
                <a:gd name="connsiteX1" fmla="*/ 0 w 10000"/>
                <a:gd name="connsiteY1" fmla="*/ 4140 h 10000"/>
                <a:gd name="connsiteX2" fmla="*/ 0 w 10000"/>
                <a:gd name="connsiteY2" fmla="*/ 5860 h 10000"/>
                <a:gd name="connsiteX3" fmla="*/ 0 w 10000"/>
                <a:gd name="connsiteY3" fmla="*/ 10000 h 10000"/>
                <a:gd name="connsiteX4" fmla="*/ 10000 w 10000"/>
                <a:gd name="connsiteY4" fmla="*/ 4968 h 10000"/>
                <a:gd name="connsiteX5" fmla="*/ 0 w 10000"/>
                <a:gd name="connsiteY5" fmla="*/ 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5" fmla="*/ 4176 w 10000"/>
                <a:gd name="connsiteY5" fmla="*/ 9433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0" fmla="*/ 0 w 10000"/>
                <a:gd name="connsiteY0" fmla="*/ 10000 h 10000"/>
                <a:gd name="connsiteX1" fmla="*/ 10000 w 10000"/>
                <a:gd name="connsiteY1" fmla="*/ 4968 h 10000"/>
                <a:gd name="connsiteX2" fmla="*/ 0 w 10000"/>
                <a:gd name="connsiteY2" fmla="*/ 0 h 10000"/>
              </a:gdLst>
              <a:ahLst/>
              <a:cxnLst>
                <a:cxn ang="0">
                  <a:pos x="connsiteX0" y="connsiteY0"/>
                </a:cxn>
                <a:cxn ang="0">
                  <a:pos x="connsiteX1" y="connsiteY1"/>
                </a:cxn>
                <a:cxn ang="0">
                  <a:pos x="connsiteX2" y="connsiteY2"/>
                </a:cxn>
              </a:cxnLst>
              <a:rect l="l" t="t" r="r" b="b"/>
              <a:pathLst>
                <a:path w="10000" h="10000">
                  <a:moveTo>
                    <a:pt x="0" y="10000"/>
                  </a:moveTo>
                  <a:lnTo>
                    <a:pt x="10000" y="4968"/>
                  </a:lnTo>
                  <a:lnTo>
                    <a:pt x="0" y="0"/>
                  </a:lnTo>
                </a:path>
              </a:pathLst>
            </a:custGeom>
            <a:noFill/>
            <a:ln w="25400" cap="rnd">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9" name="Freeform 198">
              <a:extLst>
                <a:ext uri="{FF2B5EF4-FFF2-40B4-BE49-F238E27FC236}">
                  <a16:creationId xmlns:a16="http://schemas.microsoft.com/office/drawing/2014/main" id="{2A3AD07E-0B59-407D-9E59-9415B4005AFE}"/>
                </a:ext>
              </a:extLst>
            </p:cNvPr>
            <p:cNvSpPr>
              <a:spLocks/>
            </p:cNvSpPr>
            <p:nvPr/>
          </p:nvSpPr>
          <p:spPr bwMode="auto">
            <a:xfrm>
              <a:off x="5792513" y="2182918"/>
              <a:ext cx="218952" cy="255951"/>
            </a:xfrm>
            <a:custGeom>
              <a:avLst/>
              <a:gdLst>
                <a:gd name="T0" fmla="*/ 0 w 134"/>
                <a:gd name="T1" fmla="*/ 0 h 157"/>
                <a:gd name="T2" fmla="*/ 0 w 134"/>
                <a:gd name="T3" fmla="*/ 65 h 157"/>
                <a:gd name="T4" fmla="*/ 23 w 134"/>
                <a:gd name="T5" fmla="*/ 78 h 157"/>
                <a:gd name="T6" fmla="*/ 0 w 134"/>
                <a:gd name="T7" fmla="*/ 92 h 157"/>
                <a:gd name="T8" fmla="*/ 0 w 134"/>
                <a:gd name="T9" fmla="*/ 157 h 157"/>
                <a:gd name="T10" fmla="*/ 134 w 134"/>
                <a:gd name="T11" fmla="*/ 78 h 157"/>
                <a:gd name="T12" fmla="*/ 0 w 134"/>
                <a:gd name="T13" fmla="*/ 0 h 157"/>
                <a:gd name="connsiteX0" fmla="*/ 0 w 10000"/>
                <a:gd name="connsiteY0" fmla="*/ 0 h 10000"/>
                <a:gd name="connsiteX1" fmla="*/ 0 w 10000"/>
                <a:gd name="connsiteY1" fmla="*/ 4140 h 10000"/>
                <a:gd name="connsiteX2" fmla="*/ 0 w 10000"/>
                <a:gd name="connsiteY2" fmla="*/ 5860 h 10000"/>
                <a:gd name="connsiteX3" fmla="*/ 0 w 10000"/>
                <a:gd name="connsiteY3" fmla="*/ 10000 h 10000"/>
                <a:gd name="connsiteX4" fmla="*/ 10000 w 10000"/>
                <a:gd name="connsiteY4" fmla="*/ 4968 h 10000"/>
                <a:gd name="connsiteX5" fmla="*/ 0 w 10000"/>
                <a:gd name="connsiteY5" fmla="*/ 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5" fmla="*/ 4176 w 10000"/>
                <a:gd name="connsiteY5" fmla="*/ 9433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0" fmla="*/ 0 w 10000"/>
                <a:gd name="connsiteY0" fmla="*/ 10000 h 10000"/>
                <a:gd name="connsiteX1" fmla="*/ 10000 w 10000"/>
                <a:gd name="connsiteY1" fmla="*/ 4968 h 10000"/>
                <a:gd name="connsiteX2" fmla="*/ 0 w 10000"/>
                <a:gd name="connsiteY2" fmla="*/ 0 h 10000"/>
              </a:gdLst>
              <a:ahLst/>
              <a:cxnLst>
                <a:cxn ang="0">
                  <a:pos x="connsiteX0" y="connsiteY0"/>
                </a:cxn>
                <a:cxn ang="0">
                  <a:pos x="connsiteX1" y="connsiteY1"/>
                </a:cxn>
                <a:cxn ang="0">
                  <a:pos x="connsiteX2" y="connsiteY2"/>
                </a:cxn>
              </a:cxnLst>
              <a:rect l="l" t="t" r="r" b="b"/>
              <a:pathLst>
                <a:path w="10000" h="10000">
                  <a:moveTo>
                    <a:pt x="0" y="10000"/>
                  </a:moveTo>
                  <a:lnTo>
                    <a:pt x="10000" y="4968"/>
                  </a:lnTo>
                  <a:lnTo>
                    <a:pt x="0" y="0"/>
                  </a:lnTo>
                </a:path>
              </a:pathLst>
            </a:custGeom>
            <a:noFill/>
            <a:ln w="25400" cap="rnd">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67" name="Freeform 198">
              <a:extLst>
                <a:ext uri="{FF2B5EF4-FFF2-40B4-BE49-F238E27FC236}">
                  <a16:creationId xmlns:a16="http://schemas.microsoft.com/office/drawing/2014/main" id="{F7F9FB73-CE4C-4EBF-85E0-FFC6F786DD14}"/>
                </a:ext>
              </a:extLst>
            </p:cNvPr>
            <p:cNvSpPr>
              <a:spLocks/>
            </p:cNvSpPr>
            <p:nvPr/>
          </p:nvSpPr>
          <p:spPr bwMode="auto">
            <a:xfrm>
              <a:off x="5549625" y="2182918"/>
              <a:ext cx="218952" cy="255951"/>
            </a:xfrm>
            <a:custGeom>
              <a:avLst/>
              <a:gdLst>
                <a:gd name="T0" fmla="*/ 0 w 134"/>
                <a:gd name="T1" fmla="*/ 0 h 157"/>
                <a:gd name="T2" fmla="*/ 0 w 134"/>
                <a:gd name="T3" fmla="*/ 65 h 157"/>
                <a:gd name="T4" fmla="*/ 23 w 134"/>
                <a:gd name="T5" fmla="*/ 78 h 157"/>
                <a:gd name="T6" fmla="*/ 0 w 134"/>
                <a:gd name="T7" fmla="*/ 92 h 157"/>
                <a:gd name="T8" fmla="*/ 0 w 134"/>
                <a:gd name="T9" fmla="*/ 157 h 157"/>
                <a:gd name="T10" fmla="*/ 134 w 134"/>
                <a:gd name="T11" fmla="*/ 78 h 157"/>
                <a:gd name="T12" fmla="*/ 0 w 134"/>
                <a:gd name="T13" fmla="*/ 0 h 157"/>
                <a:gd name="connsiteX0" fmla="*/ 0 w 10000"/>
                <a:gd name="connsiteY0" fmla="*/ 0 h 10000"/>
                <a:gd name="connsiteX1" fmla="*/ 0 w 10000"/>
                <a:gd name="connsiteY1" fmla="*/ 4140 h 10000"/>
                <a:gd name="connsiteX2" fmla="*/ 0 w 10000"/>
                <a:gd name="connsiteY2" fmla="*/ 5860 h 10000"/>
                <a:gd name="connsiteX3" fmla="*/ 0 w 10000"/>
                <a:gd name="connsiteY3" fmla="*/ 10000 h 10000"/>
                <a:gd name="connsiteX4" fmla="*/ 10000 w 10000"/>
                <a:gd name="connsiteY4" fmla="*/ 4968 h 10000"/>
                <a:gd name="connsiteX5" fmla="*/ 0 w 10000"/>
                <a:gd name="connsiteY5" fmla="*/ 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5" fmla="*/ 4176 w 10000"/>
                <a:gd name="connsiteY5" fmla="*/ 9433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0" fmla="*/ 0 w 10000"/>
                <a:gd name="connsiteY0" fmla="*/ 10000 h 10000"/>
                <a:gd name="connsiteX1" fmla="*/ 10000 w 10000"/>
                <a:gd name="connsiteY1" fmla="*/ 4968 h 10000"/>
                <a:gd name="connsiteX2" fmla="*/ 0 w 10000"/>
                <a:gd name="connsiteY2" fmla="*/ 0 h 10000"/>
              </a:gdLst>
              <a:ahLst/>
              <a:cxnLst>
                <a:cxn ang="0">
                  <a:pos x="connsiteX0" y="connsiteY0"/>
                </a:cxn>
                <a:cxn ang="0">
                  <a:pos x="connsiteX1" y="connsiteY1"/>
                </a:cxn>
                <a:cxn ang="0">
                  <a:pos x="connsiteX2" y="connsiteY2"/>
                </a:cxn>
              </a:cxnLst>
              <a:rect l="l" t="t" r="r" b="b"/>
              <a:pathLst>
                <a:path w="10000" h="10000">
                  <a:moveTo>
                    <a:pt x="0" y="10000"/>
                  </a:moveTo>
                  <a:lnTo>
                    <a:pt x="10000" y="4968"/>
                  </a:lnTo>
                  <a:lnTo>
                    <a:pt x="0" y="0"/>
                  </a:lnTo>
                </a:path>
              </a:pathLst>
            </a:custGeom>
            <a:noFill/>
            <a:ln w="25400" cap="rnd">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68" name="Freeform 198">
              <a:extLst>
                <a:ext uri="{FF2B5EF4-FFF2-40B4-BE49-F238E27FC236}">
                  <a16:creationId xmlns:a16="http://schemas.microsoft.com/office/drawing/2014/main" id="{B8733ADC-9DD3-463C-95CC-A6C5261CD04F}"/>
                </a:ext>
              </a:extLst>
            </p:cNvPr>
            <p:cNvSpPr>
              <a:spLocks/>
            </p:cNvSpPr>
            <p:nvPr/>
          </p:nvSpPr>
          <p:spPr bwMode="auto">
            <a:xfrm>
              <a:off x="5304356" y="2182918"/>
              <a:ext cx="218952" cy="255951"/>
            </a:xfrm>
            <a:custGeom>
              <a:avLst/>
              <a:gdLst>
                <a:gd name="T0" fmla="*/ 0 w 134"/>
                <a:gd name="T1" fmla="*/ 0 h 157"/>
                <a:gd name="T2" fmla="*/ 0 w 134"/>
                <a:gd name="T3" fmla="*/ 65 h 157"/>
                <a:gd name="T4" fmla="*/ 23 w 134"/>
                <a:gd name="T5" fmla="*/ 78 h 157"/>
                <a:gd name="T6" fmla="*/ 0 w 134"/>
                <a:gd name="T7" fmla="*/ 92 h 157"/>
                <a:gd name="T8" fmla="*/ 0 w 134"/>
                <a:gd name="T9" fmla="*/ 157 h 157"/>
                <a:gd name="T10" fmla="*/ 134 w 134"/>
                <a:gd name="T11" fmla="*/ 78 h 157"/>
                <a:gd name="T12" fmla="*/ 0 w 134"/>
                <a:gd name="T13" fmla="*/ 0 h 157"/>
                <a:gd name="connsiteX0" fmla="*/ 0 w 10000"/>
                <a:gd name="connsiteY0" fmla="*/ 0 h 10000"/>
                <a:gd name="connsiteX1" fmla="*/ 0 w 10000"/>
                <a:gd name="connsiteY1" fmla="*/ 4140 h 10000"/>
                <a:gd name="connsiteX2" fmla="*/ 0 w 10000"/>
                <a:gd name="connsiteY2" fmla="*/ 5860 h 10000"/>
                <a:gd name="connsiteX3" fmla="*/ 0 w 10000"/>
                <a:gd name="connsiteY3" fmla="*/ 10000 h 10000"/>
                <a:gd name="connsiteX4" fmla="*/ 10000 w 10000"/>
                <a:gd name="connsiteY4" fmla="*/ 4968 h 10000"/>
                <a:gd name="connsiteX5" fmla="*/ 0 w 10000"/>
                <a:gd name="connsiteY5" fmla="*/ 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5" fmla="*/ 4176 w 10000"/>
                <a:gd name="connsiteY5" fmla="*/ 9433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4" fmla="*/ 0 w 10000"/>
                <a:gd name="connsiteY4" fmla="*/ 4140 h 10000"/>
                <a:gd name="connsiteX0" fmla="*/ 0 w 10000"/>
                <a:gd name="connsiteY0" fmla="*/ 5860 h 10000"/>
                <a:gd name="connsiteX1" fmla="*/ 0 w 10000"/>
                <a:gd name="connsiteY1" fmla="*/ 10000 h 10000"/>
                <a:gd name="connsiteX2" fmla="*/ 10000 w 10000"/>
                <a:gd name="connsiteY2" fmla="*/ 4968 h 10000"/>
                <a:gd name="connsiteX3" fmla="*/ 0 w 10000"/>
                <a:gd name="connsiteY3" fmla="*/ 0 h 10000"/>
                <a:gd name="connsiteX0" fmla="*/ 0 w 10000"/>
                <a:gd name="connsiteY0" fmla="*/ 10000 h 10000"/>
                <a:gd name="connsiteX1" fmla="*/ 10000 w 10000"/>
                <a:gd name="connsiteY1" fmla="*/ 4968 h 10000"/>
                <a:gd name="connsiteX2" fmla="*/ 0 w 10000"/>
                <a:gd name="connsiteY2" fmla="*/ 0 h 10000"/>
              </a:gdLst>
              <a:ahLst/>
              <a:cxnLst>
                <a:cxn ang="0">
                  <a:pos x="connsiteX0" y="connsiteY0"/>
                </a:cxn>
                <a:cxn ang="0">
                  <a:pos x="connsiteX1" y="connsiteY1"/>
                </a:cxn>
                <a:cxn ang="0">
                  <a:pos x="connsiteX2" y="connsiteY2"/>
                </a:cxn>
              </a:cxnLst>
              <a:rect l="l" t="t" r="r" b="b"/>
              <a:pathLst>
                <a:path w="10000" h="10000">
                  <a:moveTo>
                    <a:pt x="0" y="10000"/>
                  </a:moveTo>
                  <a:lnTo>
                    <a:pt x="10000" y="4968"/>
                  </a:lnTo>
                  <a:lnTo>
                    <a:pt x="0" y="0"/>
                  </a:lnTo>
                </a:path>
              </a:pathLst>
            </a:custGeom>
            <a:noFill/>
            <a:ln w="25400" cap="rnd">
              <a:solidFill>
                <a:schemeClr val="accent1"/>
              </a:solid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grpSp>
      <p:grpSp>
        <p:nvGrpSpPr>
          <p:cNvPr id="769" name="Group 768">
            <a:extLst>
              <a:ext uri="{FF2B5EF4-FFF2-40B4-BE49-F238E27FC236}">
                <a16:creationId xmlns:a16="http://schemas.microsoft.com/office/drawing/2014/main" id="{52AD1089-FA0F-4489-9716-843E457002D6}"/>
              </a:ext>
            </a:extLst>
          </p:cNvPr>
          <p:cNvGrpSpPr/>
          <p:nvPr/>
        </p:nvGrpSpPr>
        <p:grpSpPr>
          <a:xfrm>
            <a:off x="5363843" y="1127396"/>
            <a:ext cx="3115530" cy="3115531"/>
            <a:chOff x="3472405" y="1551006"/>
            <a:chExt cx="2419113" cy="2419113"/>
          </a:xfrm>
        </p:grpSpPr>
        <p:sp>
          <p:nvSpPr>
            <p:cNvPr id="770" name="Arc 769">
              <a:extLst>
                <a:ext uri="{FF2B5EF4-FFF2-40B4-BE49-F238E27FC236}">
                  <a16:creationId xmlns:a16="http://schemas.microsoft.com/office/drawing/2014/main" id="{C9852C94-FC19-41BF-9DF3-9F48EF7E3258}"/>
                </a:ext>
              </a:extLst>
            </p:cNvPr>
            <p:cNvSpPr/>
            <p:nvPr/>
          </p:nvSpPr>
          <p:spPr>
            <a:xfrm>
              <a:off x="3472405" y="1551006"/>
              <a:ext cx="2419111" cy="2419111"/>
            </a:xfrm>
            <a:prstGeom prst="arc">
              <a:avLst>
                <a:gd name="adj1" fmla="val 9510876"/>
                <a:gd name="adj2" fmla="val 18627990"/>
              </a:avLst>
            </a:prstGeom>
            <a:no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771" name="Oval 770">
              <a:extLst>
                <a:ext uri="{FF2B5EF4-FFF2-40B4-BE49-F238E27FC236}">
                  <a16:creationId xmlns:a16="http://schemas.microsoft.com/office/drawing/2014/main" id="{E47C107A-F7DC-447C-B0F4-AA7F19F51F28}"/>
                </a:ext>
              </a:extLst>
            </p:cNvPr>
            <p:cNvSpPr/>
            <p:nvPr/>
          </p:nvSpPr>
          <p:spPr>
            <a:xfrm>
              <a:off x="5417871" y="1794233"/>
              <a:ext cx="101600" cy="1016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772" name="Oval 771">
              <a:extLst>
                <a:ext uri="{FF2B5EF4-FFF2-40B4-BE49-F238E27FC236}">
                  <a16:creationId xmlns:a16="http://schemas.microsoft.com/office/drawing/2014/main" id="{E6993CE8-5FCD-48B4-9566-0066AD394B09}"/>
                </a:ext>
              </a:extLst>
            </p:cNvPr>
            <p:cNvSpPr/>
            <p:nvPr/>
          </p:nvSpPr>
          <p:spPr>
            <a:xfrm>
              <a:off x="3504436" y="3145400"/>
              <a:ext cx="101600" cy="1016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773" name="Oval 772">
              <a:extLst>
                <a:ext uri="{FF2B5EF4-FFF2-40B4-BE49-F238E27FC236}">
                  <a16:creationId xmlns:a16="http://schemas.microsoft.com/office/drawing/2014/main" id="{4EC80A86-EA0A-466F-90FC-C32875E8FC63}"/>
                </a:ext>
              </a:extLst>
            </p:cNvPr>
            <p:cNvSpPr/>
            <p:nvPr/>
          </p:nvSpPr>
          <p:spPr>
            <a:xfrm>
              <a:off x="3785048" y="3572665"/>
              <a:ext cx="101600" cy="1016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774" name="Arc 773">
              <a:extLst>
                <a:ext uri="{FF2B5EF4-FFF2-40B4-BE49-F238E27FC236}">
                  <a16:creationId xmlns:a16="http://schemas.microsoft.com/office/drawing/2014/main" id="{4920BCED-9BE0-4D17-B838-5A715113972A}"/>
                </a:ext>
              </a:extLst>
            </p:cNvPr>
            <p:cNvSpPr/>
            <p:nvPr/>
          </p:nvSpPr>
          <p:spPr>
            <a:xfrm rot="10800000">
              <a:off x="3472406" y="1551007"/>
              <a:ext cx="2419112" cy="2419112"/>
            </a:xfrm>
            <a:prstGeom prst="arc">
              <a:avLst>
                <a:gd name="adj1" fmla="val 9428353"/>
                <a:gd name="adj2" fmla="val 18813042"/>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775" name="Oval 774">
              <a:extLst>
                <a:ext uri="{FF2B5EF4-FFF2-40B4-BE49-F238E27FC236}">
                  <a16:creationId xmlns:a16="http://schemas.microsoft.com/office/drawing/2014/main" id="{9CB2137B-823E-42B9-8D48-BB1A2FD62B30}"/>
                </a:ext>
              </a:extLst>
            </p:cNvPr>
            <p:cNvSpPr/>
            <p:nvPr/>
          </p:nvSpPr>
          <p:spPr>
            <a:xfrm>
              <a:off x="5758783" y="2257344"/>
              <a:ext cx="101600" cy="1016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grpSp>
      <p:pic>
        <p:nvPicPr>
          <p:cNvPr id="776" name="Picture 775" descr="A close up of a black background&#10;&#10;Description automatically generated">
            <a:extLst>
              <a:ext uri="{FF2B5EF4-FFF2-40B4-BE49-F238E27FC236}">
                <a16:creationId xmlns:a16="http://schemas.microsoft.com/office/drawing/2014/main" id="{ECD740EA-E2E8-4FAE-8B9C-1E04311C5D7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886157" y="960197"/>
            <a:ext cx="4110690" cy="3269376"/>
          </a:xfrm>
          <a:prstGeom prst="ellipse">
            <a:avLst/>
          </a:prstGeom>
        </p:spPr>
      </p:pic>
      <p:sp>
        <p:nvSpPr>
          <p:cNvPr id="6" name="Rectangle 5">
            <a:extLst>
              <a:ext uri="{FF2B5EF4-FFF2-40B4-BE49-F238E27FC236}">
                <a16:creationId xmlns:a16="http://schemas.microsoft.com/office/drawing/2014/main" id="{6E66277C-E548-4A4D-9CC5-BB868FE6035C}"/>
              </a:ext>
            </a:extLst>
          </p:cNvPr>
          <p:cNvSpPr/>
          <p:nvPr/>
        </p:nvSpPr>
        <p:spPr>
          <a:xfrm>
            <a:off x="585329" y="1833086"/>
            <a:ext cx="4389967" cy="1477328"/>
          </a:xfrm>
          <a:prstGeom prst="rect">
            <a:avLst/>
          </a:prstGeom>
        </p:spPr>
        <p:txBody>
          <a:bodyPr wrap="square" lIns="0" tIns="0" rIns="0" bIns="0" anchor="ctr">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3200" b="0" i="0" u="none" strike="noStrike" kern="1200" cap="none" spc="0" normalizeH="0" baseline="0" noProof="0">
                <a:ln>
                  <a:noFill/>
                </a:ln>
                <a:solidFill>
                  <a:srgbClr val="0D274D"/>
                </a:solidFill>
                <a:effectLst/>
                <a:uLnTx/>
                <a:uFillTx/>
                <a:latin typeface="CiscoSansTT ExtraLight"/>
                <a:ea typeface="ＭＳ Ｐゴシック" charset="0"/>
              </a:rPr>
              <a:t>Isn’t it time for security solutions to act</a:t>
            </a:r>
            <a:br>
              <a:rPr kumimoji="0" lang="en-US" sz="3200" b="0" i="0" u="none" strike="noStrike" kern="1200" cap="none" spc="0" normalizeH="0" baseline="0" noProof="0">
                <a:ln>
                  <a:noFill/>
                </a:ln>
                <a:solidFill>
                  <a:srgbClr val="0D274D"/>
                </a:solidFill>
                <a:effectLst/>
                <a:uLnTx/>
                <a:uFillTx/>
                <a:latin typeface="CiscoSansTT ExtraLight"/>
                <a:ea typeface="ＭＳ Ｐゴシック" charset="0"/>
              </a:rPr>
            </a:br>
            <a:r>
              <a:rPr kumimoji="0" lang="en-US" sz="3200" b="0" i="0" u="none" strike="noStrike" kern="1200" cap="none" spc="0" normalizeH="0" baseline="0" noProof="0">
                <a:ln>
                  <a:noFill/>
                </a:ln>
                <a:solidFill>
                  <a:srgbClr val="0D274D"/>
                </a:solidFill>
                <a:effectLst/>
                <a:uLnTx/>
                <a:uFillTx/>
                <a:latin typeface="CiscoSansTT ExtraLight"/>
                <a:ea typeface="ＭＳ Ｐゴシック" charset="0"/>
              </a:rPr>
              <a:t>as a team?</a:t>
            </a:r>
          </a:p>
        </p:txBody>
      </p:sp>
    </p:spTree>
    <p:extLst>
      <p:ext uri="{BB962C8B-B14F-4D97-AF65-F5344CB8AC3E}">
        <p14:creationId xmlns:p14="http://schemas.microsoft.com/office/powerpoint/2010/main" val="25348738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a:extLst>
              <a:ext uri="{FF2B5EF4-FFF2-40B4-BE49-F238E27FC236}">
                <a16:creationId xmlns:a16="http://schemas.microsoft.com/office/drawing/2014/main" id="{6FF9BB79-5273-4BD6-B632-C9EC3A23082F}"/>
              </a:ext>
            </a:extLst>
          </p:cNvPr>
          <p:cNvSpPr/>
          <p:nvPr/>
        </p:nvSpPr>
        <p:spPr>
          <a:xfrm rot="5400000">
            <a:off x="6140222" y="1828344"/>
            <a:ext cx="64533" cy="331813"/>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ea typeface="+mn-ea"/>
              <a:cs typeface="+mn-cs"/>
            </a:endParaRPr>
          </a:p>
        </p:txBody>
      </p:sp>
      <p:sp>
        <p:nvSpPr>
          <p:cNvPr id="192" name="Oval 191">
            <a:extLst>
              <a:ext uri="{FF2B5EF4-FFF2-40B4-BE49-F238E27FC236}">
                <a16:creationId xmlns:a16="http://schemas.microsoft.com/office/drawing/2014/main" id="{BA8E8BF6-BB6B-4506-8BAC-F8F9D4D51125}"/>
              </a:ext>
            </a:extLst>
          </p:cNvPr>
          <p:cNvSpPr>
            <a:spLocks noChangeAspect="1"/>
          </p:cNvSpPr>
          <p:nvPr/>
        </p:nvSpPr>
        <p:spPr>
          <a:xfrm>
            <a:off x="5832890" y="3642167"/>
            <a:ext cx="675958" cy="676332"/>
          </a:xfrm>
          <a:prstGeom prst="ellipse">
            <a:avLst/>
          </a:prstGeom>
          <a:solidFill>
            <a:schemeClr val="accent2">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91" name="Oval 190">
            <a:extLst>
              <a:ext uri="{FF2B5EF4-FFF2-40B4-BE49-F238E27FC236}">
                <a16:creationId xmlns:a16="http://schemas.microsoft.com/office/drawing/2014/main" id="{9D88CAF1-D989-43FB-B607-9419CDBBE52F}"/>
              </a:ext>
            </a:extLst>
          </p:cNvPr>
          <p:cNvSpPr>
            <a:spLocks noChangeAspect="1"/>
          </p:cNvSpPr>
          <p:nvPr/>
        </p:nvSpPr>
        <p:spPr>
          <a:xfrm>
            <a:off x="5832890" y="378053"/>
            <a:ext cx="675958" cy="676332"/>
          </a:xfrm>
          <a:prstGeom prst="ellipse">
            <a:avLst/>
          </a:prstGeom>
          <a:solidFill>
            <a:schemeClr val="accent1">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ea typeface="+mn-ea"/>
              <a:cs typeface="+mn-cs"/>
            </a:endParaRPr>
          </a:p>
        </p:txBody>
      </p:sp>
      <p:sp>
        <p:nvSpPr>
          <p:cNvPr id="187" name="Arc 186">
            <a:extLst>
              <a:ext uri="{FF2B5EF4-FFF2-40B4-BE49-F238E27FC236}">
                <a16:creationId xmlns:a16="http://schemas.microsoft.com/office/drawing/2014/main" id="{88768336-08FA-43A5-9111-28673384F69E}"/>
              </a:ext>
            </a:extLst>
          </p:cNvPr>
          <p:cNvSpPr/>
          <p:nvPr/>
        </p:nvSpPr>
        <p:spPr>
          <a:xfrm rot="18933054" flipH="1" flipV="1">
            <a:off x="4428231" y="632820"/>
            <a:ext cx="3515712" cy="3448226"/>
          </a:xfrm>
          <a:prstGeom prst="arc">
            <a:avLst>
              <a:gd name="adj1" fmla="val 7275060"/>
              <a:gd name="adj2" fmla="val 11755664"/>
            </a:avLst>
          </a:prstGeom>
          <a:noFill/>
          <a:ln w="19050" cap="rnd" cmpd="sng" algn="ctr">
            <a:solidFill>
              <a:schemeClr val="accent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CiscoSansTT ExtraLight"/>
              <a:ea typeface="ＭＳ Ｐゴシック" charset="0"/>
              <a:cs typeface="+mn-cs"/>
            </a:endParaRPr>
          </a:p>
        </p:txBody>
      </p:sp>
      <p:sp>
        <p:nvSpPr>
          <p:cNvPr id="188" name="Arc 187">
            <a:extLst>
              <a:ext uri="{FF2B5EF4-FFF2-40B4-BE49-F238E27FC236}">
                <a16:creationId xmlns:a16="http://schemas.microsoft.com/office/drawing/2014/main" id="{D1F9CD4D-92F1-4E7E-A18E-01A6E7903BCE}"/>
              </a:ext>
            </a:extLst>
          </p:cNvPr>
          <p:cNvSpPr/>
          <p:nvPr/>
        </p:nvSpPr>
        <p:spPr>
          <a:xfrm rot="19073015">
            <a:off x="4414563" y="618724"/>
            <a:ext cx="3512428" cy="3445004"/>
          </a:xfrm>
          <a:prstGeom prst="arc">
            <a:avLst>
              <a:gd name="adj1" fmla="val 7130408"/>
              <a:gd name="adj2" fmla="val 11913989"/>
            </a:avLst>
          </a:prstGeom>
          <a:noFill/>
          <a:ln w="19050" cap="rnd" cmpd="sng" algn="ctr">
            <a:solidFill>
              <a:schemeClr val="accent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CiscoSansTT ExtraLight"/>
              <a:ea typeface="ＭＳ Ｐゴシック" charset="0"/>
              <a:cs typeface="+mn-cs"/>
            </a:endParaRPr>
          </a:p>
        </p:txBody>
      </p:sp>
      <p:sp>
        <p:nvSpPr>
          <p:cNvPr id="104" name="Freeform: Shape 103">
            <a:extLst>
              <a:ext uri="{FF2B5EF4-FFF2-40B4-BE49-F238E27FC236}">
                <a16:creationId xmlns:a16="http://schemas.microsoft.com/office/drawing/2014/main" id="{E8372E89-12D9-487C-8C37-F5E48A90221B}"/>
              </a:ext>
            </a:extLst>
          </p:cNvPr>
          <p:cNvSpPr/>
          <p:nvPr/>
        </p:nvSpPr>
        <p:spPr>
          <a:xfrm rot="5400000">
            <a:off x="6675952" y="1906404"/>
            <a:ext cx="631106" cy="875870"/>
          </a:xfrm>
          <a:custGeom>
            <a:avLst/>
            <a:gdLst>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328335 h 875870"/>
              <a:gd name="connsiteX6" fmla="*/ 631106 w 631106"/>
              <a:gd name="connsiteY6" fmla="*/ 875870 h 875870"/>
              <a:gd name="connsiteX7" fmla="*/ 0 w 631106"/>
              <a:gd name="connsiteY7" fmla="*/ 875870 h 875870"/>
              <a:gd name="connsiteX8" fmla="*/ 0 w 631106"/>
              <a:gd name="connsiteY8" fmla="*/ 328335 h 875870"/>
              <a:gd name="connsiteX9" fmla="*/ 1189 w 631106"/>
              <a:gd name="connsiteY9" fmla="*/ 328335 h 875870"/>
              <a:gd name="connsiteX10" fmla="*/ 153 w 631106"/>
              <a:gd name="connsiteY10" fmla="*/ 325085 h 875870"/>
              <a:gd name="connsiteX11" fmla="*/ 7252 w 631106"/>
              <a:gd name="connsiteY11" fmla="*/ 311986 h 875870"/>
              <a:gd name="connsiteX12" fmla="*/ 283197 w 631106"/>
              <a:gd name="connsiteY12" fmla="*/ 14597 h 875870"/>
              <a:gd name="connsiteX13" fmla="*/ 313959 w 631106"/>
              <a:gd name="connsiteY13"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875870 h 875870"/>
              <a:gd name="connsiteX6" fmla="*/ 0 w 631106"/>
              <a:gd name="connsiteY6" fmla="*/ 875870 h 875870"/>
              <a:gd name="connsiteX7" fmla="*/ 0 w 631106"/>
              <a:gd name="connsiteY7" fmla="*/ 328335 h 875870"/>
              <a:gd name="connsiteX8" fmla="*/ 1189 w 631106"/>
              <a:gd name="connsiteY8" fmla="*/ 328335 h 875870"/>
              <a:gd name="connsiteX9" fmla="*/ 153 w 631106"/>
              <a:gd name="connsiteY9" fmla="*/ 325085 h 875870"/>
              <a:gd name="connsiteX10" fmla="*/ 7252 w 631106"/>
              <a:gd name="connsiteY10" fmla="*/ 311986 h 875870"/>
              <a:gd name="connsiteX11" fmla="*/ 283197 w 631106"/>
              <a:gd name="connsiteY11" fmla="*/ 14597 h 875870"/>
              <a:gd name="connsiteX12" fmla="*/ 313959 w 631106"/>
              <a:gd name="connsiteY12"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153 w 631106"/>
              <a:gd name="connsiteY8" fmla="*/ 325085 h 875870"/>
              <a:gd name="connsiteX9" fmla="*/ 7252 w 631106"/>
              <a:gd name="connsiteY9" fmla="*/ 311986 h 875870"/>
              <a:gd name="connsiteX10" fmla="*/ 283197 w 631106"/>
              <a:gd name="connsiteY10" fmla="*/ 14597 h 875870"/>
              <a:gd name="connsiteX11" fmla="*/ 313959 w 631106"/>
              <a:gd name="connsiteY11"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7252 w 631106"/>
              <a:gd name="connsiteY8" fmla="*/ 311986 h 875870"/>
              <a:gd name="connsiteX9" fmla="*/ 283197 w 631106"/>
              <a:gd name="connsiteY9" fmla="*/ 14597 h 875870"/>
              <a:gd name="connsiteX10" fmla="*/ 313959 w 631106"/>
              <a:gd name="connsiteY10"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7252 w 631106"/>
              <a:gd name="connsiteY7" fmla="*/ 311986 h 875870"/>
              <a:gd name="connsiteX8" fmla="*/ 283197 w 631106"/>
              <a:gd name="connsiteY8" fmla="*/ 14597 h 875870"/>
              <a:gd name="connsiteX9" fmla="*/ 313959 w 631106"/>
              <a:gd name="connsiteY9"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283197 w 631106"/>
              <a:gd name="connsiteY7" fmla="*/ 14597 h 875870"/>
              <a:gd name="connsiteX8" fmla="*/ 313959 w 631106"/>
              <a:gd name="connsiteY8" fmla="*/ 1 h 87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1106" h="875870">
                <a:moveTo>
                  <a:pt x="313959" y="1"/>
                </a:moveTo>
                <a:cubicBezTo>
                  <a:pt x="324213" y="-75"/>
                  <a:pt x="334285" y="4410"/>
                  <a:pt x="343628" y="12773"/>
                </a:cubicBezTo>
                <a:lnTo>
                  <a:pt x="620302" y="311073"/>
                </a:lnTo>
                <a:cubicBezTo>
                  <a:pt x="626126" y="315521"/>
                  <a:pt x="629448" y="319854"/>
                  <a:pt x="630620" y="323852"/>
                </a:cubicBezTo>
                <a:lnTo>
                  <a:pt x="631106" y="875870"/>
                </a:lnTo>
                <a:lnTo>
                  <a:pt x="0" y="875870"/>
                </a:lnTo>
                <a:lnTo>
                  <a:pt x="0" y="328335"/>
                </a:lnTo>
                <a:lnTo>
                  <a:pt x="283197" y="14597"/>
                </a:lnTo>
                <a:cubicBezTo>
                  <a:pt x="293269" y="4714"/>
                  <a:pt x="303705" y="77"/>
                  <a:pt x="313959" y="1"/>
                </a:cubicBezTo>
                <a:close/>
              </a:path>
            </a:pathLst>
          </a:custGeom>
          <a:solidFill>
            <a:schemeClr val="accent4">
              <a:alpha val="6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ea typeface="+mn-ea"/>
              <a:cs typeface="+mn-cs"/>
            </a:endParaRPr>
          </a:p>
        </p:txBody>
      </p:sp>
      <p:sp>
        <p:nvSpPr>
          <p:cNvPr id="102" name="Freeform: Shape 101">
            <a:extLst>
              <a:ext uri="{FF2B5EF4-FFF2-40B4-BE49-F238E27FC236}">
                <a16:creationId xmlns:a16="http://schemas.microsoft.com/office/drawing/2014/main" id="{8F489990-C29E-4086-8711-6E201EB628F7}"/>
              </a:ext>
            </a:extLst>
          </p:cNvPr>
          <p:cNvSpPr/>
          <p:nvPr/>
        </p:nvSpPr>
        <p:spPr>
          <a:xfrm flipV="1">
            <a:off x="5856935" y="2721596"/>
            <a:ext cx="631106" cy="875870"/>
          </a:xfrm>
          <a:custGeom>
            <a:avLst/>
            <a:gdLst>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328335 h 875870"/>
              <a:gd name="connsiteX6" fmla="*/ 631106 w 631106"/>
              <a:gd name="connsiteY6" fmla="*/ 875870 h 875870"/>
              <a:gd name="connsiteX7" fmla="*/ 0 w 631106"/>
              <a:gd name="connsiteY7" fmla="*/ 875870 h 875870"/>
              <a:gd name="connsiteX8" fmla="*/ 0 w 631106"/>
              <a:gd name="connsiteY8" fmla="*/ 328335 h 875870"/>
              <a:gd name="connsiteX9" fmla="*/ 1189 w 631106"/>
              <a:gd name="connsiteY9" fmla="*/ 328335 h 875870"/>
              <a:gd name="connsiteX10" fmla="*/ 153 w 631106"/>
              <a:gd name="connsiteY10" fmla="*/ 325085 h 875870"/>
              <a:gd name="connsiteX11" fmla="*/ 7252 w 631106"/>
              <a:gd name="connsiteY11" fmla="*/ 311986 h 875870"/>
              <a:gd name="connsiteX12" fmla="*/ 283197 w 631106"/>
              <a:gd name="connsiteY12" fmla="*/ 14597 h 875870"/>
              <a:gd name="connsiteX13" fmla="*/ 313959 w 631106"/>
              <a:gd name="connsiteY13"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875870 h 875870"/>
              <a:gd name="connsiteX6" fmla="*/ 0 w 631106"/>
              <a:gd name="connsiteY6" fmla="*/ 875870 h 875870"/>
              <a:gd name="connsiteX7" fmla="*/ 0 w 631106"/>
              <a:gd name="connsiteY7" fmla="*/ 328335 h 875870"/>
              <a:gd name="connsiteX8" fmla="*/ 1189 w 631106"/>
              <a:gd name="connsiteY8" fmla="*/ 328335 h 875870"/>
              <a:gd name="connsiteX9" fmla="*/ 153 w 631106"/>
              <a:gd name="connsiteY9" fmla="*/ 325085 h 875870"/>
              <a:gd name="connsiteX10" fmla="*/ 7252 w 631106"/>
              <a:gd name="connsiteY10" fmla="*/ 311986 h 875870"/>
              <a:gd name="connsiteX11" fmla="*/ 283197 w 631106"/>
              <a:gd name="connsiteY11" fmla="*/ 14597 h 875870"/>
              <a:gd name="connsiteX12" fmla="*/ 313959 w 631106"/>
              <a:gd name="connsiteY12"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153 w 631106"/>
              <a:gd name="connsiteY8" fmla="*/ 325085 h 875870"/>
              <a:gd name="connsiteX9" fmla="*/ 7252 w 631106"/>
              <a:gd name="connsiteY9" fmla="*/ 311986 h 875870"/>
              <a:gd name="connsiteX10" fmla="*/ 283197 w 631106"/>
              <a:gd name="connsiteY10" fmla="*/ 14597 h 875870"/>
              <a:gd name="connsiteX11" fmla="*/ 313959 w 631106"/>
              <a:gd name="connsiteY11"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7252 w 631106"/>
              <a:gd name="connsiteY8" fmla="*/ 311986 h 875870"/>
              <a:gd name="connsiteX9" fmla="*/ 283197 w 631106"/>
              <a:gd name="connsiteY9" fmla="*/ 14597 h 875870"/>
              <a:gd name="connsiteX10" fmla="*/ 313959 w 631106"/>
              <a:gd name="connsiteY10"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7252 w 631106"/>
              <a:gd name="connsiteY7" fmla="*/ 311986 h 875870"/>
              <a:gd name="connsiteX8" fmla="*/ 283197 w 631106"/>
              <a:gd name="connsiteY8" fmla="*/ 14597 h 875870"/>
              <a:gd name="connsiteX9" fmla="*/ 313959 w 631106"/>
              <a:gd name="connsiteY9"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283197 w 631106"/>
              <a:gd name="connsiteY7" fmla="*/ 14597 h 875870"/>
              <a:gd name="connsiteX8" fmla="*/ 313959 w 631106"/>
              <a:gd name="connsiteY8" fmla="*/ 1 h 87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1106" h="875870">
                <a:moveTo>
                  <a:pt x="313959" y="1"/>
                </a:moveTo>
                <a:cubicBezTo>
                  <a:pt x="324213" y="-75"/>
                  <a:pt x="334285" y="4410"/>
                  <a:pt x="343628" y="12773"/>
                </a:cubicBezTo>
                <a:lnTo>
                  <a:pt x="620302" y="311073"/>
                </a:lnTo>
                <a:cubicBezTo>
                  <a:pt x="626126" y="315521"/>
                  <a:pt x="629448" y="319854"/>
                  <a:pt x="630620" y="323852"/>
                </a:cubicBezTo>
                <a:lnTo>
                  <a:pt x="631106" y="875870"/>
                </a:lnTo>
                <a:lnTo>
                  <a:pt x="0" y="875870"/>
                </a:lnTo>
                <a:lnTo>
                  <a:pt x="0" y="328335"/>
                </a:lnTo>
                <a:lnTo>
                  <a:pt x="283197" y="14597"/>
                </a:lnTo>
                <a:cubicBezTo>
                  <a:pt x="293269" y="4714"/>
                  <a:pt x="303705" y="77"/>
                  <a:pt x="313959" y="1"/>
                </a:cubicBezTo>
                <a:close/>
              </a:path>
            </a:pathLst>
          </a:custGeom>
          <a:solidFill>
            <a:schemeClr val="accent4">
              <a:alpha val="6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ea typeface="+mn-ea"/>
              <a:cs typeface="+mn-cs"/>
            </a:endParaRPr>
          </a:p>
        </p:txBody>
      </p:sp>
      <p:sp>
        <p:nvSpPr>
          <p:cNvPr id="92" name="Freeform: Shape 91">
            <a:extLst>
              <a:ext uri="{FF2B5EF4-FFF2-40B4-BE49-F238E27FC236}">
                <a16:creationId xmlns:a16="http://schemas.microsoft.com/office/drawing/2014/main" id="{4CAA43AD-126D-427D-9DFC-46AA209DE132}"/>
              </a:ext>
            </a:extLst>
          </p:cNvPr>
          <p:cNvSpPr/>
          <p:nvPr/>
        </p:nvSpPr>
        <p:spPr>
          <a:xfrm>
            <a:off x="5856935" y="1088035"/>
            <a:ext cx="631106" cy="875870"/>
          </a:xfrm>
          <a:custGeom>
            <a:avLst/>
            <a:gdLst>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328335 h 875870"/>
              <a:gd name="connsiteX6" fmla="*/ 631106 w 631106"/>
              <a:gd name="connsiteY6" fmla="*/ 875870 h 875870"/>
              <a:gd name="connsiteX7" fmla="*/ 0 w 631106"/>
              <a:gd name="connsiteY7" fmla="*/ 875870 h 875870"/>
              <a:gd name="connsiteX8" fmla="*/ 0 w 631106"/>
              <a:gd name="connsiteY8" fmla="*/ 328335 h 875870"/>
              <a:gd name="connsiteX9" fmla="*/ 1189 w 631106"/>
              <a:gd name="connsiteY9" fmla="*/ 328335 h 875870"/>
              <a:gd name="connsiteX10" fmla="*/ 153 w 631106"/>
              <a:gd name="connsiteY10" fmla="*/ 325085 h 875870"/>
              <a:gd name="connsiteX11" fmla="*/ 7252 w 631106"/>
              <a:gd name="connsiteY11" fmla="*/ 311986 h 875870"/>
              <a:gd name="connsiteX12" fmla="*/ 283197 w 631106"/>
              <a:gd name="connsiteY12" fmla="*/ 14597 h 875870"/>
              <a:gd name="connsiteX13" fmla="*/ 313959 w 631106"/>
              <a:gd name="connsiteY13"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875870 h 875870"/>
              <a:gd name="connsiteX6" fmla="*/ 0 w 631106"/>
              <a:gd name="connsiteY6" fmla="*/ 875870 h 875870"/>
              <a:gd name="connsiteX7" fmla="*/ 0 w 631106"/>
              <a:gd name="connsiteY7" fmla="*/ 328335 h 875870"/>
              <a:gd name="connsiteX8" fmla="*/ 1189 w 631106"/>
              <a:gd name="connsiteY8" fmla="*/ 328335 h 875870"/>
              <a:gd name="connsiteX9" fmla="*/ 153 w 631106"/>
              <a:gd name="connsiteY9" fmla="*/ 325085 h 875870"/>
              <a:gd name="connsiteX10" fmla="*/ 7252 w 631106"/>
              <a:gd name="connsiteY10" fmla="*/ 311986 h 875870"/>
              <a:gd name="connsiteX11" fmla="*/ 283197 w 631106"/>
              <a:gd name="connsiteY11" fmla="*/ 14597 h 875870"/>
              <a:gd name="connsiteX12" fmla="*/ 313959 w 631106"/>
              <a:gd name="connsiteY12"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153 w 631106"/>
              <a:gd name="connsiteY8" fmla="*/ 325085 h 875870"/>
              <a:gd name="connsiteX9" fmla="*/ 7252 w 631106"/>
              <a:gd name="connsiteY9" fmla="*/ 311986 h 875870"/>
              <a:gd name="connsiteX10" fmla="*/ 283197 w 631106"/>
              <a:gd name="connsiteY10" fmla="*/ 14597 h 875870"/>
              <a:gd name="connsiteX11" fmla="*/ 313959 w 631106"/>
              <a:gd name="connsiteY11"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7252 w 631106"/>
              <a:gd name="connsiteY8" fmla="*/ 311986 h 875870"/>
              <a:gd name="connsiteX9" fmla="*/ 283197 w 631106"/>
              <a:gd name="connsiteY9" fmla="*/ 14597 h 875870"/>
              <a:gd name="connsiteX10" fmla="*/ 313959 w 631106"/>
              <a:gd name="connsiteY10"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7252 w 631106"/>
              <a:gd name="connsiteY7" fmla="*/ 311986 h 875870"/>
              <a:gd name="connsiteX8" fmla="*/ 283197 w 631106"/>
              <a:gd name="connsiteY8" fmla="*/ 14597 h 875870"/>
              <a:gd name="connsiteX9" fmla="*/ 313959 w 631106"/>
              <a:gd name="connsiteY9"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283197 w 631106"/>
              <a:gd name="connsiteY7" fmla="*/ 14597 h 875870"/>
              <a:gd name="connsiteX8" fmla="*/ 313959 w 631106"/>
              <a:gd name="connsiteY8" fmla="*/ 1 h 87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1106" h="875870">
                <a:moveTo>
                  <a:pt x="313959" y="1"/>
                </a:moveTo>
                <a:cubicBezTo>
                  <a:pt x="324213" y="-75"/>
                  <a:pt x="334285" y="4410"/>
                  <a:pt x="343628" y="12773"/>
                </a:cubicBezTo>
                <a:lnTo>
                  <a:pt x="620302" y="311073"/>
                </a:lnTo>
                <a:cubicBezTo>
                  <a:pt x="626126" y="315521"/>
                  <a:pt x="629448" y="319854"/>
                  <a:pt x="630620" y="323852"/>
                </a:cubicBezTo>
                <a:lnTo>
                  <a:pt x="631106" y="875870"/>
                </a:lnTo>
                <a:lnTo>
                  <a:pt x="0" y="875870"/>
                </a:lnTo>
                <a:lnTo>
                  <a:pt x="0" y="328335"/>
                </a:lnTo>
                <a:lnTo>
                  <a:pt x="283197" y="14597"/>
                </a:lnTo>
                <a:cubicBezTo>
                  <a:pt x="293269" y="4714"/>
                  <a:pt x="303705" y="77"/>
                  <a:pt x="313959" y="1"/>
                </a:cubicBezTo>
                <a:close/>
              </a:path>
            </a:pathLst>
          </a:custGeom>
          <a:solidFill>
            <a:schemeClr val="accent4">
              <a:alpha val="6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ea typeface="+mn-ea"/>
              <a:cs typeface="+mn-cs"/>
            </a:endParaRPr>
          </a:p>
        </p:txBody>
      </p:sp>
      <p:sp>
        <p:nvSpPr>
          <p:cNvPr id="22" name="Oval 21">
            <a:extLst>
              <a:ext uri="{FF2B5EF4-FFF2-40B4-BE49-F238E27FC236}">
                <a16:creationId xmlns:a16="http://schemas.microsoft.com/office/drawing/2014/main" id="{1AC299FD-1AE2-4DF1-82FC-0B0E66275A19}"/>
              </a:ext>
            </a:extLst>
          </p:cNvPr>
          <p:cNvSpPr/>
          <p:nvPr/>
        </p:nvSpPr>
        <p:spPr>
          <a:xfrm>
            <a:off x="4782026" y="901179"/>
            <a:ext cx="505845" cy="505845"/>
          </a:xfrm>
          <a:prstGeom prst="ellipse">
            <a:avLst/>
          </a:prstGeom>
          <a:solidFill>
            <a:srgbClr val="FFFFFF"/>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n-lt"/>
              <a:ea typeface="ＭＳ Ｐゴシック" charset="0"/>
              <a:cs typeface="+mn-cs"/>
            </a:endParaRPr>
          </a:p>
        </p:txBody>
      </p:sp>
      <p:sp>
        <p:nvSpPr>
          <p:cNvPr id="5" name="Text Placeholder 4">
            <a:extLst>
              <a:ext uri="{FF2B5EF4-FFF2-40B4-BE49-F238E27FC236}">
                <a16:creationId xmlns:a16="http://schemas.microsoft.com/office/drawing/2014/main" id="{578BC473-4C05-4409-8686-67E9E7AEE5D5}"/>
              </a:ext>
            </a:extLst>
          </p:cNvPr>
          <p:cNvSpPr>
            <a:spLocks noGrp="1"/>
          </p:cNvSpPr>
          <p:nvPr>
            <p:ph type="body" sz="quarter" idx="11"/>
          </p:nvPr>
        </p:nvSpPr>
        <p:spPr/>
        <p:txBody>
          <a:bodyPr/>
          <a:lstStyle/>
          <a:p>
            <a:r>
              <a:rPr lang="en-US"/>
              <a:t>Protect your</a:t>
            </a:r>
            <a:br>
              <a:rPr lang="en-US"/>
            </a:br>
            <a:r>
              <a:rPr lang="en-US"/>
              <a:t>business with</a:t>
            </a:r>
            <a:br>
              <a:rPr lang="en-US"/>
            </a:br>
            <a:r>
              <a:rPr lang="en-US"/>
              <a:t>the strongest</a:t>
            </a:r>
            <a:br>
              <a:rPr lang="en-US"/>
            </a:br>
            <a:r>
              <a:rPr lang="en-US"/>
              <a:t>security team on the planet</a:t>
            </a:r>
          </a:p>
        </p:txBody>
      </p:sp>
      <p:sp>
        <p:nvSpPr>
          <p:cNvPr id="10" name="Rectangle 9">
            <a:extLst>
              <a:ext uri="{FF2B5EF4-FFF2-40B4-BE49-F238E27FC236}">
                <a16:creationId xmlns:a16="http://schemas.microsoft.com/office/drawing/2014/main" id="{03A0D002-39D3-45B9-BA79-36B2E305465A}"/>
              </a:ext>
            </a:extLst>
          </p:cNvPr>
          <p:cNvSpPr/>
          <p:nvPr/>
        </p:nvSpPr>
        <p:spPr>
          <a:xfrm>
            <a:off x="3827462" y="4246504"/>
            <a:ext cx="4784726" cy="344546"/>
          </a:xfrm>
          <a:prstGeom prst="rect">
            <a:avLst/>
          </a:prstGeom>
          <a:noFill/>
          <a:ln w="9525" cap="flat" cmpd="sng" algn="ctr">
            <a:noFill/>
            <a:prstDash val="solid"/>
          </a:ln>
          <a:effectLst/>
        </p:spPr>
        <p:txBody>
          <a:bodyPr rtlCol="0" anchor="ctr"/>
          <a:lstStyle/>
          <a:p>
            <a:pPr marL="0" marR="0" lvl="0" indent="0" algn="ctr" defTabSz="6842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rPr>
              <a:t>The Cisco Security Platform</a:t>
            </a:r>
          </a:p>
        </p:txBody>
      </p:sp>
      <p:grpSp>
        <p:nvGrpSpPr>
          <p:cNvPr id="30" name="Group 29">
            <a:extLst>
              <a:ext uri="{FF2B5EF4-FFF2-40B4-BE49-F238E27FC236}">
                <a16:creationId xmlns:a16="http://schemas.microsoft.com/office/drawing/2014/main" id="{E58699BF-CAF2-459A-BC7B-91A1B79CEBE9}"/>
              </a:ext>
            </a:extLst>
          </p:cNvPr>
          <p:cNvGrpSpPr/>
          <p:nvPr/>
        </p:nvGrpSpPr>
        <p:grpSpPr>
          <a:xfrm>
            <a:off x="4497363" y="699963"/>
            <a:ext cx="3362138" cy="3298231"/>
            <a:chOff x="4497363" y="699963"/>
            <a:chExt cx="3362138" cy="3298231"/>
          </a:xfrm>
        </p:grpSpPr>
        <p:sp>
          <p:nvSpPr>
            <p:cNvPr id="19" name="Arc 18">
              <a:extLst>
                <a:ext uri="{FF2B5EF4-FFF2-40B4-BE49-F238E27FC236}">
                  <a16:creationId xmlns:a16="http://schemas.microsoft.com/office/drawing/2014/main" id="{557AE998-B6D7-4278-9C17-48EF8E11B35F}"/>
                </a:ext>
              </a:extLst>
            </p:cNvPr>
            <p:cNvSpPr/>
            <p:nvPr/>
          </p:nvSpPr>
          <p:spPr>
            <a:xfrm rot="18933054" flipH="1" flipV="1">
              <a:off x="4511378" y="714341"/>
              <a:ext cx="3348123" cy="3283853"/>
            </a:xfrm>
            <a:prstGeom prst="arc">
              <a:avLst>
                <a:gd name="adj1" fmla="val 6944269"/>
                <a:gd name="adj2" fmla="val 14864709"/>
              </a:avLst>
            </a:prstGeom>
            <a:noFill/>
            <a:ln w="19050" cap="rnd" cmpd="sng" algn="ctr">
              <a:solidFill>
                <a:schemeClr val="bg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n-lt"/>
                <a:ea typeface="ＭＳ Ｐゴシック" charset="0"/>
                <a:cs typeface="+mn-cs"/>
              </a:endParaRPr>
            </a:p>
          </p:txBody>
        </p:sp>
        <p:sp>
          <p:nvSpPr>
            <p:cNvPr id="17" name="Arc 16">
              <a:extLst>
                <a:ext uri="{FF2B5EF4-FFF2-40B4-BE49-F238E27FC236}">
                  <a16:creationId xmlns:a16="http://schemas.microsoft.com/office/drawing/2014/main" id="{2A22478E-27CF-4164-935B-D7BCEE4EA339}"/>
                </a:ext>
              </a:extLst>
            </p:cNvPr>
            <p:cNvSpPr/>
            <p:nvPr/>
          </p:nvSpPr>
          <p:spPr>
            <a:xfrm rot="19073015">
              <a:off x="4497363" y="699963"/>
              <a:ext cx="3348123" cy="3283854"/>
            </a:xfrm>
            <a:prstGeom prst="arc">
              <a:avLst>
                <a:gd name="adj1" fmla="val 6607479"/>
                <a:gd name="adj2" fmla="val 14695467"/>
              </a:avLst>
            </a:prstGeom>
            <a:noFill/>
            <a:ln w="19050" cap="rnd" cmpd="sng" algn="ctr">
              <a:solidFill>
                <a:schemeClr val="bg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n-lt"/>
                <a:ea typeface="ＭＳ Ｐゴシック" charset="0"/>
                <a:cs typeface="+mn-cs"/>
              </a:endParaRPr>
            </a:p>
          </p:txBody>
        </p:sp>
      </p:grpSp>
      <p:sp>
        <p:nvSpPr>
          <p:cNvPr id="44" name="Rectangle 43">
            <a:extLst>
              <a:ext uri="{FF2B5EF4-FFF2-40B4-BE49-F238E27FC236}">
                <a16:creationId xmlns:a16="http://schemas.microsoft.com/office/drawing/2014/main" id="{EC6667A0-F84C-454A-9E0B-B32FC0DAFDBC}"/>
              </a:ext>
            </a:extLst>
          </p:cNvPr>
          <p:cNvSpPr/>
          <p:nvPr/>
        </p:nvSpPr>
        <p:spPr>
          <a:xfrm>
            <a:off x="7821466" y="3219075"/>
            <a:ext cx="1049186" cy="553998"/>
          </a:xfrm>
          <a:prstGeom prst="rect">
            <a:avLst/>
          </a:prstGeom>
        </p:spPr>
        <p:txBody>
          <a:bodyPr wrap="square" lIns="0" tIns="0" rIns="0" bIns="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D274D"/>
                </a:solidFill>
                <a:effectLst/>
                <a:uLnTx/>
                <a:uFillTx/>
                <a:latin typeface="+mn-lt"/>
                <a:ea typeface="ＭＳ Ｐゴシック" charset="0"/>
              </a:rPr>
              <a:t>Constant Threat Intelligence</a:t>
            </a:r>
          </a:p>
        </p:txBody>
      </p:sp>
      <p:sp>
        <p:nvSpPr>
          <p:cNvPr id="84" name="Freeform: Shape 83">
            <a:extLst>
              <a:ext uri="{FF2B5EF4-FFF2-40B4-BE49-F238E27FC236}">
                <a16:creationId xmlns:a16="http://schemas.microsoft.com/office/drawing/2014/main" id="{979ECC41-606C-4725-9507-84B47F15CD5B}"/>
              </a:ext>
            </a:extLst>
          </p:cNvPr>
          <p:cNvSpPr/>
          <p:nvPr/>
        </p:nvSpPr>
        <p:spPr>
          <a:xfrm>
            <a:off x="5855939" y="2026517"/>
            <a:ext cx="633098" cy="635644"/>
          </a:xfrm>
          <a:custGeom>
            <a:avLst/>
            <a:gdLst>
              <a:gd name="connsiteX0" fmla="*/ 0 w 633098"/>
              <a:gd name="connsiteY0" fmla="*/ 0 h 635644"/>
              <a:gd name="connsiteX1" fmla="*/ 633098 w 633098"/>
              <a:gd name="connsiteY1" fmla="*/ 0 h 635644"/>
              <a:gd name="connsiteX2" fmla="*/ 633098 w 633098"/>
              <a:gd name="connsiteY2" fmla="*/ 635644 h 635644"/>
              <a:gd name="connsiteX3" fmla="*/ 0 w 633098"/>
              <a:gd name="connsiteY3" fmla="*/ 635644 h 635644"/>
              <a:gd name="connsiteX4" fmla="*/ 0 w 633098"/>
              <a:gd name="connsiteY4" fmla="*/ 0 h 635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098" h="635644">
                <a:moveTo>
                  <a:pt x="0" y="0"/>
                </a:moveTo>
                <a:lnTo>
                  <a:pt x="633098" y="0"/>
                </a:lnTo>
                <a:lnTo>
                  <a:pt x="633098" y="635644"/>
                </a:lnTo>
                <a:lnTo>
                  <a:pt x="0" y="635644"/>
                </a:lnTo>
                <a:lnTo>
                  <a:pt x="0" y="0"/>
                </a:lnTo>
                <a:close/>
              </a:path>
            </a:pathLst>
          </a:cu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ea typeface="+mn-ea"/>
              <a:cs typeface="+mn-cs"/>
            </a:endParaRPr>
          </a:p>
        </p:txBody>
      </p:sp>
      <p:sp>
        <p:nvSpPr>
          <p:cNvPr id="65" name="Rectangle 64">
            <a:extLst>
              <a:ext uri="{FF2B5EF4-FFF2-40B4-BE49-F238E27FC236}">
                <a16:creationId xmlns:a16="http://schemas.microsoft.com/office/drawing/2014/main" id="{DDB482AD-1EB2-4354-8950-29B4C16AA05D}"/>
              </a:ext>
            </a:extLst>
          </p:cNvPr>
          <p:cNvSpPr/>
          <p:nvPr/>
        </p:nvSpPr>
        <p:spPr>
          <a:xfrm>
            <a:off x="5860704" y="1749995"/>
            <a:ext cx="623570" cy="107722"/>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CiscoSansTT" panose="020B0503020201020303" pitchFamily="34" charset="0"/>
              </a:rPr>
              <a:t>Endpoint</a:t>
            </a:r>
          </a:p>
        </p:txBody>
      </p:sp>
      <p:sp>
        <p:nvSpPr>
          <p:cNvPr id="66" name="Rectangle 65">
            <a:extLst>
              <a:ext uri="{FF2B5EF4-FFF2-40B4-BE49-F238E27FC236}">
                <a16:creationId xmlns:a16="http://schemas.microsoft.com/office/drawing/2014/main" id="{0986490D-BC15-43C7-8F96-2EB81A08F62B}"/>
              </a:ext>
            </a:extLst>
          </p:cNvPr>
          <p:cNvSpPr/>
          <p:nvPr/>
        </p:nvSpPr>
        <p:spPr>
          <a:xfrm>
            <a:off x="5938450" y="3195380"/>
            <a:ext cx="468077" cy="107722"/>
          </a:xfrm>
          <a:prstGeom prst="rect">
            <a:avLst/>
          </a:prstGeom>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CiscoSansTT" panose="020B0503020201020303" pitchFamily="34" charset="0"/>
              </a:rPr>
              <a:t>Application</a:t>
            </a:r>
          </a:p>
        </p:txBody>
      </p:sp>
      <p:sp>
        <p:nvSpPr>
          <p:cNvPr id="69" name="Rectangle 68">
            <a:extLst>
              <a:ext uri="{FF2B5EF4-FFF2-40B4-BE49-F238E27FC236}">
                <a16:creationId xmlns:a16="http://schemas.microsoft.com/office/drawing/2014/main" id="{0E672F70-BB74-4EC8-802B-7620F8979BCD}"/>
              </a:ext>
            </a:extLst>
          </p:cNvPr>
          <p:cNvSpPr/>
          <p:nvPr/>
        </p:nvSpPr>
        <p:spPr>
          <a:xfrm>
            <a:off x="5899980" y="2189236"/>
            <a:ext cx="545021" cy="323165"/>
          </a:xfrm>
          <a:prstGeom prst="rect">
            <a:avLst/>
          </a:prstGeom>
        </p:spPr>
        <p:txBody>
          <a:bodyPr wrap="none" lIns="0" tIns="0" rIns="0" bIns="0" anchor="ctr">
            <a:spAutoFit/>
          </a:bodyPr>
          <a:lstStyle/>
          <a:p>
            <a:pPr lvl="0" algn="ctr" defTabSz="914400" fontAlgn="auto">
              <a:spcBef>
                <a:spcPts val="0"/>
              </a:spcBef>
              <a:spcAft>
                <a:spcPts val="0"/>
              </a:spcAft>
              <a:defRPr/>
            </a:pPr>
            <a:r>
              <a:rPr lang="en-US" sz="700" kern="0" dirty="0">
                <a:solidFill>
                  <a:srgbClr val="FFFFFF"/>
                </a:solidFill>
                <a:latin typeface="CiscoSansTT" panose="020B0503020201020303" pitchFamily="34" charset="0"/>
              </a:rPr>
              <a:t>Response </a:t>
            </a:r>
          </a:p>
          <a:p>
            <a:pPr lvl="0" algn="ctr" defTabSz="914400" fontAlgn="auto">
              <a:spcBef>
                <a:spcPts val="0"/>
              </a:spcBef>
              <a:spcAft>
                <a:spcPts val="0"/>
              </a:spcAft>
              <a:defRPr/>
            </a:pPr>
            <a:r>
              <a:rPr lang="en-US" sz="700" kern="0" dirty="0">
                <a:solidFill>
                  <a:srgbClr val="FFFFFF"/>
                </a:solidFill>
                <a:latin typeface="CiscoSansTT" panose="020B0503020201020303" pitchFamily="34" charset="0"/>
              </a:rPr>
              <a:t>Analytics</a:t>
            </a:r>
            <a:br>
              <a:rPr kumimoji="0" lang="en-US" sz="700" b="0" i="0" u="none" strike="noStrike" kern="0" cap="none" spc="0" normalizeH="0" baseline="0" noProof="0" dirty="0">
                <a:ln>
                  <a:noFill/>
                </a:ln>
                <a:solidFill>
                  <a:srgbClr val="FFFFFF"/>
                </a:solidFill>
                <a:effectLst/>
                <a:uLnTx/>
                <a:uFillTx/>
                <a:latin typeface="CiscoSansTT" panose="020B0503020201020303" pitchFamily="34" charset="0"/>
              </a:rPr>
            </a:br>
            <a:r>
              <a:rPr kumimoji="0" lang="en-US" sz="700" b="0" i="0" u="none" strike="noStrike" kern="0" cap="none" spc="0" normalizeH="0" baseline="0" noProof="0" dirty="0">
                <a:ln>
                  <a:noFill/>
                </a:ln>
                <a:solidFill>
                  <a:srgbClr val="FFFFFF"/>
                </a:solidFill>
                <a:effectLst/>
                <a:uLnTx/>
                <a:uFillTx/>
                <a:latin typeface="CiscoSansTT" panose="020B0503020201020303" pitchFamily="34" charset="0"/>
              </a:rPr>
              <a:t>Management</a:t>
            </a:r>
          </a:p>
        </p:txBody>
      </p:sp>
      <p:grpSp>
        <p:nvGrpSpPr>
          <p:cNvPr id="71" name="Group 70">
            <a:extLst>
              <a:ext uri="{FF2B5EF4-FFF2-40B4-BE49-F238E27FC236}">
                <a16:creationId xmlns:a16="http://schemas.microsoft.com/office/drawing/2014/main" id="{60134B65-1E9D-4656-A38F-0874E6209E6B}"/>
              </a:ext>
            </a:extLst>
          </p:cNvPr>
          <p:cNvGrpSpPr/>
          <p:nvPr/>
        </p:nvGrpSpPr>
        <p:grpSpPr>
          <a:xfrm>
            <a:off x="5986436" y="2804810"/>
            <a:ext cx="372111" cy="344547"/>
            <a:chOff x="3692092" y="1799190"/>
            <a:chExt cx="1147762" cy="1062743"/>
          </a:xfrm>
        </p:grpSpPr>
        <p:sp>
          <p:nvSpPr>
            <p:cNvPr id="72" name="Freeform 5">
              <a:extLst>
                <a:ext uri="{FF2B5EF4-FFF2-40B4-BE49-F238E27FC236}">
                  <a16:creationId xmlns:a16="http://schemas.microsoft.com/office/drawing/2014/main" id="{68CFE469-15ED-4EA5-8B71-35644CE4B326}"/>
                </a:ext>
              </a:extLst>
            </p:cNvPr>
            <p:cNvSpPr>
              <a:spLocks noEditPoints="1"/>
            </p:cNvSpPr>
            <p:nvPr/>
          </p:nvSpPr>
          <p:spPr bwMode="auto">
            <a:xfrm>
              <a:off x="3692092" y="2303234"/>
              <a:ext cx="570845" cy="558699"/>
            </a:xfrm>
            <a:custGeom>
              <a:avLst/>
              <a:gdLst>
                <a:gd name="T0" fmla="*/ 117 w 137"/>
                <a:gd name="T1" fmla="*/ 134 h 134"/>
                <a:gd name="T2" fmla="*/ 21 w 137"/>
                <a:gd name="T3" fmla="*/ 134 h 134"/>
                <a:gd name="T4" fmla="*/ 0 w 137"/>
                <a:gd name="T5" fmla="*/ 113 h 134"/>
                <a:gd name="T6" fmla="*/ 0 w 137"/>
                <a:gd name="T7" fmla="*/ 21 h 134"/>
                <a:gd name="T8" fmla="*/ 21 w 137"/>
                <a:gd name="T9" fmla="*/ 0 h 134"/>
                <a:gd name="T10" fmla="*/ 117 w 137"/>
                <a:gd name="T11" fmla="*/ 0 h 134"/>
                <a:gd name="T12" fmla="*/ 137 w 137"/>
                <a:gd name="T13" fmla="*/ 21 h 134"/>
                <a:gd name="T14" fmla="*/ 137 w 137"/>
                <a:gd name="T15" fmla="*/ 113 h 134"/>
                <a:gd name="T16" fmla="*/ 117 w 137"/>
                <a:gd name="T17" fmla="*/ 134 h 134"/>
                <a:gd name="T18" fmla="*/ 21 w 137"/>
                <a:gd name="T19" fmla="*/ 4 h 134"/>
                <a:gd name="T20" fmla="*/ 4 w 137"/>
                <a:gd name="T21" fmla="*/ 21 h 134"/>
                <a:gd name="T22" fmla="*/ 4 w 137"/>
                <a:gd name="T23" fmla="*/ 113 h 134"/>
                <a:gd name="T24" fmla="*/ 21 w 137"/>
                <a:gd name="T25" fmla="*/ 130 h 134"/>
                <a:gd name="T26" fmla="*/ 117 w 137"/>
                <a:gd name="T27" fmla="*/ 130 h 134"/>
                <a:gd name="T28" fmla="*/ 133 w 137"/>
                <a:gd name="T29" fmla="*/ 113 h 134"/>
                <a:gd name="T30" fmla="*/ 133 w 137"/>
                <a:gd name="T31" fmla="*/ 21 h 134"/>
                <a:gd name="T32" fmla="*/ 117 w 137"/>
                <a:gd name="T33" fmla="*/ 4 h 134"/>
                <a:gd name="T34" fmla="*/ 21 w 137"/>
                <a:gd name="T35" fmla="*/ 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34">
                  <a:moveTo>
                    <a:pt x="117" y="134"/>
                  </a:moveTo>
                  <a:cubicBezTo>
                    <a:pt x="21" y="134"/>
                    <a:pt x="21" y="134"/>
                    <a:pt x="21" y="134"/>
                  </a:cubicBezTo>
                  <a:cubicBezTo>
                    <a:pt x="9" y="134"/>
                    <a:pt x="0" y="125"/>
                    <a:pt x="0" y="113"/>
                  </a:cubicBezTo>
                  <a:cubicBezTo>
                    <a:pt x="0" y="21"/>
                    <a:pt x="0" y="21"/>
                    <a:pt x="0" y="21"/>
                  </a:cubicBezTo>
                  <a:cubicBezTo>
                    <a:pt x="0" y="10"/>
                    <a:pt x="9" y="0"/>
                    <a:pt x="21" y="0"/>
                  </a:cubicBezTo>
                  <a:cubicBezTo>
                    <a:pt x="117" y="0"/>
                    <a:pt x="117" y="0"/>
                    <a:pt x="117" y="0"/>
                  </a:cubicBezTo>
                  <a:cubicBezTo>
                    <a:pt x="128" y="0"/>
                    <a:pt x="137" y="10"/>
                    <a:pt x="137" y="21"/>
                  </a:cubicBezTo>
                  <a:cubicBezTo>
                    <a:pt x="137" y="113"/>
                    <a:pt x="137" y="113"/>
                    <a:pt x="137" y="113"/>
                  </a:cubicBezTo>
                  <a:cubicBezTo>
                    <a:pt x="137" y="125"/>
                    <a:pt x="128" y="134"/>
                    <a:pt x="117" y="134"/>
                  </a:cubicBezTo>
                  <a:close/>
                  <a:moveTo>
                    <a:pt x="21" y="4"/>
                  </a:moveTo>
                  <a:cubicBezTo>
                    <a:pt x="12" y="4"/>
                    <a:pt x="4" y="12"/>
                    <a:pt x="4" y="21"/>
                  </a:cubicBezTo>
                  <a:cubicBezTo>
                    <a:pt x="4" y="113"/>
                    <a:pt x="4" y="113"/>
                    <a:pt x="4" y="113"/>
                  </a:cubicBezTo>
                  <a:cubicBezTo>
                    <a:pt x="4" y="123"/>
                    <a:pt x="12" y="130"/>
                    <a:pt x="21" y="130"/>
                  </a:cubicBezTo>
                  <a:cubicBezTo>
                    <a:pt x="117" y="130"/>
                    <a:pt x="117" y="130"/>
                    <a:pt x="117" y="130"/>
                  </a:cubicBezTo>
                  <a:cubicBezTo>
                    <a:pt x="126" y="130"/>
                    <a:pt x="133" y="123"/>
                    <a:pt x="133" y="113"/>
                  </a:cubicBezTo>
                  <a:cubicBezTo>
                    <a:pt x="133" y="21"/>
                    <a:pt x="133" y="21"/>
                    <a:pt x="133" y="21"/>
                  </a:cubicBezTo>
                  <a:cubicBezTo>
                    <a:pt x="133" y="12"/>
                    <a:pt x="126" y="4"/>
                    <a:pt x="117" y="4"/>
                  </a:cubicBezTo>
                  <a:lnTo>
                    <a:pt x="21" y="4"/>
                  </a:lnTo>
                  <a:close/>
                </a:path>
              </a:pathLst>
            </a:cu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73" name="Freeform 6">
              <a:extLst>
                <a:ext uri="{FF2B5EF4-FFF2-40B4-BE49-F238E27FC236}">
                  <a16:creationId xmlns:a16="http://schemas.microsoft.com/office/drawing/2014/main" id="{5829835F-C4D6-4BDC-9098-E9A0B4E34020}"/>
                </a:ext>
              </a:extLst>
            </p:cNvPr>
            <p:cNvSpPr>
              <a:spLocks noEditPoints="1"/>
            </p:cNvSpPr>
            <p:nvPr/>
          </p:nvSpPr>
          <p:spPr bwMode="auto">
            <a:xfrm>
              <a:off x="4269009" y="1799190"/>
              <a:ext cx="570845" cy="555664"/>
            </a:xfrm>
            <a:custGeom>
              <a:avLst/>
              <a:gdLst>
                <a:gd name="T0" fmla="*/ 116 w 137"/>
                <a:gd name="T1" fmla="*/ 133 h 133"/>
                <a:gd name="T2" fmla="*/ 20 w 137"/>
                <a:gd name="T3" fmla="*/ 133 h 133"/>
                <a:gd name="T4" fmla="*/ 0 w 137"/>
                <a:gd name="T5" fmla="*/ 113 h 133"/>
                <a:gd name="T6" fmla="*/ 0 w 137"/>
                <a:gd name="T7" fmla="*/ 20 h 133"/>
                <a:gd name="T8" fmla="*/ 20 w 137"/>
                <a:gd name="T9" fmla="*/ 0 h 133"/>
                <a:gd name="T10" fmla="*/ 116 w 137"/>
                <a:gd name="T11" fmla="*/ 0 h 133"/>
                <a:gd name="T12" fmla="*/ 137 w 137"/>
                <a:gd name="T13" fmla="*/ 20 h 133"/>
                <a:gd name="T14" fmla="*/ 137 w 137"/>
                <a:gd name="T15" fmla="*/ 113 h 133"/>
                <a:gd name="T16" fmla="*/ 116 w 137"/>
                <a:gd name="T17" fmla="*/ 133 h 133"/>
                <a:gd name="T18" fmla="*/ 20 w 137"/>
                <a:gd name="T19" fmla="*/ 4 h 133"/>
                <a:gd name="T20" fmla="*/ 4 w 137"/>
                <a:gd name="T21" fmla="*/ 20 h 133"/>
                <a:gd name="T22" fmla="*/ 4 w 137"/>
                <a:gd name="T23" fmla="*/ 113 h 133"/>
                <a:gd name="T24" fmla="*/ 20 w 137"/>
                <a:gd name="T25" fmla="*/ 129 h 133"/>
                <a:gd name="T26" fmla="*/ 116 w 137"/>
                <a:gd name="T27" fmla="*/ 129 h 133"/>
                <a:gd name="T28" fmla="*/ 133 w 137"/>
                <a:gd name="T29" fmla="*/ 113 h 133"/>
                <a:gd name="T30" fmla="*/ 133 w 137"/>
                <a:gd name="T31" fmla="*/ 20 h 133"/>
                <a:gd name="T32" fmla="*/ 116 w 137"/>
                <a:gd name="T33" fmla="*/ 4 h 133"/>
                <a:gd name="T34" fmla="*/ 20 w 137"/>
                <a:gd name="T35" fmla="*/ 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33">
                  <a:moveTo>
                    <a:pt x="116" y="133"/>
                  </a:moveTo>
                  <a:cubicBezTo>
                    <a:pt x="20" y="133"/>
                    <a:pt x="20" y="133"/>
                    <a:pt x="20" y="133"/>
                  </a:cubicBezTo>
                  <a:cubicBezTo>
                    <a:pt x="9" y="133"/>
                    <a:pt x="0" y="124"/>
                    <a:pt x="0" y="113"/>
                  </a:cubicBezTo>
                  <a:cubicBezTo>
                    <a:pt x="0" y="20"/>
                    <a:pt x="0" y="20"/>
                    <a:pt x="0" y="20"/>
                  </a:cubicBezTo>
                  <a:cubicBezTo>
                    <a:pt x="0" y="9"/>
                    <a:pt x="9" y="0"/>
                    <a:pt x="20" y="0"/>
                  </a:cubicBezTo>
                  <a:cubicBezTo>
                    <a:pt x="116" y="0"/>
                    <a:pt x="116" y="0"/>
                    <a:pt x="116" y="0"/>
                  </a:cubicBezTo>
                  <a:cubicBezTo>
                    <a:pt x="128" y="0"/>
                    <a:pt x="137" y="9"/>
                    <a:pt x="137" y="20"/>
                  </a:cubicBezTo>
                  <a:cubicBezTo>
                    <a:pt x="137" y="113"/>
                    <a:pt x="137" y="113"/>
                    <a:pt x="137" y="113"/>
                  </a:cubicBezTo>
                  <a:cubicBezTo>
                    <a:pt x="137" y="124"/>
                    <a:pt x="128" y="133"/>
                    <a:pt x="116" y="133"/>
                  </a:cubicBezTo>
                  <a:close/>
                  <a:moveTo>
                    <a:pt x="20" y="4"/>
                  </a:moveTo>
                  <a:cubicBezTo>
                    <a:pt x="11" y="4"/>
                    <a:pt x="4" y="11"/>
                    <a:pt x="4" y="20"/>
                  </a:cubicBezTo>
                  <a:cubicBezTo>
                    <a:pt x="4" y="113"/>
                    <a:pt x="4" y="113"/>
                    <a:pt x="4" y="113"/>
                  </a:cubicBezTo>
                  <a:cubicBezTo>
                    <a:pt x="4" y="122"/>
                    <a:pt x="11" y="129"/>
                    <a:pt x="20" y="129"/>
                  </a:cubicBezTo>
                  <a:cubicBezTo>
                    <a:pt x="116" y="129"/>
                    <a:pt x="116" y="129"/>
                    <a:pt x="116" y="129"/>
                  </a:cubicBezTo>
                  <a:cubicBezTo>
                    <a:pt x="125" y="129"/>
                    <a:pt x="133" y="122"/>
                    <a:pt x="133" y="113"/>
                  </a:cubicBezTo>
                  <a:cubicBezTo>
                    <a:pt x="133" y="20"/>
                    <a:pt x="133" y="20"/>
                    <a:pt x="133" y="20"/>
                  </a:cubicBezTo>
                  <a:cubicBezTo>
                    <a:pt x="133" y="11"/>
                    <a:pt x="125" y="4"/>
                    <a:pt x="116" y="4"/>
                  </a:cubicBezTo>
                  <a:lnTo>
                    <a:pt x="20" y="4"/>
                  </a:lnTo>
                  <a:close/>
                </a:path>
              </a:pathLst>
            </a:custGeom>
            <a:solidFill>
              <a:srgbClr val="5291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74" name="Freeform 7">
              <a:extLst>
                <a:ext uri="{FF2B5EF4-FFF2-40B4-BE49-F238E27FC236}">
                  <a16:creationId xmlns:a16="http://schemas.microsoft.com/office/drawing/2014/main" id="{757F6D0C-7AED-4E1C-8DB0-269D14BB99A2}"/>
                </a:ext>
              </a:extLst>
            </p:cNvPr>
            <p:cNvSpPr>
              <a:spLocks/>
            </p:cNvSpPr>
            <p:nvPr/>
          </p:nvSpPr>
          <p:spPr bwMode="auto">
            <a:xfrm>
              <a:off x="4156663" y="2209104"/>
              <a:ext cx="218621" cy="245950"/>
            </a:xfrm>
            <a:custGeom>
              <a:avLst/>
              <a:gdLst>
                <a:gd name="T0" fmla="*/ 52 w 52"/>
                <a:gd name="T1" fmla="*/ 21 h 59"/>
                <a:gd name="T2" fmla="*/ 52 w 52"/>
                <a:gd name="T3" fmla="*/ 59 h 59"/>
                <a:gd name="T4" fmla="*/ 20 w 52"/>
                <a:gd name="T5" fmla="*/ 59 h 59"/>
                <a:gd name="T6" fmla="*/ 0 w 52"/>
                <a:gd name="T7" fmla="*/ 38 h 59"/>
                <a:gd name="T8" fmla="*/ 0 w 52"/>
                <a:gd name="T9" fmla="*/ 0 h 59"/>
                <a:gd name="T10" fmla="*/ 31 w 52"/>
                <a:gd name="T11" fmla="*/ 0 h 59"/>
                <a:gd name="T12" fmla="*/ 52 w 52"/>
                <a:gd name="T13" fmla="*/ 21 h 59"/>
              </a:gdLst>
              <a:ahLst/>
              <a:cxnLst>
                <a:cxn ang="0">
                  <a:pos x="T0" y="T1"/>
                </a:cxn>
                <a:cxn ang="0">
                  <a:pos x="T2" y="T3"/>
                </a:cxn>
                <a:cxn ang="0">
                  <a:pos x="T4" y="T5"/>
                </a:cxn>
                <a:cxn ang="0">
                  <a:pos x="T6" y="T7"/>
                </a:cxn>
                <a:cxn ang="0">
                  <a:pos x="T8" y="T9"/>
                </a:cxn>
                <a:cxn ang="0">
                  <a:pos x="T10" y="T11"/>
                </a:cxn>
                <a:cxn ang="0">
                  <a:pos x="T12" y="T13"/>
                </a:cxn>
              </a:cxnLst>
              <a:rect l="0" t="0" r="r" b="b"/>
              <a:pathLst>
                <a:path w="52" h="59">
                  <a:moveTo>
                    <a:pt x="52" y="21"/>
                  </a:moveTo>
                  <a:cubicBezTo>
                    <a:pt x="52" y="59"/>
                    <a:pt x="52" y="59"/>
                    <a:pt x="52" y="59"/>
                  </a:cubicBezTo>
                  <a:cubicBezTo>
                    <a:pt x="20" y="59"/>
                    <a:pt x="20" y="59"/>
                    <a:pt x="20" y="59"/>
                  </a:cubicBezTo>
                  <a:cubicBezTo>
                    <a:pt x="9" y="59"/>
                    <a:pt x="0" y="50"/>
                    <a:pt x="0" y="38"/>
                  </a:cubicBezTo>
                  <a:cubicBezTo>
                    <a:pt x="0" y="0"/>
                    <a:pt x="0" y="0"/>
                    <a:pt x="0" y="0"/>
                  </a:cubicBezTo>
                  <a:cubicBezTo>
                    <a:pt x="31" y="0"/>
                    <a:pt x="31" y="0"/>
                    <a:pt x="31" y="0"/>
                  </a:cubicBezTo>
                  <a:cubicBezTo>
                    <a:pt x="43" y="0"/>
                    <a:pt x="52" y="9"/>
                    <a:pt x="52" y="21"/>
                  </a:cubicBezTo>
                  <a:close/>
                </a:path>
              </a:pathLst>
            </a:custGeom>
            <a:solidFill>
              <a:srgbClr val="02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75" name="Freeform 8">
              <a:extLst>
                <a:ext uri="{FF2B5EF4-FFF2-40B4-BE49-F238E27FC236}">
                  <a16:creationId xmlns:a16="http://schemas.microsoft.com/office/drawing/2014/main" id="{17B2DDBE-311B-41EF-8129-FAF25325E90D}"/>
                </a:ext>
              </a:extLst>
            </p:cNvPr>
            <p:cNvSpPr>
              <a:spLocks/>
            </p:cNvSpPr>
            <p:nvPr/>
          </p:nvSpPr>
          <p:spPr bwMode="auto">
            <a:xfrm>
              <a:off x="3761930" y="2209104"/>
              <a:ext cx="613354" cy="595136"/>
            </a:xfrm>
            <a:custGeom>
              <a:avLst/>
              <a:gdLst>
                <a:gd name="T0" fmla="*/ 68 w 147"/>
                <a:gd name="T1" fmla="*/ 101 h 143"/>
                <a:gd name="T2" fmla="*/ 147 w 147"/>
                <a:gd name="T3" fmla="*/ 101 h 143"/>
                <a:gd name="T4" fmla="*/ 147 w 147"/>
                <a:gd name="T5" fmla="*/ 123 h 143"/>
                <a:gd name="T6" fmla="*/ 126 w 147"/>
                <a:gd name="T7" fmla="*/ 143 h 143"/>
                <a:gd name="T8" fmla="*/ 20 w 147"/>
                <a:gd name="T9" fmla="*/ 143 h 143"/>
                <a:gd name="T10" fmla="*/ 0 w 147"/>
                <a:gd name="T11" fmla="*/ 123 h 143"/>
                <a:gd name="T12" fmla="*/ 0 w 147"/>
                <a:gd name="T13" fmla="*/ 21 h 143"/>
                <a:gd name="T14" fmla="*/ 20 w 147"/>
                <a:gd name="T15" fmla="*/ 0 h 143"/>
                <a:gd name="T16" fmla="*/ 47 w 147"/>
                <a:gd name="T17" fmla="*/ 0 h 143"/>
                <a:gd name="T18" fmla="*/ 47 w 147"/>
                <a:gd name="T19" fmla="*/ 80 h 143"/>
                <a:gd name="T20" fmla="*/ 68 w 147"/>
                <a:gd name="T21" fmla="*/ 10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43">
                  <a:moveTo>
                    <a:pt x="68" y="101"/>
                  </a:moveTo>
                  <a:cubicBezTo>
                    <a:pt x="147" y="101"/>
                    <a:pt x="147" y="101"/>
                    <a:pt x="147" y="101"/>
                  </a:cubicBezTo>
                  <a:cubicBezTo>
                    <a:pt x="147" y="123"/>
                    <a:pt x="147" y="123"/>
                    <a:pt x="147" y="123"/>
                  </a:cubicBezTo>
                  <a:cubicBezTo>
                    <a:pt x="147" y="134"/>
                    <a:pt x="138" y="143"/>
                    <a:pt x="126" y="143"/>
                  </a:cubicBezTo>
                  <a:cubicBezTo>
                    <a:pt x="20" y="143"/>
                    <a:pt x="20" y="143"/>
                    <a:pt x="20" y="143"/>
                  </a:cubicBezTo>
                  <a:cubicBezTo>
                    <a:pt x="9" y="143"/>
                    <a:pt x="0" y="134"/>
                    <a:pt x="0" y="123"/>
                  </a:cubicBezTo>
                  <a:cubicBezTo>
                    <a:pt x="0" y="21"/>
                    <a:pt x="0" y="21"/>
                    <a:pt x="0" y="21"/>
                  </a:cubicBezTo>
                  <a:cubicBezTo>
                    <a:pt x="0" y="9"/>
                    <a:pt x="9" y="0"/>
                    <a:pt x="20" y="0"/>
                  </a:cubicBezTo>
                  <a:cubicBezTo>
                    <a:pt x="47" y="0"/>
                    <a:pt x="47" y="0"/>
                    <a:pt x="47" y="0"/>
                  </a:cubicBezTo>
                  <a:cubicBezTo>
                    <a:pt x="47" y="80"/>
                    <a:pt x="47" y="80"/>
                    <a:pt x="47" y="80"/>
                  </a:cubicBezTo>
                  <a:cubicBezTo>
                    <a:pt x="47" y="92"/>
                    <a:pt x="57" y="101"/>
                    <a:pt x="68" y="101"/>
                  </a:cubicBezTo>
                  <a:close/>
                </a:path>
              </a:pathLst>
            </a:custGeom>
            <a:solidFill>
              <a:srgbClr val="02BCEB"/>
            </a:solidFill>
            <a:ln w="635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76" name="Freeform: Shape 75">
              <a:extLst>
                <a:ext uri="{FF2B5EF4-FFF2-40B4-BE49-F238E27FC236}">
                  <a16:creationId xmlns:a16="http://schemas.microsoft.com/office/drawing/2014/main" id="{E57DF1A5-B077-4EA3-B5CB-D41025162DDA}"/>
                </a:ext>
              </a:extLst>
            </p:cNvPr>
            <p:cNvSpPr>
              <a:spLocks/>
            </p:cNvSpPr>
            <p:nvPr/>
          </p:nvSpPr>
          <p:spPr bwMode="auto">
            <a:xfrm>
              <a:off x="3959296" y="2032993"/>
              <a:ext cx="610319" cy="595137"/>
            </a:xfrm>
            <a:custGeom>
              <a:avLst/>
              <a:gdLst>
                <a:gd name="connsiteX0" fmla="*/ 86348 w 610319"/>
                <a:gd name="connsiteY0" fmla="*/ 0 h 595137"/>
                <a:gd name="connsiteX1" fmla="*/ 197367 w 610319"/>
                <a:gd name="connsiteY1" fmla="*/ 0 h 595137"/>
                <a:gd name="connsiteX2" fmla="*/ 197367 w 610319"/>
                <a:gd name="connsiteY2" fmla="*/ 173360 h 595137"/>
                <a:gd name="connsiteX3" fmla="*/ 197367 w 610319"/>
                <a:gd name="connsiteY3" fmla="*/ 176111 h 595137"/>
                <a:gd name="connsiteX4" fmla="*/ 199675 w 610319"/>
                <a:gd name="connsiteY4" fmla="*/ 176111 h 595137"/>
                <a:gd name="connsiteX5" fmla="*/ 199675 w 610319"/>
                <a:gd name="connsiteY5" fmla="*/ 333763 h 595137"/>
                <a:gd name="connsiteX6" fmla="*/ 282872 w 610319"/>
                <a:gd name="connsiteY6" fmla="*/ 420887 h 595137"/>
                <a:gd name="connsiteX7" fmla="*/ 415989 w 610319"/>
                <a:gd name="connsiteY7" fmla="*/ 420887 h 595137"/>
                <a:gd name="connsiteX8" fmla="*/ 415989 w 610319"/>
                <a:gd name="connsiteY8" fmla="*/ 422061 h 595137"/>
                <a:gd name="connsiteX9" fmla="*/ 610319 w 610319"/>
                <a:gd name="connsiteY9" fmla="*/ 422061 h 595137"/>
                <a:gd name="connsiteX10" fmla="*/ 610319 w 610319"/>
                <a:gd name="connsiteY10" fmla="*/ 508599 h 595137"/>
                <a:gd name="connsiteX11" fmla="*/ 527626 w 610319"/>
                <a:gd name="connsiteY11" fmla="*/ 595137 h 595137"/>
                <a:gd name="connsiteX12" fmla="*/ 415989 w 610319"/>
                <a:gd name="connsiteY12" fmla="*/ 595137 h 595137"/>
                <a:gd name="connsiteX13" fmla="*/ 415989 w 610319"/>
                <a:gd name="connsiteY13" fmla="*/ 595135 h 595137"/>
                <a:gd name="connsiteX14" fmla="*/ 87358 w 610319"/>
                <a:gd name="connsiteY14" fmla="*/ 595135 h 595137"/>
                <a:gd name="connsiteX15" fmla="*/ 0 w 610319"/>
                <a:gd name="connsiteY15" fmla="*/ 508011 h 595137"/>
                <a:gd name="connsiteX16" fmla="*/ 0 w 610319"/>
                <a:gd name="connsiteY16" fmla="*/ 176759 h 595137"/>
                <a:gd name="connsiteX17" fmla="*/ 0 w 610319"/>
                <a:gd name="connsiteY17" fmla="*/ 176112 h 595137"/>
                <a:gd name="connsiteX18" fmla="*/ 0 w 610319"/>
                <a:gd name="connsiteY18" fmla="*/ 176111 h 595137"/>
                <a:gd name="connsiteX19" fmla="*/ 0 w 610319"/>
                <a:gd name="connsiteY19" fmla="*/ 145662 h 595137"/>
                <a:gd name="connsiteX20" fmla="*/ 0 w 610319"/>
                <a:gd name="connsiteY20" fmla="*/ 83863 h 595137"/>
                <a:gd name="connsiteX21" fmla="*/ 86348 w 610319"/>
                <a:gd name="connsiteY21" fmla="*/ 0 h 59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0319" h="595137">
                  <a:moveTo>
                    <a:pt x="86348" y="0"/>
                  </a:moveTo>
                  <a:cubicBezTo>
                    <a:pt x="197367" y="0"/>
                    <a:pt x="197367" y="0"/>
                    <a:pt x="197367" y="0"/>
                  </a:cubicBezTo>
                  <a:cubicBezTo>
                    <a:pt x="197367" y="132084"/>
                    <a:pt x="197367" y="165105"/>
                    <a:pt x="197367" y="173360"/>
                  </a:cubicBezTo>
                  <a:lnTo>
                    <a:pt x="197367" y="176111"/>
                  </a:lnTo>
                  <a:lnTo>
                    <a:pt x="199675" y="176111"/>
                  </a:lnTo>
                  <a:cubicBezTo>
                    <a:pt x="199675" y="333763"/>
                    <a:pt x="199675" y="333763"/>
                    <a:pt x="199675" y="333763"/>
                  </a:cubicBezTo>
                  <a:cubicBezTo>
                    <a:pt x="199675" y="383548"/>
                    <a:pt x="237113" y="420887"/>
                    <a:pt x="282872" y="420887"/>
                  </a:cubicBezTo>
                  <a:lnTo>
                    <a:pt x="415989" y="420887"/>
                  </a:lnTo>
                  <a:lnTo>
                    <a:pt x="415989" y="422061"/>
                  </a:lnTo>
                  <a:lnTo>
                    <a:pt x="610319" y="422061"/>
                  </a:lnTo>
                  <a:cubicBezTo>
                    <a:pt x="610319" y="508599"/>
                    <a:pt x="610319" y="508599"/>
                    <a:pt x="610319" y="508599"/>
                  </a:cubicBezTo>
                  <a:cubicBezTo>
                    <a:pt x="610319" y="558049"/>
                    <a:pt x="573107" y="595137"/>
                    <a:pt x="527626" y="595137"/>
                  </a:cubicBezTo>
                  <a:cubicBezTo>
                    <a:pt x="415989" y="595137"/>
                    <a:pt x="415989" y="595137"/>
                    <a:pt x="415989" y="595137"/>
                  </a:cubicBezTo>
                  <a:lnTo>
                    <a:pt x="415989" y="595135"/>
                  </a:lnTo>
                  <a:cubicBezTo>
                    <a:pt x="87358" y="595135"/>
                    <a:pt x="87358" y="595135"/>
                    <a:pt x="87358" y="595135"/>
                  </a:cubicBezTo>
                  <a:cubicBezTo>
                    <a:pt x="41599" y="595135"/>
                    <a:pt x="0" y="557796"/>
                    <a:pt x="0" y="508011"/>
                  </a:cubicBezTo>
                  <a:cubicBezTo>
                    <a:pt x="0" y="217598"/>
                    <a:pt x="0" y="181297"/>
                    <a:pt x="0" y="176759"/>
                  </a:cubicBezTo>
                  <a:lnTo>
                    <a:pt x="0" y="176112"/>
                  </a:lnTo>
                  <a:lnTo>
                    <a:pt x="0" y="176111"/>
                  </a:lnTo>
                  <a:lnTo>
                    <a:pt x="0" y="145662"/>
                  </a:lnTo>
                  <a:cubicBezTo>
                    <a:pt x="0" y="83863"/>
                    <a:pt x="0" y="83863"/>
                    <a:pt x="0" y="83863"/>
                  </a:cubicBezTo>
                  <a:cubicBezTo>
                    <a:pt x="0" y="37738"/>
                    <a:pt x="41118" y="0"/>
                    <a:pt x="86348" y="0"/>
                  </a:cubicBezTo>
                  <a:close/>
                </a:path>
              </a:pathLst>
            </a:custGeom>
            <a:solidFill>
              <a:schemeClr val="bg2"/>
            </a:solidFill>
            <a:ln w="6350">
              <a:solidFill>
                <a:schemeClr val="bg1"/>
              </a:solidFill>
              <a:round/>
              <a:headEnd/>
              <a:tailEnd/>
            </a:ln>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77" name="Freeform 13">
              <a:extLst>
                <a:ext uri="{FF2B5EF4-FFF2-40B4-BE49-F238E27FC236}">
                  <a16:creationId xmlns:a16="http://schemas.microsoft.com/office/drawing/2014/main" id="{0B0E9487-4CE9-4C01-B826-B64673F49A5B}"/>
                </a:ext>
              </a:extLst>
            </p:cNvPr>
            <p:cNvSpPr>
              <a:spLocks/>
            </p:cNvSpPr>
            <p:nvPr/>
          </p:nvSpPr>
          <p:spPr bwMode="auto">
            <a:xfrm>
              <a:off x="4156663" y="1859919"/>
              <a:ext cx="613354" cy="595136"/>
            </a:xfrm>
            <a:custGeom>
              <a:avLst/>
              <a:gdLst>
                <a:gd name="T0" fmla="*/ 147 w 147"/>
                <a:gd name="T1" fmla="*/ 20 h 143"/>
                <a:gd name="T2" fmla="*/ 147 w 147"/>
                <a:gd name="T3" fmla="*/ 122 h 143"/>
                <a:gd name="T4" fmla="*/ 127 w 147"/>
                <a:gd name="T5" fmla="*/ 143 h 143"/>
                <a:gd name="T6" fmla="*/ 99 w 147"/>
                <a:gd name="T7" fmla="*/ 143 h 143"/>
                <a:gd name="T8" fmla="*/ 99 w 147"/>
                <a:gd name="T9" fmla="*/ 62 h 143"/>
                <a:gd name="T10" fmla="*/ 79 w 147"/>
                <a:gd name="T11" fmla="*/ 42 h 143"/>
                <a:gd name="T12" fmla="*/ 0 w 147"/>
                <a:gd name="T13" fmla="*/ 42 h 143"/>
                <a:gd name="T14" fmla="*/ 0 w 147"/>
                <a:gd name="T15" fmla="*/ 20 h 143"/>
                <a:gd name="T16" fmla="*/ 20 w 147"/>
                <a:gd name="T17" fmla="*/ 0 h 143"/>
                <a:gd name="T18" fmla="*/ 127 w 147"/>
                <a:gd name="T19" fmla="*/ 0 h 143"/>
                <a:gd name="T20" fmla="*/ 147 w 147"/>
                <a:gd name="T21" fmla="*/ 2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 h="143">
                  <a:moveTo>
                    <a:pt x="147" y="20"/>
                  </a:moveTo>
                  <a:cubicBezTo>
                    <a:pt x="147" y="122"/>
                    <a:pt x="147" y="122"/>
                    <a:pt x="147" y="122"/>
                  </a:cubicBezTo>
                  <a:cubicBezTo>
                    <a:pt x="147" y="134"/>
                    <a:pt x="138" y="143"/>
                    <a:pt x="127" y="143"/>
                  </a:cubicBezTo>
                  <a:cubicBezTo>
                    <a:pt x="99" y="143"/>
                    <a:pt x="99" y="143"/>
                    <a:pt x="99" y="143"/>
                  </a:cubicBezTo>
                  <a:cubicBezTo>
                    <a:pt x="99" y="62"/>
                    <a:pt x="99" y="62"/>
                    <a:pt x="99" y="62"/>
                  </a:cubicBezTo>
                  <a:cubicBezTo>
                    <a:pt x="99" y="51"/>
                    <a:pt x="90" y="42"/>
                    <a:pt x="79" y="42"/>
                  </a:cubicBezTo>
                  <a:cubicBezTo>
                    <a:pt x="0" y="42"/>
                    <a:pt x="0" y="42"/>
                    <a:pt x="0" y="42"/>
                  </a:cubicBezTo>
                  <a:cubicBezTo>
                    <a:pt x="0" y="20"/>
                    <a:pt x="0" y="20"/>
                    <a:pt x="0" y="20"/>
                  </a:cubicBezTo>
                  <a:cubicBezTo>
                    <a:pt x="0" y="9"/>
                    <a:pt x="9" y="0"/>
                    <a:pt x="20" y="0"/>
                  </a:cubicBezTo>
                  <a:cubicBezTo>
                    <a:pt x="127" y="0"/>
                    <a:pt x="127" y="0"/>
                    <a:pt x="127" y="0"/>
                  </a:cubicBezTo>
                  <a:cubicBezTo>
                    <a:pt x="138" y="0"/>
                    <a:pt x="147" y="9"/>
                    <a:pt x="147" y="20"/>
                  </a:cubicBezTo>
                  <a:close/>
                </a:path>
              </a:pathLst>
            </a:custGeom>
            <a:solidFill>
              <a:srgbClr val="70BF49"/>
            </a:solidFill>
            <a:ln w="6350">
              <a:solidFill>
                <a:schemeClr val="accent2"/>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78" name="Freeform 12">
              <a:extLst>
                <a:ext uri="{FF2B5EF4-FFF2-40B4-BE49-F238E27FC236}">
                  <a16:creationId xmlns:a16="http://schemas.microsoft.com/office/drawing/2014/main" id="{72CA29DA-4AF7-4783-B768-D95A5E35E082}"/>
                </a:ext>
              </a:extLst>
            </p:cNvPr>
            <p:cNvSpPr>
              <a:spLocks/>
            </p:cNvSpPr>
            <p:nvPr/>
          </p:nvSpPr>
          <p:spPr bwMode="auto">
            <a:xfrm>
              <a:off x="4156663" y="2032993"/>
              <a:ext cx="412951" cy="422062"/>
            </a:xfrm>
            <a:custGeom>
              <a:avLst/>
              <a:gdLst>
                <a:gd name="T0" fmla="*/ 99 w 99"/>
                <a:gd name="T1" fmla="*/ 20 h 101"/>
                <a:gd name="T2" fmla="*/ 99 w 99"/>
                <a:gd name="T3" fmla="*/ 101 h 101"/>
                <a:gd name="T4" fmla="*/ 20 w 99"/>
                <a:gd name="T5" fmla="*/ 101 h 101"/>
                <a:gd name="T6" fmla="*/ 0 w 99"/>
                <a:gd name="T7" fmla="*/ 80 h 101"/>
                <a:gd name="T8" fmla="*/ 0 w 99"/>
                <a:gd name="T9" fmla="*/ 0 h 101"/>
                <a:gd name="T10" fmla="*/ 79 w 99"/>
                <a:gd name="T11" fmla="*/ 0 h 101"/>
                <a:gd name="T12" fmla="*/ 99 w 99"/>
                <a:gd name="T13" fmla="*/ 20 h 101"/>
              </a:gdLst>
              <a:ahLst/>
              <a:cxnLst>
                <a:cxn ang="0">
                  <a:pos x="T0" y="T1"/>
                </a:cxn>
                <a:cxn ang="0">
                  <a:pos x="T2" y="T3"/>
                </a:cxn>
                <a:cxn ang="0">
                  <a:pos x="T4" y="T5"/>
                </a:cxn>
                <a:cxn ang="0">
                  <a:pos x="T6" y="T7"/>
                </a:cxn>
                <a:cxn ang="0">
                  <a:pos x="T8" y="T9"/>
                </a:cxn>
                <a:cxn ang="0">
                  <a:pos x="T10" y="T11"/>
                </a:cxn>
                <a:cxn ang="0">
                  <a:pos x="T12" y="T13"/>
                </a:cxn>
              </a:cxnLst>
              <a:rect l="0" t="0" r="r" b="b"/>
              <a:pathLst>
                <a:path w="99" h="101">
                  <a:moveTo>
                    <a:pt x="99" y="20"/>
                  </a:moveTo>
                  <a:cubicBezTo>
                    <a:pt x="99" y="101"/>
                    <a:pt x="99" y="101"/>
                    <a:pt x="99" y="101"/>
                  </a:cubicBezTo>
                  <a:cubicBezTo>
                    <a:pt x="20" y="101"/>
                    <a:pt x="20" y="101"/>
                    <a:pt x="20" y="101"/>
                  </a:cubicBezTo>
                  <a:cubicBezTo>
                    <a:pt x="9" y="101"/>
                    <a:pt x="0" y="92"/>
                    <a:pt x="0" y="80"/>
                  </a:cubicBezTo>
                  <a:cubicBezTo>
                    <a:pt x="0" y="0"/>
                    <a:pt x="0" y="0"/>
                    <a:pt x="0" y="0"/>
                  </a:cubicBezTo>
                  <a:cubicBezTo>
                    <a:pt x="79" y="0"/>
                    <a:pt x="79" y="0"/>
                    <a:pt x="79" y="0"/>
                  </a:cubicBezTo>
                  <a:cubicBezTo>
                    <a:pt x="90" y="0"/>
                    <a:pt x="99" y="9"/>
                    <a:pt x="99" y="20"/>
                  </a:cubicBezTo>
                  <a:close/>
                </a:path>
              </a:pathLst>
            </a:custGeom>
            <a:solidFill>
              <a:srgbClr val="529141"/>
            </a:solidFill>
            <a:ln w="6350">
              <a:solidFill>
                <a:srgbClr val="529141"/>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grpSp>
      <p:pic>
        <p:nvPicPr>
          <p:cNvPr id="112" name="Graphic 111">
            <a:extLst>
              <a:ext uri="{FF2B5EF4-FFF2-40B4-BE49-F238E27FC236}">
                <a16:creationId xmlns:a16="http://schemas.microsoft.com/office/drawing/2014/main" id="{D5CEA685-5AE7-48EB-86FF-15173770060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38450" y="1268322"/>
            <a:ext cx="489203" cy="489203"/>
          </a:xfrm>
          <a:prstGeom prst="rect">
            <a:avLst/>
          </a:prstGeom>
        </p:spPr>
      </p:pic>
      <p:sp>
        <p:nvSpPr>
          <p:cNvPr id="139" name="Rectangle 138">
            <a:extLst>
              <a:ext uri="{FF2B5EF4-FFF2-40B4-BE49-F238E27FC236}">
                <a16:creationId xmlns:a16="http://schemas.microsoft.com/office/drawing/2014/main" id="{75FDC3CD-6FF8-4439-B873-C343B4A8A1C5}"/>
              </a:ext>
            </a:extLst>
          </p:cNvPr>
          <p:cNvSpPr/>
          <p:nvPr/>
        </p:nvSpPr>
        <p:spPr>
          <a:xfrm>
            <a:off x="5865462" y="743303"/>
            <a:ext cx="614052" cy="184666"/>
          </a:xfrm>
          <a:prstGeom prst="rect">
            <a:avLst/>
          </a:prstGeom>
        </p:spPr>
        <p:txBody>
          <a:bodyPr wrap="square" lIns="0" tIns="0" rIns="0" bIns="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mn-lt"/>
                <a:ea typeface="ＭＳ Ｐゴシック" charset="0"/>
              </a:rPr>
              <a:t>Identity</a:t>
            </a:r>
          </a:p>
        </p:txBody>
      </p:sp>
      <p:sp>
        <p:nvSpPr>
          <p:cNvPr id="140" name="Rectangle 139">
            <a:extLst>
              <a:ext uri="{FF2B5EF4-FFF2-40B4-BE49-F238E27FC236}">
                <a16:creationId xmlns:a16="http://schemas.microsoft.com/office/drawing/2014/main" id="{D847A42C-BC60-4F43-922D-A171F860831C}"/>
              </a:ext>
            </a:extLst>
          </p:cNvPr>
          <p:cNvSpPr/>
          <p:nvPr/>
        </p:nvSpPr>
        <p:spPr>
          <a:xfrm>
            <a:off x="5865462" y="3705131"/>
            <a:ext cx="614052" cy="184666"/>
          </a:xfrm>
          <a:prstGeom prst="rect">
            <a:avLst/>
          </a:prstGeom>
        </p:spPr>
        <p:txBody>
          <a:bodyPr wrap="square" lIns="0" tIns="0" rIns="0" bIns="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mn-lt"/>
                <a:ea typeface="ＭＳ Ｐゴシック" charset="0"/>
              </a:rPr>
              <a:t>Risk</a:t>
            </a:r>
          </a:p>
        </p:txBody>
      </p:sp>
      <p:sp>
        <p:nvSpPr>
          <p:cNvPr id="94" name="Isosceles Triangle 49">
            <a:extLst>
              <a:ext uri="{FF2B5EF4-FFF2-40B4-BE49-F238E27FC236}">
                <a16:creationId xmlns:a16="http://schemas.microsoft.com/office/drawing/2014/main" id="{AE7FB13D-DD75-43FD-AFF6-0F3CCA45225C}"/>
              </a:ext>
            </a:extLst>
          </p:cNvPr>
          <p:cNvSpPr/>
          <p:nvPr/>
        </p:nvSpPr>
        <p:spPr>
          <a:xfrm rot="14969654">
            <a:off x="5494023" y="702924"/>
            <a:ext cx="273980" cy="21750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tx1"/>
          </a:solidFill>
          <a:ln w="19050" cap="rnd" cmpd="sng" algn="ctr">
            <a:solidFill>
              <a:schemeClr val="bg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n-lt"/>
              <a:ea typeface="ＭＳ Ｐゴシック" charset="0"/>
            </a:endParaRPr>
          </a:p>
        </p:txBody>
      </p:sp>
      <p:sp>
        <p:nvSpPr>
          <p:cNvPr id="95" name="Isosceles Triangle 49">
            <a:extLst>
              <a:ext uri="{FF2B5EF4-FFF2-40B4-BE49-F238E27FC236}">
                <a16:creationId xmlns:a16="http://schemas.microsoft.com/office/drawing/2014/main" id="{A366DA91-C5E7-4474-B3DB-FE54C3F30686}"/>
              </a:ext>
            </a:extLst>
          </p:cNvPr>
          <p:cNvSpPr/>
          <p:nvPr/>
        </p:nvSpPr>
        <p:spPr>
          <a:xfrm rot="3600000">
            <a:off x="6651568" y="3735678"/>
            <a:ext cx="273980" cy="21750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tx1"/>
          </a:solidFill>
          <a:ln w="19050" cap="rnd" cmpd="sng" algn="ctr">
            <a:solidFill>
              <a:schemeClr val="bg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n-lt"/>
              <a:ea typeface="ＭＳ Ｐゴシック" charset="0"/>
            </a:endParaRPr>
          </a:p>
        </p:txBody>
      </p:sp>
      <p:sp>
        <p:nvSpPr>
          <p:cNvPr id="68" name="Rectangle 67">
            <a:extLst>
              <a:ext uri="{FF2B5EF4-FFF2-40B4-BE49-F238E27FC236}">
                <a16:creationId xmlns:a16="http://schemas.microsoft.com/office/drawing/2014/main" id="{8EA9148F-FACC-428D-8F03-539250351AE3}"/>
              </a:ext>
            </a:extLst>
          </p:cNvPr>
          <p:cNvSpPr/>
          <p:nvPr/>
        </p:nvSpPr>
        <p:spPr>
          <a:xfrm>
            <a:off x="6746733" y="2451981"/>
            <a:ext cx="309864" cy="107722"/>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CiscoSansTT" panose="020B0503020201020303" pitchFamily="34" charset="0"/>
              </a:rPr>
              <a:t>Cloud</a:t>
            </a:r>
          </a:p>
        </p:txBody>
      </p:sp>
      <p:sp>
        <p:nvSpPr>
          <p:cNvPr id="106" name="Freeform: Shape 105">
            <a:extLst>
              <a:ext uri="{FF2B5EF4-FFF2-40B4-BE49-F238E27FC236}">
                <a16:creationId xmlns:a16="http://schemas.microsoft.com/office/drawing/2014/main" id="{E1BA37AA-2E61-4C47-8E9D-6BC852E8A4D0}"/>
              </a:ext>
            </a:extLst>
          </p:cNvPr>
          <p:cNvSpPr/>
          <p:nvPr/>
        </p:nvSpPr>
        <p:spPr>
          <a:xfrm rot="16200000" flipH="1">
            <a:off x="5037919" y="1906404"/>
            <a:ext cx="631106" cy="875870"/>
          </a:xfrm>
          <a:custGeom>
            <a:avLst/>
            <a:gdLst>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328335 h 875870"/>
              <a:gd name="connsiteX6" fmla="*/ 631106 w 631106"/>
              <a:gd name="connsiteY6" fmla="*/ 875870 h 875870"/>
              <a:gd name="connsiteX7" fmla="*/ 0 w 631106"/>
              <a:gd name="connsiteY7" fmla="*/ 875870 h 875870"/>
              <a:gd name="connsiteX8" fmla="*/ 0 w 631106"/>
              <a:gd name="connsiteY8" fmla="*/ 328335 h 875870"/>
              <a:gd name="connsiteX9" fmla="*/ 1189 w 631106"/>
              <a:gd name="connsiteY9" fmla="*/ 328335 h 875870"/>
              <a:gd name="connsiteX10" fmla="*/ 153 w 631106"/>
              <a:gd name="connsiteY10" fmla="*/ 325085 h 875870"/>
              <a:gd name="connsiteX11" fmla="*/ 7252 w 631106"/>
              <a:gd name="connsiteY11" fmla="*/ 311986 h 875870"/>
              <a:gd name="connsiteX12" fmla="*/ 283197 w 631106"/>
              <a:gd name="connsiteY12" fmla="*/ 14597 h 875870"/>
              <a:gd name="connsiteX13" fmla="*/ 313959 w 631106"/>
              <a:gd name="connsiteY13"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29545 w 631106"/>
              <a:gd name="connsiteY4" fmla="*/ 328335 h 875870"/>
              <a:gd name="connsiteX5" fmla="*/ 631106 w 631106"/>
              <a:gd name="connsiteY5" fmla="*/ 875870 h 875870"/>
              <a:gd name="connsiteX6" fmla="*/ 0 w 631106"/>
              <a:gd name="connsiteY6" fmla="*/ 875870 h 875870"/>
              <a:gd name="connsiteX7" fmla="*/ 0 w 631106"/>
              <a:gd name="connsiteY7" fmla="*/ 328335 h 875870"/>
              <a:gd name="connsiteX8" fmla="*/ 1189 w 631106"/>
              <a:gd name="connsiteY8" fmla="*/ 328335 h 875870"/>
              <a:gd name="connsiteX9" fmla="*/ 153 w 631106"/>
              <a:gd name="connsiteY9" fmla="*/ 325085 h 875870"/>
              <a:gd name="connsiteX10" fmla="*/ 7252 w 631106"/>
              <a:gd name="connsiteY10" fmla="*/ 311986 h 875870"/>
              <a:gd name="connsiteX11" fmla="*/ 283197 w 631106"/>
              <a:gd name="connsiteY11" fmla="*/ 14597 h 875870"/>
              <a:gd name="connsiteX12" fmla="*/ 313959 w 631106"/>
              <a:gd name="connsiteY12"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153 w 631106"/>
              <a:gd name="connsiteY8" fmla="*/ 325085 h 875870"/>
              <a:gd name="connsiteX9" fmla="*/ 7252 w 631106"/>
              <a:gd name="connsiteY9" fmla="*/ 311986 h 875870"/>
              <a:gd name="connsiteX10" fmla="*/ 283197 w 631106"/>
              <a:gd name="connsiteY10" fmla="*/ 14597 h 875870"/>
              <a:gd name="connsiteX11" fmla="*/ 313959 w 631106"/>
              <a:gd name="connsiteY11"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1189 w 631106"/>
              <a:gd name="connsiteY7" fmla="*/ 328335 h 875870"/>
              <a:gd name="connsiteX8" fmla="*/ 7252 w 631106"/>
              <a:gd name="connsiteY8" fmla="*/ 311986 h 875870"/>
              <a:gd name="connsiteX9" fmla="*/ 283197 w 631106"/>
              <a:gd name="connsiteY9" fmla="*/ 14597 h 875870"/>
              <a:gd name="connsiteX10" fmla="*/ 313959 w 631106"/>
              <a:gd name="connsiteY10"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7252 w 631106"/>
              <a:gd name="connsiteY7" fmla="*/ 311986 h 875870"/>
              <a:gd name="connsiteX8" fmla="*/ 283197 w 631106"/>
              <a:gd name="connsiteY8" fmla="*/ 14597 h 875870"/>
              <a:gd name="connsiteX9" fmla="*/ 313959 w 631106"/>
              <a:gd name="connsiteY9" fmla="*/ 1 h 875870"/>
              <a:gd name="connsiteX0" fmla="*/ 313959 w 631106"/>
              <a:gd name="connsiteY0" fmla="*/ 1 h 875870"/>
              <a:gd name="connsiteX1" fmla="*/ 343628 w 631106"/>
              <a:gd name="connsiteY1" fmla="*/ 12773 h 875870"/>
              <a:gd name="connsiteX2" fmla="*/ 620302 w 631106"/>
              <a:gd name="connsiteY2" fmla="*/ 311073 h 875870"/>
              <a:gd name="connsiteX3" fmla="*/ 630620 w 631106"/>
              <a:gd name="connsiteY3" fmla="*/ 323852 h 875870"/>
              <a:gd name="connsiteX4" fmla="*/ 631106 w 631106"/>
              <a:gd name="connsiteY4" fmla="*/ 875870 h 875870"/>
              <a:gd name="connsiteX5" fmla="*/ 0 w 631106"/>
              <a:gd name="connsiteY5" fmla="*/ 875870 h 875870"/>
              <a:gd name="connsiteX6" fmla="*/ 0 w 631106"/>
              <a:gd name="connsiteY6" fmla="*/ 328335 h 875870"/>
              <a:gd name="connsiteX7" fmla="*/ 283197 w 631106"/>
              <a:gd name="connsiteY7" fmla="*/ 14597 h 875870"/>
              <a:gd name="connsiteX8" fmla="*/ 313959 w 631106"/>
              <a:gd name="connsiteY8" fmla="*/ 1 h 87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1106" h="875870">
                <a:moveTo>
                  <a:pt x="313959" y="1"/>
                </a:moveTo>
                <a:cubicBezTo>
                  <a:pt x="324213" y="-75"/>
                  <a:pt x="334285" y="4410"/>
                  <a:pt x="343628" y="12773"/>
                </a:cubicBezTo>
                <a:lnTo>
                  <a:pt x="620302" y="311073"/>
                </a:lnTo>
                <a:cubicBezTo>
                  <a:pt x="626126" y="315521"/>
                  <a:pt x="629448" y="319854"/>
                  <a:pt x="630620" y="323852"/>
                </a:cubicBezTo>
                <a:lnTo>
                  <a:pt x="631106" y="875870"/>
                </a:lnTo>
                <a:lnTo>
                  <a:pt x="0" y="875870"/>
                </a:lnTo>
                <a:lnTo>
                  <a:pt x="0" y="328335"/>
                </a:lnTo>
                <a:lnTo>
                  <a:pt x="283197" y="14597"/>
                </a:lnTo>
                <a:cubicBezTo>
                  <a:pt x="293269" y="4714"/>
                  <a:pt x="303705" y="77"/>
                  <a:pt x="313959" y="1"/>
                </a:cubicBezTo>
                <a:close/>
              </a:path>
            </a:pathLst>
          </a:custGeom>
          <a:solidFill>
            <a:schemeClr val="accent4">
              <a:alpha val="6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ea typeface="+mn-ea"/>
              <a:cs typeface="+mn-cs"/>
            </a:endParaRPr>
          </a:p>
        </p:txBody>
      </p:sp>
      <p:sp>
        <p:nvSpPr>
          <p:cNvPr id="67" name="Rectangle 66">
            <a:extLst>
              <a:ext uri="{FF2B5EF4-FFF2-40B4-BE49-F238E27FC236}">
                <a16:creationId xmlns:a16="http://schemas.microsoft.com/office/drawing/2014/main" id="{00CB7B2A-C2D3-4FD0-9562-A60A6E6E557F}"/>
              </a:ext>
            </a:extLst>
          </p:cNvPr>
          <p:cNvSpPr/>
          <p:nvPr/>
        </p:nvSpPr>
        <p:spPr>
          <a:xfrm>
            <a:off x="5268931" y="2451981"/>
            <a:ext cx="347851" cy="107722"/>
          </a:xfrm>
          <a:prstGeom prst="rect">
            <a:avLst/>
          </a:prstGeom>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FFFFFF"/>
                </a:solidFill>
                <a:effectLst/>
                <a:uLnTx/>
                <a:uFillTx/>
                <a:latin typeface="CiscoSansTT" panose="020B0503020201020303" pitchFamily="34" charset="0"/>
              </a:rPr>
              <a:t>Network</a:t>
            </a:r>
          </a:p>
        </p:txBody>
      </p:sp>
      <p:sp>
        <p:nvSpPr>
          <p:cNvPr id="121" name="Freeform: Shape 120">
            <a:extLst>
              <a:ext uri="{FF2B5EF4-FFF2-40B4-BE49-F238E27FC236}">
                <a16:creationId xmlns:a16="http://schemas.microsoft.com/office/drawing/2014/main" id="{0C7B92D9-F895-4DAA-8867-D78B267876D2}"/>
              </a:ext>
            </a:extLst>
          </p:cNvPr>
          <p:cNvSpPr/>
          <p:nvPr/>
        </p:nvSpPr>
        <p:spPr>
          <a:xfrm>
            <a:off x="5545239" y="2199410"/>
            <a:ext cx="190391" cy="2863"/>
          </a:xfrm>
          <a:custGeom>
            <a:avLst/>
            <a:gdLst>
              <a:gd name="connsiteX0" fmla="*/ 0 w 190391"/>
              <a:gd name="connsiteY0" fmla="*/ 0 h 2863"/>
              <a:gd name="connsiteX1" fmla="*/ 190391 w 190391"/>
              <a:gd name="connsiteY1" fmla="*/ 0 h 2863"/>
              <a:gd name="connsiteX2" fmla="*/ 190391 w 190391"/>
              <a:gd name="connsiteY2" fmla="*/ 2863 h 2863"/>
              <a:gd name="connsiteX3" fmla="*/ 0 w 190391"/>
              <a:gd name="connsiteY3" fmla="*/ 2863 h 2863"/>
            </a:gdLst>
            <a:ahLst/>
            <a:cxnLst>
              <a:cxn ang="0">
                <a:pos x="connsiteX0" y="connsiteY0"/>
              </a:cxn>
              <a:cxn ang="0">
                <a:pos x="connsiteX1" y="connsiteY1"/>
              </a:cxn>
              <a:cxn ang="0">
                <a:pos x="connsiteX2" y="connsiteY2"/>
              </a:cxn>
              <a:cxn ang="0">
                <a:pos x="connsiteX3" y="connsiteY3"/>
              </a:cxn>
            </a:cxnLst>
            <a:rect l="l" t="t" r="r" b="b"/>
            <a:pathLst>
              <a:path w="190391" h="2863">
                <a:moveTo>
                  <a:pt x="0" y="0"/>
                </a:moveTo>
                <a:lnTo>
                  <a:pt x="190391" y="0"/>
                </a:lnTo>
                <a:lnTo>
                  <a:pt x="190391" y="2863"/>
                </a:lnTo>
                <a:lnTo>
                  <a:pt x="0" y="2863"/>
                </a:lnTo>
                <a:close/>
              </a:path>
            </a:pathLst>
          </a:custGeom>
          <a:solidFill>
            <a:schemeClr val="bg2"/>
          </a:solid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grpSp>
        <p:nvGrpSpPr>
          <p:cNvPr id="122" name="Graphic 110">
            <a:extLst>
              <a:ext uri="{FF2B5EF4-FFF2-40B4-BE49-F238E27FC236}">
                <a16:creationId xmlns:a16="http://schemas.microsoft.com/office/drawing/2014/main" id="{842C146A-364F-445F-B3EC-30F4204F096E}"/>
              </a:ext>
            </a:extLst>
          </p:cNvPr>
          <p:cNvGrpSpPr/>
          <p:nvPr/>
        </p:nvGrpSpPr>
        <p:grpSpPr>
          <a:xfrm>
            <a:off x="5560930" y="2224902"/>
            <a:ext cx="129992" cy="52250"/>
            <a:chOff x="5586748" y="2224902"/>
            <a:chExt cx="129992" cy="52250"/>
          </a:xfrm>
          <a:solidFill>
            <a:schemeClr val="bg2"/>
          </a:solidFill>
        </p:grpSpPr>
        <p:sp>
          <p:nvSpPr>
            <p:cNvPr id="123" name="Freeform: Shape 122">
              <a:extLst>
                <a:ext uri="{FF2B5EF4-FFF2-40B4-BE49-F238E27FC236}">
                  <a16:creationId xmlns:a16="http://schemas.microsoft.com/office/drawing/2014/main" id="{6C81EA1F-4FE1-4A07-830E-070208C87996}"/>
                </a:ext>
              </a:extLst>
            </p:cNvPr>
            <p:cNvSpPr/>
            <p:nvPr/>
          </p:nvSpPr>
          <p:spPr>
            <a:xfrm>
              <a:off x="5586748" y="2224902"/>
              <a:ext cx="129992" cy="2863"/>
            </a:xfrm>
            <a:custGeom>
              <a:avLst/>
              <a:gdLst>
                <a:gd name="connsiteX0" fmla="*/ 0 w 129992"/>
                <a:gd name="connsiteY0" fmla="*/ 0 h 2863"/>
                <a:gd name="connsiteX1" fmla="*/ 129992 w 129992"/>
                <a:gd name="connsiteY1" fmla="*/ 0 h 2863"/>
                <a:gd name="connsiteX2" fmla="*/ 129992 w 129992"/>
                <a:gd name="connsiteY2" fmla="*/ 2863 h 2863"/>
                <a:gd name="connsiteX3" fmla="*/ 0 w 129992"/>
                <a:gd name="connsiteY3" fmla="*/ 2863 h 2863"/>
              </a:gdLst>
              <a:ahLst/>
              <a:cxnLst>
                <a:cxn ang="0">
                  <a:pos x="connsiteX0" y="connsiteY0"/>
                </a:cxn>
                <a:cxn ang="0">
                  <a:pos x="connsiteX1" y="connsiteY1"/>
                </a:cxn>
                <a:cxn ang="0">
                  <a:pos x="connsiteX2" y="connsiteY2"/>
                </a:cxn>
                <a:cxn ang="0">
                  <a:pos x="connsiteX3" y="connsiteY3"/>
                </a:cxn>
              </a:cxnLst>
              <a:rect l="l" t="t" r="r" b="b"/>
              <a:pathLst>
                <a:path w="129992" h="2863">
                  <a:moveTo>
                    <a:pt x="0" y="0"/>
                  </a:moveTo>
                  <a:lnTo>
                    <a:pt x="129992" y="0"/>
                  </a:lnTo>
                  <a:lnTo>
                    <a:pt x="129992" y="2863"/>
                  </a:lnTo>
                  <a:lnTo>
                    <a:pt x="0" y="2863"/>
                  </a:lnTo>
                  <a:close/>
                </a:path>
              </a:pathLst>
            </a:custGeom>
            <a:grp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grpSp>
          <p:nvGrpSpPr>
            <p:cNvPr id="124" name="Graphic 110">
              <a:extLst>
                <a:ext uri="{FF2B5EF4-FFF2-40B4-BE49-F238E27FC236}">
                  <a16:creationId xmlns:a16="http://schemas.microsoft.com/office/drawing/2014/main" id="{842C146A-364F-445F-B3EC-30F4204F096E}"/>
                </a:ext>
              </a:extLst>
            </p:cNvPr>
            <p:cNvGrpSpPr/>
            <p:nvPr/>
          </p:nvGrpSpPr>
          <p:grpSpPr>
            <a:xfrm>
              <a:off x="5597980" y="2250394"/>
              <a:ext cx="71135" cy="26758"/>
              <a:chOff x="5597980" y="2250394"/>
              <a:chExt cx="71135" cy="26758"/>
            </a:xfrm>
            <a:grpFill/>
          </p:grpSpPr>
          <p:sp>
            <p:nvSpPr>
              <p:cNvPr id="125" name="Freeform: Shape 124">
                <a:extLst>
                  <a:ext uri="{FF2B5EF4-FFF2-40B4-BE49-F238E27FC236}">
                    <a16:creationId xmlns:a16="http://schemas.microsoft.com/office/drawing/2014/main" id="{65C79D0E-B85F-4089-9B71-3FD5514EA5DE}"/>
                  </a:ext>
                </a:extLst>
              </p:cNvPr>
              <p:cNvSpPr/>
              <p:nvPr/>
            </p:nvSpPr>
            <p:spPr>
              <a:xfrm>
                <a:off x="5597980" y="2250394"/>
                <a:ext cx="71135" cy="2863"/>
              </a:xfrm>
              <a:custGeom>
                <a:avLst/>
                <a:gdLst>
                  <a:gd name="connsiteX0" fmla="*/ 0 w 71135"/>
                  <a:gd name="connsiteY0" fmla="*/ 0 h 2863"/>
                  <a:gd name="connsiteX1" fmla="*/ 71135 w 71135"/>
                  <a:gd name="connsiteY1" fmla="*/ 0 h 2863"/>
                  <a:gd name="connsiteX2" fmla="*/ 71135 w 71135"/>
                  <a:gd name="connsiteY2" fmla="*/ 2863 h 2863"/>
                  <a:gd name="connsiteX3" fmla="*/ 0 w 71135"/>
                  <a:gd name="connsiteY3" fmla="*/ 2863 h 2863"/>
                </a:gdLst>
                <a:ahLst/>
                <a:cxnLst>
                  <a:cxn ang="0">
                    <a:pos x="connsiteX0" y="connsiteY0"/>
                  </a:cxn>
                  <a:cxn ang="0">
                    <a:pos x="connsiteX1" y="connsiteY1"/>
                  </a:cxn>
                  <a:cxn ang="0">
                    <a:pos x="connsiteX2" y="connsiteY2"/>
                  </a:cxn>
                  <a:cxn ang="0">
                    <a:pos x="connsiteX3" y="connsiteY3"/>
                  </a:cxn>
                </a:cxnLst>
                <a:rect l="l" t="t" r="r" b="b"/>
                <a:pathLst>
                  <a:path w="71135" h="2863">
                    <a:moveTo>
                      <a:pt x="0" y="0"/>
                    </a:moveTo>
                    <a:lnTo>
                      <a:pt x="71135" y="0"/>
                    </a:lnTo>
                    <a:lnTo>
                      <a:pt x="71135" y="2863"/>
                    </a:lnTo>
                    <a:lnTo>
                      <a:pt x="0" y="2863"/>
                    </a:lnTo>
                    <a:close/>
                  </a:path>
                </a:pathLst>
              </a:custGeom>
              <a:grp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126" name="Freeform: Shape 125">
                <a:extLst>
                  <a:ext uri="{FF2B5EF4-FFF2-40B4-BE49-F238E27FC236}">
                    <a16:creationId xmlns:a16="http://schemas.microsoft.com/office/drawing/2014/main" id="{A991FF71-21C3-434D-B479-45C7C1A1D54C}"/>
                  </a:ext>
                </a:extLst>
              </p:cNvPr>
              <p:cNvSpPr/>
              <p:nvPr/>
            </p:nvSpPr>
            <p:spPr>
              <a:xfrm>
                <a:off x="5601504" y="2274289"/>
                <a:ext cx="20151" cy="2863"/>
              </a:xfrm>
              <a:custGeom>
                <a:avLst/>
                <a:gdLst>
                  <a:gd name="connsiteX0" fmla="*/ 0 w 20151"/>
                  <a:gd name="connsiteY0" fmla="*/ 0 h 2863"/>
                  <a:gd name="connsiteX1" fmla="*/ 20151 w 20151"/>
                  <a:gd name="connsiteY1" fmla="*/ 0 h 2863"/>
                  <a:gd name="connsiteX2" fmla="*/ 20151 w 20151"/>
                  <a:gd name="connsiteY2" fmla="*/ 2863 h 2863"/>
                  <a:gd name="connsiteX3" fmla="*/ 0 w 20151"/>
                  <a:gd name="connsiteY3" fmla="*/ 2863 h 2863"/>
                </a:gdLst>
                <a:ahLst/>
                <a:cxnLst>
                  <a:cxn ang="0">
                    <a:pos x="connsiteX0" y="connsiteY0"/>
                  </a:cxn>
                  <a:cxn ang="0">
                    <a:pos x="connsiteX1" y="connsiteY1"/>
                  </a:cxn>
                  <a:cxn ang="0">
                    <a:pos x="connsiteX2" y="connsiteY2"/>
                  </a:cxn>
                  <a:cxn ang="0">
                    <a:pos x="connsiteX3" y="connsiteY3"/>
                  </a:cxn>
                </a:cxnLst>
                <a:rect l="l" t="t" r="r" b="b"/>
                <a:pathLst>
                  <a:path w="20151" h="2863">
                    <a:moveTo>
                      <a:pt x="0" y="0"/>
                    </a:moveTo>
                    <a:lnTo>
                      <a:pt x="20151" y="0"/>
                    </a:lnTo>
                    <a:lnTo>
                      <a:pt x="20151" y="2863"/>
                    </a:lnTo>
                    <a:lnTo>
                      <a:pt x="0" y="2863"/>
                    </a:lnTo>
                    <a:close/>
                  </a:path>
                </a:pathLst>
              </a:custGeom>
              <a:grp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grpSp>
      </p:grpSp>
      <p:sp>
        <p:nvSpPr>
          <p:cNvPr id="127" name="Freeform: Shape 126">
            <a:extLst>
              <a:ext uri="{FF2B5EF4-FFF2-40B4-BE49-F238E27FC236}">
                <a16:creationId xmlns:a16="http://schemas.microsoft.com/office/drawing/2014/main" id="{C693F555-CD33-4378-A482-FECCF15BA111}"/>
              </a:ext>
            </a:extLst>
          </p:cNvPr>
          <p:cNvSpPr/>
          <p:nvPr/>
        </p:nvSpPr>
        <p:spPr>
          <a:xfrm>
            <a:off x="5261799" y="2317399"/>
            <a:ext cx="30502" cy="2863"/>
          </a:xfrm>
          <a:custGeom>
            <a:avLst/>
            <a:gdLst>
              <a:gd name="connsiteX0" fmla="*/ 0 w 30502"/>
              <a:gd name="connsiteY0" fmla="*/ 0 h 2863"/>
              <a:gd name="connsiteX1" fmla="*/ 30502 w 30502"/>
              <a:gd name="connsiteY1" fmla="*/ 0 h 2863"/>
              <a:gd name="connsiteX2" fmla="*/ 30502 w 30502"/>
              <a:gd name="connsiteY2" fmla="*/ 2863 h 2863"/>
              <a:gd name="connsiteX3" fmla="*/ 0 w 30502"/>
              <a:gd name="connsiteY3" fmla="*/ 2863 h 2863"/>
            </a:gdLst>
            <a:ahLst/>
            <a:cxnLst>
              <a:cxn ang="0">
                <a:pos x="connsiteX0" y="connsiteY0"/>
              </a:cxn>
              <a:cxn ang="0">
                <a:pos x="connsiteX1" y="connsiteY1"/>
              </a:cxn>
              <a:cxn ang="0">
                <a:pos x="connsiteX2" y="connsiteY2"/>
              </a:cxn>
              <a:cxn ang="0">
                <a:pos x="connsiteX3" y="connsiteY3"/>
              </a:cxn>
            </a:cxnLst>
            <a:rect l="l" t="t" r="r" b="b"/>
            <a:pathLst>
              <a:path w="30502" h="2863">
                <a:moveTo>
                  <a:pt x="0" y="0"/>
                </a:moveTo>
                <a:lnTo>
                  <a:pt x="30502" y="0"/>
                </a:lnTo>
                <a:lnTo>
                  <a:pt x="30502" y="2863"/>
                </a:lnTo>
                <a:lnTo>
                  <a:pt x="0" y="2863"/>
                </a:lnTo>
                <a:close/>
              </a:path>
            </a:pathLst>
          </a:custGeom>
          <a:solidFill>
            <a:schemeClr val="bg2"/>
          </a:solid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128" name="Freeform: Shape 127">
            <a:extLst>
              <a:ext uri="{FF2B5EF4-FFF2-40B4-BE49-F238E27FC236}">
                <a16:creationId xmlns:a16="http://schemas.microsoft.com/office/drawing/2014/main" id="{52A9FD0B-105D-435F-8367-E80067181694}"/>
              </a:ext>
            </a:extLst>
          </p:cNvPr>
          <p:cNvSpPr/>
          <p:nvPr/>
        </p:nvSpPr>
        <p:spPr>
          <a:xfrm>
            <a:off x="5214339" y="2342891"/>
            <a:ext cx="97342" cy="2863"/>
          </a:xfrm>
          <a:custGeom>
            <a:avLst/>
            <a:gdLst>
              <a:gd name="connsiteX0" fmla="*/ 0 w 97342"/>
              <a:gd name="connsiteY0" fmla="*/ 0 h 2863"/>
              <a:gd name="connsiteX1" fmla="*/ 97343 w 97342"/>
              <a:gd name="connsiteY1" fmla="*/ 0 h 2863"/>
              <a:gd name="connsiteX2" fmla="*/ 97343 w 97342"/>
              <a:gd name="connsiteY2" fmla="*/ 2863 h 2863"/>
              <a:gd name="connsiteX3" fmla="*/ 0 w 97342"/>
              <a:gd name="connsiteY3" fmla="*/ 2863 h 2863"/>
            </a:gdLst>
            <a:ahLst/>
            <a:cxnLst>
              <a:cxn ang="0">
                <a:pos x="connsiteX0" y="connsiteY0"/>
              </a:cxn>
              <a:cxn ang="0">
                <a:pos x="connsiteX1" y="connsiteY1"/>
              </a:cxn>
              <a:cxn ang="0">
                <a:pos x="connsiteX2" y="connsiteY2"/>
              </a:cxn>
              <a:cxn ang="0">
                <a:pos x="connsiteX3" y="connsiteY3"/>
              </a:cxn>
            </a:cxnLst>
            <a:rect l="l" t="t" r="r" b="b"/>
            <a:pathLst>
              <a:path w="97342" h="2863">
                <a:moveTo>
                  <a:pt x="0" y="0"/>
                </a:moveTo>
                <a:lnTo>
                  <a:pt x="97343" y="0"/>
                </a:lnTo>
                <a:lnTo>
                  <a:pt x="97343" y="2863"/>
                </a:lnTo>
                <a:lnTo>
                  <a:pt x="0" y="2863"/>
                </a:lnTo>
                <a:close/>
              </a:path>
            </a:pathLst>
          </a:custGeom>
          <a:solidFill>
            <a:schemeClr val="bg2"/>
          </a:solid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129" name="Freeform: Shape 128">
            <a:extLst>
              <a:ext uri="{FF2B5EF4-FFF2-40B4-BE49-F238E27FC236}">
                <a16:creationId xmlns:a16="http://schemas.microsoft.com/office/drawing/2014/main" id="{F1AF7C86-2458-45B4-B63D-2DDC8666B72F}"/>
              </a:ext>
            </a:extLst>
          </p:cNvPr>
          <p:cNvSpPr/>
          <p:nvPr/>
        </p:nvSpPr>
        <p:spPr>
          <a:xfrm>
            <a:off x="5166769" y="2368383"/>
            <a:ext cx="158842" cy="2863"/>
          </a:xfrm>
          <a:custGeom>
            <a:avLst/>
            <a:gdLst>
              <a:gd name="connsiteX0" fmla="*/ 0 w 158842"/>
              <a:gd name="connsiteY0" fmla="*/ 0 h 2863"/>
              <a:gd name="connsiteX1" fmla="*/ 158843 w 158842"/>
              <a:gd name="connsiteY1" fmla="*/ 0 h 2863"/>
              <a:gd name="connsiteX2" fmla="*/ 158843 w 158842"/>
              <a:gd name="connsiteY2" fmla="*/ 2863 h 2863"/>
              <a:gd name="connsiteX3" fmla="*/ 0 w 158842"/>
              <a:gd name="connsiteY3" fmla="*/ 2863 h 2863"/>
            </a:gdLst>
            <a:ahLst/>
            <a:cxnLst>
              <a:cxn ang="0">
                <a:pos x="connsiteX0" y="connsiteY0"/>
              </a:cxn>
              <a:cxn ang="0">
                <a:pos x="connsiteX1" y="connsiteY1"/>
              </a:cxn>
              <a:cxn ang="0">
                <a:pos x="connsiteX2" y="connsiteY2"/>
              </a:cxn>
              <a:cxn ang="0">
                <a:pos x="connsiteX3" y="connsiteY3"/>
              </a:cxn>
            </a:cxnLst>
            <a:rect l="l" t="t" r="r" b="b"/>
            <a:pathLst>
              <a:path w="158842" h="2863">
                <a:moveTo>
                  <a:pt x="0" y="0"/>
                </a:moveTo>
                <a:lnTo>
                  <a:pt x="158843" y="0"/>
                </a:lnTo>
                <a:lnTo>
                  <a:pt x="158843" y="2863"/>
                </a:lnTo>
                <a:lnTo>
                  <a:pt x="0" y="2863"/>
                </a:lnTo>
                <a:close/>
              </a:path>
            </a:pathLst>
          </a:custGeom>
          <a:solidFill>
            <a:schemeClr val="bg2"/>
          </a:solid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130" name="Freeform: Shape 129">
            <a:extLst>
              <a:ext uri="{FF2B5EF4-FFF2-40B4-BE49-F238E27FC236}">
                <a16:creationId xmlns:a16="http://schemas.microsoft.com/office/drawing/2014/main" id="{6241BDCA-EC21-405F-A6FC-11654A026D8E}"/>
              </a:ext>
            </a:extLst>
          </p:cNvPr>
          <p:cNvSpPr/>
          <p:nvPr/>
        </p:nvSpPr>
        <p:spPr>
          <a:xfrm>
            <a:off x="5122007" y="2392279"/>
            <a:ext cx="225573" cy="2863"/>
          </a:xfrm>
          <a:custGeom>
            <a:avLst/>
            <a:gdLst>
              <a:gd name="connsiteX0" fmla="*/ 0 w 225573"/>
              <a:gd name="connsiteY0" fmla="*/ 0 h 2863"/>
              <a:gd name="connsiteX1" fmla="*/ 225573 w 225573"/>
              <a:gd name="connsiteY1" fmla="*/ 0 h 2863"/>
              <a:gd name="connsiteX2" fmla="*/ 225573 w 225573"/>
              <a:gd name="connsiteY2" fmla="*/ 2863 h 2863"/>
              <a:gd name="connsiteX3" fmla="*/ 0 w 225573"/>
              <a:gd name="connsiteY3" fmla="*/ 2863 h 2863"/>
            </a:gdLst>
            <a:ahLst/>
            <a:cxnLst>
              <a:cxn ang="0">
                <a:pos x="connsiteX0" y="connsiteY0"/>
              </a:cxn>
              <a:cxn ang="0">
                <a:pos x="connsiteX1" y="connsiteY1"/>
              </a:cxn>
              <a:cxn ang="0">
                <a:pos x="connsiteX2" y="connsiteY2"/>
              </a:cxn>
              <a:cxn ang="0">
                <a:pos x="connsiteX3" y="connsiteY3"/>
              </a:cxn>
            </a:cxnLst>
            <a:rect l="l" t="t" r="r" b="b"/>
            <a:pathLst>
              <a:path w="225573" h="2863">
                <a:moveTo>
                  <a:pt x="0" y="0"/>
                </a:moveTo>
                <a:lnTo>
                  <a:pt x="225573" y="0"/>
                </a:lnTo>
                <a:lnTo>
                  <a:pt x="225573" y="2863"/>
                </a:lnTo>
                <a:lnTo>
                  <a:pt x="0" y="2863"/>
                </a:lnTo>
                <a:close/>
              </a:path>
            </a:pathLst>
          </a:custGeom>
          <a:solidFill>
            <a:schemeClr val="bg2"/>
          </a:solid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grpSp>
        <p:nvGrpSpPr>
          <p:cNvPr id="131" name="Graphic 110">
            <a:extLst>
              <a:ext uri="{FF2B5EF4-FFF2-40B4-BE49-F238E27FC236}">
                <a16:creationId xmlns:a16="http://schemas.microsoft.com/office/drawing/2014/main" id="{842C146A-364F-445F-B3EC-30F4204F096E}"/>
              </a:ext>
            </a:extLst>
          </p:cNvPr>
          <p:cNvGrpSpPr/>
          <p:nvPr/>
        </p:nvGrpSpPr>
        <p:grpSpPr>
          <a:xfrm>
            <a:off x="5265543" y="2150904"/>
            <a:ext cx="328422" cy="275566"/>
            <a:chOff x="5291361" y="2150904"/>
            <a:chExt cx="328422" cy="275566"/>
          </a:xfrm>
          <a:solidFill>
            <a:schemeClr val="accent1"/>
          </a:solidFill>
        </p:grpSpPr>
        <p:sp>
          <p:nvSpPr>
            <p:cNvPr id="132" name="Freeform: Shape 131">
              <a:extLst>
                <a:ext uri="{FF2B5EF4-FFF2-40B4-BE49-F238E27FC236}">
                  <a16:creationId xmlns:a16="http://schemas.microsoft.com/office/drawing/2014/main" id="{C9068565-FBBD-4842-9B53-C246746D4AD1}"/>
                </a:ext>
              </a:extLst>
            </p:cNvPr>
            <p:cNvSpPr/>
            <p:nvPr/>
          </p:nvSpPr>
          <p:spPr>
            <a:xfrm>
              <a:off x="5350218" y="2150904"/>
              <a:ext cx="254919" cy="254919"/>
            </a:xfrm>
            <a:custGeom>
              <a:avLst/>
              <a:gdLst>
                <a:gd name="connsiteX0" fmla="*/ 254919 w 254919"/>
                <a:gd name="connsiteY0" fmla="*/ 127460 h 254919"/>
                <a:gd name="connsiteX1" fmla="*/ 127460 w 254919"/>
                <a:gd name="connsiteY1" fmla="*/ 254919 h 254919"/>
                <a:gd name="connsiteX2" fmla="*/ 0 w 254919"/>
                <a:gd name="connsiteY2" fmla="*/ 127460 h 254919"/>
                <a:gd name="connsiteX3" fmla="*/ 127460 w 254919"/>
                <a:gd name="connsiteY3" fmla="*/ 0 h 254919"/>
                <a:gd name="connsiteX4" fmla="*/ 254919 w 254919"/>
                <a:gd name="connsiteY4" fmla="*/ 127460 h 254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919" h="254919">
                  <a:moveTo>
                    <a:pt x="254919" y="127460"/>
                  </a:moveTo>
                  <a:cubicBezTo>
                    <a:pt x="254919" y="197854"/>
                    <a:pt x="197854" y="254919"/>
                    <a:pt x="127460" y="254919"/>
                  </a:cubicBezTo>
                  <a:cubicBezTo>
                    <a:pt x="57066" y="254919"/>
                    <a:pt x="0" y="197854"/>
                    <a:pt x="0" y="127460"/>
                  </a:cubicBezTo>
                  <a:cubicBezTo>
                    <a:pt x="0" y="57066"/>
                    <a:pt x="57066" y="0"/>
                    <a:pt x="127460" y="0"/>
                  </a:cubicBezTo>
                  <a:cubicBezTo>
                    <a:pt x="197854" y="0"/>
                    <a:pt x="254919" y="57066"/>
                    <a:pt x="254919" y="127460"/>
                  </a:cubicBezTo>
                  <a:close/>
                </a:path>
              </a:pathLst>
            </a:custGeom>
            <a:solidFill>
              <a:schemeClr val="accent2"/>
            </a:solid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133" name="Freeform: Shape 132">
              <a:extLst>
                <a:ext uri="{FF2B5EF4-FFF2-40B4-BE49-F238E27FC236}">
                  <a16:creationId xmlns:a16="http://schemas.microsoft.com/office/drawing/2014/main" id="{DB896BFC-3A32-46A4-A33F-D21F097E9612}"/>
                </a:ext>
              </a:extLst>
            </p:cNvPr>
            <p:cNvSpPr/>
            <p:nvPr/>
          </p:nvSpPr>
          <p:spPr>
            <a:xfrm>
              <a:off x="5325332" y="2166045"/>
              <a:ext cx="260425" cy="260425"/>
            </a:xfrm>
            <a:custGeom>
              <a:avLst/>
              <a:gdLst>
                <a:gd name="connsiteX0" fmla="*/ 130213 w 260425"/>
                <a:gd name="connsiteY0" fmla="*/ 260425 h 260425"/>
                <a:gd name="connsiteX1" fmla="*/ 0 w 260425"/>
                <a:gd name="connsiteY1" fmla="*/ 130213 h 260425"/>
                <a:gd name="connsiteX2" fmla="*/ 130213 w 260425"/>
                <a:gd name="connsiteY2" fmla="*/ 0 h 260425"/>
                <a:gd name="connsiteX3" fmla="*/ 260425 w 260425"/>
                <a:gd name="connsiteY3" fmla="*/ 130213 h 260425"/>
                <a:gd name="connsiteX4" fmla="*/ 130213 w 260425"/>
                <a:gd name="connsiteY4" fmla="*/ 260425 h 260425"/>
                <a:gd name="connsiteX5" fmla="*/ 130213 w 260425"/>
                <a:gd name="connsiteY5" fmla="*/ 5506 h 260425"/>
                <a:gd name="connsiteX6" fmla="*/ 5506 w 260425"/>
                <a:gd name="connsiteY6" fmla="*/ 130213 h 260425"/>
                <a:gd name="connsiteX7" fmla="*/ 130213 w 260425"/>
                <a:gd name="connsiteY7" fmla="*/ 254919 h 260425"/>
                <a:gd name="connsiteX8" fmla="*/ 254919 w 260425"/>
                <a:gd name="connsiteY8" fmla="*/ 130213 h 260425"/>
                <a:gd name="connsiteX9" fmla="*/ 130213 w 260425"/>
                <a:gd name="connsiteY9" fmla="*/ 5506 h 26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425" h="260425">
                  <a:moveTo>
                    <a:pt x="130213" y="260425"/>
                  </a:moveTo>
                  <a:cubicBezTo>
                    <a:pt x="58417" y="260425"/>
                    <a:pt x="0" y="202009"/>
                    <a:pt x="0" y="130213"/>
                  </a:cubicBezTo>
                  <a:cubicBezTo>
                    <a:pt x="0" y="58417"/>
                    <a:pt x="58417" y="0"/>
                    <a:pt x="130213" y="0"/>
                  </a:cubicBezTo>
                  <a:cubicBezTo>
                    <a:pt x="202009" y="0"/>
                    <a:pt x="260425" y="58417"/>
                    <a:pt x="260425" y="130213"/>
                  </a:cubicBezTo>
                  <a:cubicBezTo>
                    <a:pt x="260425" y="202009"/>
                    <a:pt x="202009" y="260425"/>
                    <a:pt x="130213" y="260425"/>
                  </a:cubicBezTo>
                  <a:close/>
                  <a:moveTo>
                    <a:pt x="130213" y="5506"/>
                  </a:moveTo>
                  <a:cubicBezTo>
                    <a:pt x="61445" y="5506"/>
                    <a:pt x="5506" y="61445"/>
                    <a:pt x="5506" y="130213"/>
                  </a:cubicBezTo>
                  <a:cubicBezTo>
                    <a:pt x="5506" y="198980"/>
                    <a:pt x="61445" y="254919"/>
                    <a:pt x="130213" y="254919"/>
                  </a:cubicBezTo>
                  <a:cubicBezTo>
                    <a:pt x="198980" y="254919"/>
                    <a:pt x="254919" y="198980"/>
                    <a:pt x="254919" y="130213"/>
                  </a:cubicBezTo>
                  <a:cubicBezTo>
                    <a:pt x="254919" y="61445"/>
                    <a:pt x="198980" y="5506"/>
                    <a:pt x="130213" y="5506"/>
                  </a:cubicBezTo>
                  <a:close/>
                </a:path>
              </a:pathLst>
            </a:custGeom>
            <a:solidFill>
              <a:srgbClr val="1E4471"/>
            </a:solid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134" name="Freeform: Shape 133">
              <a:extLst>
                <a:ext uri="{FF2B5EF4-FFF2-40B4-BE49-F238E27FC236}">
                  <a16:creationId xmlns:a16="http://schemas.microsoft.com/office/drawing/2014/main" id="{E208F5AE-1E0C-493D-BA93-FE18EE6C1110}"/>
                </a:ext>
              </a:extLst>
            </p:cNvPr>
            <p:cNvSpPr/>
            <p:nvPr/>
          </p:nvSpPr>
          <p:spPr>
            <a:xfrm>
              <a:off x="5291361" y="2279189"/>
              <a:ext cx="328422" cy="57535"/>
            </a:xfrm>
            <a:custGeom>
              <a:avLst/>
              <a:gdLst>
                <a:gd name="connsiteX0" fmla="*/ 164184 w 328422"/>
                <a:gd name="connsiteY0" fmla="*/ 57536 h 57535"/>
                <a:gd name="connsiteX1" fmla="*/ 0 w 328422"/>
                <a:gd name="connsiteY1" fmla="*/ 22849 h 57535"/>
                <a:gd name="connsiteX2" fmla="*/ 38541 w 328422"/>
                <a:gd name="connsiteY2" fmla="*/ 0 h 57535"/>
                <a:gd name="connsiteX3" fmla="*/ 39862 w 328422"/>
                <a:gd name="connsiteY3" fmla="*/ 5341 h 57535"/>
                <a:gd name="connsiteX4" fmla="*/ 5561 w 328422"/>
                <a:gd name="connsiteY4" fmla="*/ 22849 h 57535"/>
                <a:gd name="connsiteX5" fmla="*/ 164239 w 328422"/>
                <a:gd name="connsiteY5" fmla="*/ 52030 h 57535"/>
                <a:gd name="connsiteX6" fmla="*/ 322916 w 328422"/>
                <a:gd name="connsiteY6" fmla="*/ 22849 h 57535"/>
                <a:gd name="connsiteX7" fmla="*/ 288615 w 328422"/>
                <a:gd name="connsiteY7" fmla="*/ 5341 h 57535"/>
                <a:gd name="connsiteX8" fmla="*/ 289881 w 328422"/>
                <a:gd name="connsiteY8" fmla="*/ 0 h 57535"/>
                <a:gd name="connsiteX9" fmla="*/ 328422 w 328422"/>
                <a:gd name="connsiteY9" fmla="*/ 22849 h 57535"/>
                <a:gd name="connsiteX10" fmla="*/ 164184 w 328422"/>
                <a:gd name="connsiteY10" fmla="*/ 57536 h 5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422" h="57535">
                  <a:moveTo>
                    <a:pt x="164184" y="57536"/>
                  </a:moveTo>
                  <a:cubicBezTo>
                    <a:pt x="84569" y="57536"/>
                    <a:pt x="0" y="45368"/>
                    <a:pt x="0" y="22849"/>
                  </a:cubicBezTo>
                  <a:cubicBezTo>
                    <a:pt x="0" y="13875"/>
                    <a:pt x="12939" y="6167"/>
                    <a:pt x="38541" y="0"/>
                  </a:cubicBezTo>
                  <a:lnTo>
                    <a:pt x="39862" y="5341"/>
                  </a:lnTo>
                  <a:cubicBezTo>
                    <a:pt x="8039" y="13049"/>
                    <a:pt x="5561" y="20702"/>
                    <a:pt x="5561" y="22849"/>
                  </a:cubicBezTo>
                  <a:cubicBezTo>
                    <a:pt x="5561" y="36669"/>
                    <a:pt x="70750" y="52030"/>
                    <a:pt x="164239" y="52030"/>
                  </a:cubicBezTo>
                  <a:cubicBezTo>
                    <a:pt x="257727" y="52030"/>
                    <a:pt x="322916" y="36669"/>
                    <a:pt x="322916" y="22849"/>
                  </a:cubicBezTo>
                  <a:cubicBezTo>
                    <a:pt x="322916" y="20702"/>
                    <a:pt x="320439" y="13049"/>
                    <a:pt x="288615" y="5341"/>
                  </a:cubicBezTo>
                  <a:lnTo>
                    <a:pt x="289881" y="0"/>
                  </a:lnTo>
                  <a:cubicBezTo>
                    <a:pt x="315428" y="6167"/>
                    <a:pt x="328422" y="13875"/>
                    <a:pt x="328422" y="22849"/>
                  </a:cubicBezTo>
                  <a:cubicBezTo>
                    <a:pt x="328367" y="45423"/>
                    <a:pt x="243798" y="57536"/>
                    <a:pt x="164184" y="57536"/>
                  </a:cubicBezTo>
                  <a:close/>
                </a:path>
              </a:pathLst>
            </a:custGeom>
            <a:solidFill>
              <a:srgbClr val="1E4471"/>
            </a:solidFill>
            <a:ln w="5492" cap="flat">
              <a:solidFill>
                <a:schemeClr val="accent1"/>
              </a:solid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135" name="Freeform: Shape 134">
              <a:extLst>
                <a:ext uri="{FF2B5EF4-FFF2-40B4-BE49-F238E27FC236}">
                  <a16:creationId xmlns:a16="http://schemas.microsoft.com/office/drawing/2014/main" id="{D802D35C-337C-4195-8741-BEBC834E21F6}"/>
                </a:ext>
              </a:extLst>
            </p:cNvPr>
            <p:cNvSpPr/>
            <p:nvPr/>
          </p:nvSpPr>
          <p:spPr>
            <a:xfrm>
              <a:off x="5332286" y="2174088"/>
              <a:ext cx="238232" cy="238121"/>
            </a:xfrm>
            <a:custGeom>
              <a:avLst/>
              <a:gdLst>
                <a:gd name="connsiteX0" fmla="*/ 11435 w 238232"/>
                <a:gd name="connsiteY0" fmla="*/ 238121 h 238121"/>
                <a:gd name="connsiteX1" fmla="*/ 3067 w 238232"/>
                <a:gd name="connsiteY1" fmla="*/ 235148 h 238121"/>
                <a:gd name="connsiteX2" fmla="*/ 9178 w 238232"/>
                <a:gd name="connsiteY2" fmla="*/ 200296 h 238121"/>
                <a:gd name="connsiteX3" fmla="*/ 14023 w 238232"/>
                <a:gd name="connsiteY3" fmla="*/ 202939 h 238121"/>
                <a:gd name="connsiteX4" fmla="*/ 6976 w 238232"/>
                <a:gd name="connsiteY4" fmla="*/ 231239 h 238121"/>
                <a:gd name="connsiteX5" fmla="*/ 139776 w 238232"/>
                <a:gd name="connsiteY5" fmla="*/ 139677 h 238121"/>
                <a:gd name="connsiteX6" fmla="*/ 213554 w 238232"/>
                <a:gd name="connsiteY6" fmla="*/ 52796 h 238121"/>
                <a:gd name="connsiteX7" fmla="*/ 231393 w 238232"/>
                <a:gd name="connsiteY7" fmla="*/ 6877 h 238121"/>
                <a:gd name="connsiteX8" fmla="*/ 202047 w 238232"/>
                <a:gd name="connsiteY8" fmla="*/ 14475 h 238121"/>
                <a:gd name="connsiteX9" fmla="*/ 199294 w 238232"/>
                <a:gd name="connsiteY9" fmla="*/ 9685 h 238121"/>
                <a:gd name="connsiteX10" fmla="*/ 235192 w 238232"/>
                <a:gd name="connsiteY10" fmla="*/ 3023 h 238121"/>
                <a:gd name="connsiteX11" fmla="*/ 218069 w 238232"/>
                <a:gd name="connsiteY11" fmla="*/ 55879 h 238121"/>
                <a:gd name="connsiteX12" fmla="*/ 143630 w 238232"/>
                <a:gd name="connsiteY12" fmla="*/ 143587 h 238121"/>
                <a:gd name="connsiteX13" fmla="*/ 11435 w 238232"/>
                <a:gd name="connsiteY13" fmla="*/ 238121 h 2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232" h="238121">
                  <a:moveTo>
                    <a:pt x="11435" y="238121"/>
                  </a:moveTo>
                  <a:cubicBezTo>
                    <a:pt x="7912" y="238121"/>
                    <a:pt x="5049" y="237185"/>
                    <a:pt x="3067" y="235148"/>
                  </a:cubicBezTo>
                  <a:cubicBezTo>
                    <a:pt x="-2494" y="229587"/>
                    <a:pt x="-512" y="218190"/>
                    <a:pt x="9178" y="200296"/>
                  </a:cubicBezTo>
                  <a:lnTo>
                    <a:pt x="14023" y="202939"/>
                  </a:lnTo>
                  <a:cubicBezTo>
                    <a:pt x="2516" y="224192"/>
                    <a:pt x="5709" y="229973"/>
                    <a:pt x="6976" y="231239"/>
                  </a:cubicBezTo>
                  <a:cubicBezTo>
                    <a:pt x="16721" y="240984"/>
                    <a:pt x="73706" y="205802"/>
                    <a:pt x="139776" y="139677"/>
                  </a:cubicBezTo>
                  <a:cubicBezTo>
                    <a:pt x="170168" y="109340"/>
                    <a:pt x="196321" y="78453"/>
                    <a:pt x="213554" y="52796"/>
                  </a:cubicBezTo>
                  <a:cubicBezTo>
                    <a:pt x="232384" y="24661"/>
                    <a:pt x="235137" y="10621"/>
                    <a:pt x="231393" y="6877"/>
                  </a:cubicBezTo>
                  <a:cubicBezTo>
                    <a:pt x="230071" y="5556"/>
                    <a:pt x="224125" y="2307"/>
                    <a:pt x="202047" y="14475"/>
                  </a:cubicBezTo>
                  <a:lnTo>
                    <a:pt x="199294" y="9685"/>
                  </a:lnTo>
                  <a:cubicBezTo>
                    <a:pt x="217518" y="-391"/>
                    <a:pt x="229576" y="-2593"/>
                    <a:pt x="235192" y="3023"/>
                  </a:cubicBezTo>
                  <a:cubicBezTo>
                    <a:pt x="242460" y="10291"/>
                    <a:pt x="236678" y="28074"/>
                    <a:pt x="218069" y="55879"/>
                  </a:cubicBezTo>
                  <a:cubicBezTo>
                    <a:pt x="200670" y="81866"/>
                    <a:pt x="174242" y="112974"/>
                    <a:pt x="143630" y="143587"/>
                  </a:cubicBezTo>
                  <a:cubicBezTo>
                    <a:pt x="94463" y="192809"/>
                    <a:pt x="35991" y="238121"/>
                    <a:pt x="11435" y="238121"/>
                  </a:cubicBezTo>
                  <a:close/>
                </a:path>
              </a:pathLst>
            </a:custGeom>
            <a:solidFill>
              <a:schemeClr val="tx1"/>
            </a:solid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136" name="Freeform: Shape 135">
              <a:extLst>
                <a:ext uri="{FF2B5EF4-FFF2-40B4-BE49-F238E27FC236}">
                  <a16:creationId xmlns:a16="http://schemas.microsoft.com/office/drawing/2014/main" id="{54BB9AF9-7497-4031-AEB8-D2CAB2DA3D48}"/>
                </a:ext>
              </a:extLst>
            </p:cNvPr>
            <p:cNvSpPr/>
            <p:nvPr/>
          </p:nvSpPr>
          <p:spPr>
            <a:xfrm>
              <a:off x="5340571" y="2174102"/>
              <a:ext cx="238220" cy="238107"/>
            </a:xfrm>
            <a:custGeom>
              <a:avLst/>
              <a:gdLst>
                <a:gd name="connsiteX0" fmla="*/ 226852 w 238220"/>
                <a:gd name="connsiteY0" fmla="*/ 238107 h 238107"/>
                <a:gd name="connsiteX1" fmla="*/ 94602 w 238220"/>
                <a:gd name="connsiteY1" fmla="*/ 143572 h 238107"/>
                <a:gd name="connsiteX2" fmla="*/ 20164 w 238220"/>
                <a:gd name="connsiteY2" fmla="*/ 55865 h 238107"/>
                <a:gd name="connsiteX3" fmla="*/ 3041 w 238220"/>
                <a:gd name="connsiteY3" fmla="*/ 3009 h 238107"/>
                <a:gd name="connsiteX4" fmla="*/ 38443 w 238220"/>
                <a:gd name="connsiteY4" fmla="*/ 9451 h 238107"/>
                <a:gd name="connsiteX5" fmla="*/ 35800 w 238220"/>
                <a:gd name="connsiteY5" fmla="*/ 14241 h 238107"/>
                <a:gd name="connsiteX6" fmla="*/ 6895 w 238220"/>
                <a:gd name="connsiteY6" fmla="*/ 6863 h 238107"/>
                <a:gd name="connsiteX7" fmla="*/ 24734 w 238220"/>
                <a:gd name="connsiteY7" fmla="*/ 52781 h 238107"/>
                <a:gd name="connsiteX8" fmla="*/ 98512 w 238220"/>
                <a:gd name="connsiteY8" fmla="*/ 139663 h 238107"/>
                <a:gd name="connsiteX9" fmla="*/ 231312 w 238220"/>
                <a:gd name="connsiteY9" fmla="*/ 231225 h 238107"/>
                <a:gd name="connsiteX10" fmla="*/ 222778 w 238220"/>
                <a:gd name="connsiteY10" fmla="*/ 200227 h 238107"/>
                <a:gd name="connsiteX11" fmla="*/ 227568 w 238220"/>
                <a:gd name="connsiteY11" fmla="*/ 197529 h 238107"/>
                <a:gd name="connsiteX12" fmla="*/ 235221 w 238220"/>
                <a:gd name="connsiteY12" fmla="*/ 235134 h 238107"/>
                <a:gd name="connsiteX13" fmla="*/ 226852 w 238220"/>
                <a:gd name="connsiteY13" fmla="*/ 238107 h 23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8220" h="238107">
                  <a:moveTo>
                    <a:pt x="226852" y="238107"/>
                  </a:moveTo>
                  <a:cubicBezTo>
                    <a:pt x="202296" y="238107"/>
                    <a:pt x="143824" y="192794"/>
                    <a:pt x="94602" y="143572"/>
                  </a:cubicBezTo>
                  <a:cubicBezTo>
                    <a:pt x="63990" y="112960"/>
                    <a:pt x="37562" y="81797"/>
                    <a:pt x="20164" y="55865"/>
                  </a:cubicBezTo>
                  <a:cubicBezTo>
                    <a:pt x="1554" y="28060"/>
                    <a:pt x="-4227" y="10277"/>
                    <a:pt x="3041" y="3009"/>
                  </a:cubicBezTo>
                  <a:cubicBezTo>
                    <a:pt x="8602" y="-2552"/>
                    <a:pt x="20549" y="-405"/>
                    <a:pt x="38443" y="9451"/>
                  </a:cubicBezTo>
                  <a:lnTo>
                    <a:pt x="35800" y="14241"/>
                  </a:lnTo>
                  <a:cubicBezTo>
                    <a:pt x="14107" y="2348"/>
                    <a:pt x="8216" y="5597"/>
                    <a:pt x="6895" y="6863"/>
                  </a:cubicBezTo>
                  <a:cubicBezTo>
                    <a:pt x="3151" y="10607"/>
                    <a:pt x="5849" y="24647"/>
                    <a:pt x="24734" y="52781"/>
                  </a:cubicBezTo>
                  <a:cubicBezTo>
                    <a:pt x="41912" y="78439"/>
                    <a:pt x="68119" y="109326"/>
                    <a:pt x="98512" y="139663"/>
                  </a:cubicBezTo>
                  <a:cubicBezTo>
                    <a:pt x="164636" y="205788"/>
                    <a:pt x="221567" y="240970"/>
                    <a:pt x="231312" y="231225"/>
                  </a:cubicBezTo>
                  <a:cubicBezTo>
                    <a:pt x="232688" y="229849"/>
                    <a:pt x="236047" y="223627"/>
                    <a:pt x="222778" y="200227"/>
                  </a:cubicBezTo>
                  <a:lnTo>
                    <a:pt x="227568" y="197529"/>
                  </a:lnTo>
                  <a:cubicBezTo>
                    <a:pt x="238414" y="216690"/>
                    <a:pt x="241002" y="229353"/>
                    <a:pt x="235221" y="235134"/>
                  </a:cubicBezTo>
                  <a:cubicBezTo>
                    <a:pt x="233239" y="237171"/>
                    <a:pt x="230376" y="238107"/>
                    <a:pt x="226852" y="238107"/>
                  </a:cubicBezTo>
                  <a:close/>
                </a:path>
              </a:pathLst>
            </a:custGeom>
            <a:solidFill>
              <a:srgbClr val="70BF49"/>
            </a:solidFill>
            <a:ln w="5492" cap="flat">
              <a:solidFill>
                <a:schemeClr val="bg2"/>
              </a:solid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137" name="Freeform: Shape 136">
              <a:extLst>
                <a:ext uri="{FF2B5EF4-FFF2-40B4-BE49-F238E27FC236}">
                  <a16:creationId xmlns:a16="http://schemas.microsoft.com/office/drawing/2014/main" id="{3A26E3A8-3DAE-43EA-945B-86DFD6F86831}"/>
                </a:ext>
              </a:extLst>
            </p:cNvPr>
            <p:cNvSpPr/>
            <p:nvPr/>
          </p:nvSpPr>
          <p:spPr>
            <a:xfrm>
              <a:off x="5440184" y="2317069"/>
              <a:ext cx="30722" cy="30722"/>
            </a:xfrm>
            <a:custGeom>
              <a:avLst/>
              <a:gdLst>
                <a:gd name="connsiteX0" fmla="*/ 30722 w 30722"/>
                <a:gd name="connsiteY0" fmla="*/ 15361 h 30722"/>
                <a:gd name="connsiteX1" fmla="*/ 15361 w 30722"/>
                <a:gd name="connsiteY1" fmla="*/ 30722 h 30722"/>
                <a:gd name="connsiteX2" fmla="*/ 0 w 30722"/>
                <a:gd name="connsiteY2" fmla="*/ 15361 h 30722"/>
                <a:gd name="connsiteX3" fmla="*/ 15361 w 30722"/>
                <a:gd name="connsiteY3" fmla="*/ 0 h 30722"/>
                <a:gd name="connsiteX4" fmla="*/ 30722 w 30722"/>
                <a:gd name="connsiteY4" fmla="*/ 15361 h 30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22" h="30722">
                  <a:moveTo>
                    <a:pt x="30722" y="15361"/>
                  </a:moveTo>
                  <a:cubicBezTo>
                    <a:pt x="30722" y="23845"/>
                    <a:pt x="23845" y="30722"/>
                    <a:pt x="15361" y="30722"/>
                  </a:cubicBezTo>
                  <a:cubicBezTo>
                    <a:pt x="6877" y="30722"/>
                    <a:pt x="0" y="23845"/>
                    <a:pt x="0" y="15361"/>
                  </a:cubicBezTo>
                  <a:cubicBezTo>
                    <a:pt x="0" y="6877"/>
                    <a:pt x="6877" y="0"/>
                    <a:pt x="15361" y="0"/>
                  </a:cubicBezTo>
                  <a:cubicBezTo>
                    <a:pt x="23845" y="0"/>
                    <a:pt x="30722" y="6877"/>
                    <a:pt x="30722" y="15361"/>
                  </a:cubicBezTo>
                  <a:close/>
                </a:path>
              </a:pathLst>
            </a:custGeom>
            <a:solidFill>
              <a:srgbClr val="1E4471"/>
            </a:solid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grpSp>
      <p:sp>
        <p:nvSpPr>
          <p:cNvPr id="23" name="Rectangle 22">
            <a:extLst>
              <a:ext uri="{FF2B5EF4-FFF2-40B4-BE49-F238E27FC236}">
                <a16:creationId xmlns:a16="http://schemas.microsoft.com/office/drawing/2014/main" id="{1C74C402-C606-4434-B448-7B22AEC3C707}"/>
              </a:ext>
            </a:extLst>
          </p:cNvPr>
          <p:cNvSpPr/>
          <p:nvPr/>
        </p:nvSpPr>
        <p:spPr>
          <a:xfrm>
            <a:off x="6489037" y="2178433"/>
            <a:ext cx="64533" cy="331813"/>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ea typeface="+mn-ea"/>
              <a:cs typeface="+mn-cs"/>
            </a:endParaRPr>
          </a:p>
        </p:txBody>
      </p:sp>
      <p:sp>
        <p:nvSpPr>
          <p:cNvPr id="109" name="Rectangle 108">
            <a:extLst>
              <a:ext uri="{FF2B5EF4-FFF2-40B4-BE49-F238E27FC236}">
                <a16:creationId xmlns:a16="http://schemas.microsoft.com/office/drawing/2014/main" id="{D288670C-9608-42D7-956D-1AC82C89A0F3}"/>
              </a:ext>
            </a:extLst>
          </p:cNvPr>
          <p:cNvSpPr/>
          <p:nvPr/>
        </p:nvSpPr>
        <p:spPr>
          <a:xfrm>
            <a:off x="5791407" y="2178433"/>
            <a:ext cx="64533" cy="331813"/>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ea typeface="+mn-ea"/>
              <a:cs typeface="+mn-cs"/>
            </a:endParaRPr>
          </a:p>
        </p:txBody>
      </p:sp>
      <p:sp>
        <p:nvSpPr>
          <p:cNvPr id="114" name="Rectangle 113">
            <a:extLst>
              <a:ext uri="{FF2B5EF4-FFF2-40B4-BE49-F238E27FC236}">
                <a16:creationId xmlns:a16="http://schemas.microsoft.com/office/drawing/2014/main" id="{D65A2B17-9F47-4AAC-858E-FD9427E7F576}"/>
              </a:ext>
            </a:extLst>
          </p:cNvPr>
          <p:cNvSpPr/>
          <p:nvPr/>
        </p:nvSpPr>
        <p:spPr>
          <a:xfrm>
            <a:off x="3277255" y="822286"/>
            <a:ext cx="1138209" cy="566352"/>
          </a:xfrm>
          <a:prstGeom prst="rect">
            <a:avLst/>
          </a:prstGeom>
        </p:spPr>
        <p:txBody>
          <a:bodyPr wrap="square" lIns="0" tIns="0" rIns="0" bIns="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D274D"/>
                </a:solidFill>
                <a:effectLst/>
                <a:uLnTx/>
                <a:uFillTx/>
                <a:latin typeface="+mn-lt"/>
                <a:ea typeface="ＭＳ Ｐゴシック" charset="0"/>
              </a:rPr>
              <a:t>Continuous Trust Verification</a:t>
            </a:r>
          </a:p>
        </p:txBody>
      </p:sp>
      <p:grpSp>
        <p:nvGrpSpPr>
          <p:cNvPr id="25" name="Group 24">
            <a:extLst>
              <a:ext uri="{FF2B5EF4-FFF2-40B4-BE49-F238E27FC236}">
                <a16:creationId xmlns:a16="http://schemas.microsoft.com/office/drawing/2014/main" id="{E8EBA03B-59C5-4E0B-A32C-A292F409B145}"/>
              </a:ext>
            </a:extLst>
          </p:cNvPr>
          <p:cNvGrpSpPr/>
          <p:nvPr/>
        </p:nvGrpSpPr>
        <p:grpSpPr>
          <a:xfrm rot="16200000">
            <a:off x="7002862" y="2257828"/>
            <a:ext cx="225573" cy="77743"/>
            <a:chOff x="6969787" y="2368504"/>
            <a:chExt cx="225573" cy="77743"/>
          </a:xfrm>
          <a:solidFill>
            <a:schemeClr val="bg2"/>
          </a:solidFill>
        </p:grpSpPr>
        <p:sp>
          <p:nvSpPr>
            <p:cNvPr id="118" name="Freeform: Shape 117">
              <a:extLst>
                <a:ext uri="{FF2B5EF4-FFF2-40B4-BE49-F238E27FC236}">
                  <a16:creationId xmlns:a16="http://schemas.microsoft.com/office/drawing/2014/main" id="{76610752-2934-415E-A69D-8AE5F9D6E4B0}"/>
                </a:ext>
              </a:extLst>
            </p:cNvPr>
            <p:cNvSpPr/>
            <p:nvPr/>
          </p:nvSpPr>
          <p:spPr>
            <a:xfrm>
              <a:off x="7109579" y="2368504"/>
              <a:ext cx="30502" cy="2863"/>
            </a:xfrm>
            <a:custGeom>
              <a:avLst/>
              <a:gdLst>
                <a:gd name="connsiteX0" fmla="*/ 0 w 30502"/>
                <a:gd name="connsiteY0" fmla="*/ 0 h 2863"/>
                <a:gd name="connsiteX1" fmla="*/ 30502 w 30502"/>
                <a:gd name="connsiteY1" fmla="*/ 0 h 2863"/>
                <a:gd name="connsiteX2" fmla="*/ 30502 w 30502"/>
                <a:gd name="connsiteY2" fmla="*/ 2863 h 2863"/>
                <a:gd name="connsiteX3" fmla="*/ 0 w 30502"/>
                <a:gd name="connsiteY3" fmla="*/ 2863 h 2863"/>
              </a:gdLst>
              <a:ahLst/>
              <a:cxnLst>
                <a:cxn ang="0">
                  <a:pos x="connsiteX0" y="connsiteY0"/>
                </a:cxn>
                <a:cxn ang="0">
                  <a:pos x="connsiteX1" y="connsiteY1"/>
                </a:cxn>
                <a:cxn ang="0">
                  <a:pos x="connsiteX2" y="connsiteY2"/>
                </a:cxn>
                <a:cxn ang="0">
                  <a:pos x="connsiteX3" y="connsiteY3"/>
                </a:cxn>
              </a:cxnLst>
              <a:rect l="l" t="t" r="r" b="b"/>
              <a:pathLst>
                <a:path w="30502" h="2863">
                  <a:moveTo>
                    <a:pt x="0" y="0"/>
                  </a:moveTo>
                  <a:lnTo>
                    <a:pt x="30502" y="0"/>
                  </a:lnTo>
                  <a:lnTo>
                    <a:pt x="30502" y="2863"/>
                  </a:lnTo>
                  <a:lnTo>
                    <a:pt x="0" y="2863"/>
                  </a:lnTo>
                  <a:close/>
                </a:path>
              </a:pathLst>
            </a:custGeom>
            <a:grp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119" name="Freeform: Shape 118">
              <a:extLst>
                <a:ext uri="{FF2B5EF4-FFF2-40B4-BE49-F238E27FC236}">
                  <a16:creationId xmlns:a16="http://schemas.microsoft.com/office/drawing/2014/main" id="{9C6B7964-4DE8-443A-9C9A-94F124C24B5D}"/>
                </a:ext>
              </a:extLst>
            </p:cNvPr>
            <p:cNvSpPr/>
            <p:nvPr/>
          </p:nvSpPr>
          <p:spPr>
            <a:xfrm>
              <a:off x="7062119" y="2393996"/>
              <a:ext cx="97342" cy="2863"/>
            </a:xfrm>
            <a:custGeom>
              <a:avLst/>
              <a:gdLst>
                <a:gd name="connsiteX0" fmla="*/ 0 w 97342"/>
                <a:gd name="connsiteY0" fmla="*/ 0 h 2863"/>
                <a:gd name="connsiteX1" fmla="*/ 97343 w 97342"/>
                <a:gd name="connsiteY1" fmla="*/ 0 h 2863"/>
                <a:gd name="connsiteX2" fmla="*/ 97343 w 97342"/>
                <a:gd name="connsiteY2" fmla="*/ 2863 h 2863"/>
                <a:gd name="connsiteX3" fmla="*/ 0 w 97342"/>
                <a:gd name="connsiteY3" fmla="*/ 2863 h 2863"/>
              </a:gdLst>
              <a:ahLst/>
              <a:cxnLst>
                <a:cxn ang="0">
                  <a:pos x="connsiteX0" y="connsiteY0"/>
                </a:cxn>
                <a:cxn ang="0">
                  <a:pos x="connsiteX1" y="connsiteY1"/>
                </a:cxn>
                <a:cxn ang="0">
                  <a:pos x="connsiteX2" y="connsiteY2"/>
                </a:cxn>
                <a:cxn ang="0">
                  <a:pos x="connsiteX3" y="connsiteY3"/>
                </a:cxn>
              </a:cxnLst>
              <a:rect l="l" t="t" r="r" b="b"/>
              <a:pathLst>
                <a:path w="97342" h="2863">
                  <a:moveTo>
                    <a:pt x="0" y="0"/>
                  </a:moveTo>
                  <a:lnTo>
                    <a:pt x="97343" y="0"/>
                  </a:lnTo>
                  <a:lnTo>
                    <a:pt x="97343" y="2863"/>
                  </a:lnTo>
                  <a:lnTo>
                    <a:pt x="0" y="2863"/>
                  </a:lnTo>
                  <a:close/>
                </a:path>
              </a:pathLst>
            </a:custGeom>
            <a:grp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138" name="Freeform: Shape 137">
              <a:extLst>
                <a:ext uri="{FF2B5EF4-FFF2-40B4-BE49-F238E27FC236}">
                  <a16:creationId xmlns:a16="http://schemas.microsoft.com/office/drawing/2014/main" id="{C2A779B0-F137-4AC6-B93A-482E363D7999}"/>
                </a:ext>
              </a:extLst>
            </p:cNvPr>
            <p:cNvSpPr/>
            <p:nvPr/>
          </p:nvSpPr>
          <p:spPr>
            <a:xfrm>
              <a:off x="7014549" y="2419488"/>
              <a:ext cx="158842" cy="2863"/>
            </a:xfrm>
            <a:custGeom>
              <a:avLst/>
              <a:gdLst>
                <a:gd name="connsiteX0" fmla="*/ 0 w 158842"/>
                <a:gd name="connsiteY0" fmla="*/ 0 h 2863"/>
                <a:gd name="connsiteX1" fmla="*/ 158843 w 158842"/>
                <a:gd name="connsiteY1" fmla="*/ 0 h 2863"/>
                <a:gd name="connsiteX2" fmla="*/ 158843 w 158842"/>
                <a:gd name="connsiteY2" fmla="*/ 2863 h 2863"/>
                <a:gd name="connsiteX3" fmla="*/ 0 w 158842"/>
                <a:gd name="connsiteY3" fmla="*/ 2863 h 2863"/>
              </a:gdLst>
              <a:ahLst/>
              <a:cxnLst>
                <a:cxn ang="0">
                  <a:pos x="connsiteX0" y="connsiteY0"/>
                </a:cxn>
                <a:cxn ang="0">
                  <a:pos x="connsiteX1" y="connsiteY1"/>
                </a:cxn>
                <a:cxn ang="0">
                  <a:pos x="connsiteX2" y="connsiteY2"/>
                </a:cxn>
                <a:cxn ang="0">
                  <a:pos x="connsiteX3" y="connsiteY3"/>
                </a:cxn>
              </a:cxnLst>
              <a:rect l="l" t="t" r="r" b="b"/>
              <a:pathLst>
                <a:path w="158842" h="2863">
                  <a:moveTo>
                    <a:pt x="0" y="0"/>
                  </a:moveTo>
                  <a:lnTo>
                    <a:pt x="158843" y="0"/>
                  </a:lnTo>
                  <a:lnTo>
                    <a:pt x="158843" y="2863"/>
                  </a:lnTo>
                  <a:lnTo>
                    <a:pt x="0" y="2863"/>
                  </a:lnTo>
                  <a:close/>
                </a:path>
              </a:pathLst>
            </a:custGeom>
            <a:grp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141" name="Freeform: Shape 140">
              <a:extLst>
                <a:ext uri="{FF2B5EF4-FFF2-40B4-BE49-F238E27FC236}">
                  <a16:creationId xmlns:a16="http://schemas.microsoft.com/office/drawing/2014/main" id="{1BB4DEDF-6307-471D-9945-416705C9E30B}"/>
                </a:ext>
              </a:extLst>
            </p:cNvPr>
            <p:cNvSpPr/>
            <p:nvPr/>
          </p:nvSpPr>
          <p:spPr>
            <a:xfrm>
              <a:off x="6969787" y="2443384"/>
              <a:ext cx="225573" cy="2863"/>
            </a:xfrm>
            <a:custGeom>
              <a:avLst/>
              <a:gdLst>
                <a:gd name="connsiteX0" fmla="*/ 0 w 225573"/>
                <a:gd name="connsiteY0" fmla="*/ 0 h 2863"/>
                <a:gd name="connsiteX1" fmla="*/ 225573 w 225573"/>
                <a:gd name="connsiteY1" fmla="*/ 0 h 2863"/>
                <a:gd name="connsiteX2" fmla="*/ 225573 w 225573"/>
                <a:gd name="connsiteY2" fmla="*/ 2863 h 2863"/>
                <a:gd name="connsiteX3" fmla="*/ 0 w 225573"/>
                <a:gd name="connsiteY3" fmla="*/ 2863 h 2863"/>
              </a:gdLst>
              <a:ahLst/>
              <a:cxnLst>
                <a:cxn ang="0">
                  <a:pos x="connsiteX0" y="connsiteY0"/>
                </a:cxn>
                <a:cxn ang="0">
                  <a:pos x="connsiteX1" y="connsiteY1"/>
                </a:cxn>
                <a:cxn ang="0">
                  <a:pos x="connsiteX2" y="connsiteY2"/>
                </a:cxn>
                <a:cxn ang="0">
                  <a:pos x="connsiteX3" y="connsiteY3"/>
                </a:cxn>
              </a:cxnLst>
              <a:rect l="l" t="t" r="r" b="b"/>
              <a:pathLst>
                <a:path w="225573" h="2863">
                  <a:moveTo>
                    <a:pt x="0" y="0"/>
                  </a:moveTo>
                  <a:lnTo>
                    <a:pt x="225573" y="0"/>
                  </a:lnTo>
                  <a:lnTo>
                    <a:pt x="225573" y="2863"/>
                  </a:lnTo>
                  <a:lnTo>
                    <a:pt x="0" y="2863"/>
                  </a:lnTo>
                  <a:close/>
                </a:path>
              </a:pathLst>
            </a:custGeom>
            <a:grpFill/>
            <a:ln w="5492"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grpSp>
      <p:grpSp>
        <p:nvGrpSpPr>
          <p:cNvPr id="61" name="Group 60">
            <a:extLst>
              <a:ext uri="{FF2B5EF4-FFF2-40B4-BE49-F238E27FC236}">
                <a16:creationId xmlns:a16="http://schemas.microsoft.com/office/drawing/2014/main" id="{4D17BD91-5F36-49DE-875B-7392EAB84CF5}"/>
              </a:ext>
            </a:extLst>
          </p:cNvPr>
          <p:cNvGrpSpPr/>
          <p:nvPr/>
        </p:nvGrpSpPr>
        <p:grpSpPr>
          <a:xfrm>
            <a:off x="6698224" y="2121965"/>
            <a:ext cx="424093" cy="304510"/>
            <a:chOff x="2660666" y="2759416"/>
            <a:chExt cx="1085186" cy="779193"/>
          </a:xfrm>
        </p:grpSpPr>
        <p:sp>
          <p:nvSpPr>
            <p:cNvPr id="62" name="Freeform: Shape 61">
              <a:extLst>
                <a:ext uri="{FF2B5EF4-FFF2-40B4-BE49-F238E27FC236}">
                  <a16:creationId xmlns:a16="http://schemas.microsoft.com/office/drawing/2014/main" id="{49D5E600-31AF-4CF0-B918-EF401E54AFFF}"/>
                </a:ext>
              </a:extLst>
            </p:cNvPr>
            <p:cNvSpPr/>
            <p:nvPr/>
          </p:nvSpPr>
          <p:spPr>
            <a:xfrm>
              <a:off x="2660666" y="2810932"/>
              <a:ext cx="1021153" cy="727677"/>
            </a:xfrm>
            <a:custGeom>
              <a:avLst/>
              <a:gdLst>
                <a:gd name="connsiteX0" fmla="*/ 559995 w 1021153"/>
                <a:gd name="connsiteY0" fmla="*/ 0 h 727678"/>
                <a:gd name="connsiteX1" fmla="*/ 817530 w 1021153"/>
                <a:gd name="connsiteY1" fmla="*/ 172405 h 727678"/>
                <a:gd name="connsiteX2" fmla="*/ 818388 w 1021153"/>
                <a:gd name="connsiteY2" fmla="*/ 175410 h 727678"/>
                <a:gd name="connsiteX3" fmla="*/ 850437 w 1021153"/>
                <a:gd name="connsiteY3" fmla="*/ 185425 h 727678"/>
                <a:gd name="connsiteX4" fmla="*/ 997920 w 1021153"/>
                <a:gd name="connsiteY4" fmla="*/ 557050 h 727678"/>
                <a:gd name="connsiteX5" fmla="*/ 741414 w 1021153"/>
                <a:gd name="connsiteY5" fmla="*/ 727678 h 727678"/>
                <a:gd name="connsiteX6" fmla="*/ 525514 w 1021153"/>
                <a:gd name="connsiteY6" fmla="*/ 624951 h 727678"/>
                <a:gd name="connsiteX7" fmla="*/ 512208 w 1021153"/>
                <a:gd name="connsiteY7" fmla="*/ 602774 h 727678"/>
                <a:gd name="connsiteX8" fmla="*/ 512208 w 1021153"/>
                <a:gd name="connsiteY8" fmla="*/ 602774 h 727678"/>
                <a:gd name="connsiteX9" fmla="*/ 121926 w 1021153"/>
                <a:gd name="connsiteY9" fmla="*/ 675429 h 727678"/>
                <a:gd name="connsiteX10" fmla="*/ 49270 w 1021153"/>
                <a:gd name="connsiteY10" fmla="*/ 285147 h 727678"/>
                <a:gd name="connsiteX11" fmla="*/ 280141 w 1021153"/>
                <a:gd name="connsiteY11" fmla="*/ 163248 h 727678"/>
                <a:gd name="connsiteX12" fmla="*/ 305608 w 1021153"/>
                <a:gd name="connsiteY12" fmla="*/ 165824 h 727678"/>
                <a:gd name="connsiteX13" fmla="*/ 327928 w 1021153"/>
                <a:gd name="connsiteY13" fmla="*/ 124475 h 727678"/>
                <a:gd name="connsiteX14" fmla="*/ 559995 w 1021153"/>
                <a:gd name="connsiteY14" fmla="*/ 0 h 72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1153" h="727678">
                  <a:moveTo>
                    <a:pt x="559995" y="0"/>
                  </a:moveTo>
                  <a:cubicBezTo>
                    <a:pt x="672729" y="351"/>
                    <a:pt x="774247" y="68311"/>
                    <a:pt x="817530" y="172405"/>
                  </a:cubicBezTo>
                  <a:lnTo>
                    <a:pt x="818388" y="175410"/>
                  </a:lnTo>
                  <a:lnTo>
                    <a:pt x="850437" y="185425"/>
                  </a:lnTo>
                  <a:cubicBezTo>
                    <a:pt x="993785" y="247321"/>
                    <a:pt x="1059815" y="413702"/>
                    <a:pt x="997920" y="557050"/>
                  </a:cubicBezTo>
                  <a:cubicBezTo>
                    <a:pt x="953637" y="659608"/>
                    <a:pt x="853117" y="726474"/>
                    <a:pt x="741414" y="727678"/>
                  </a:cubicBezTo>
                  <a:cubicBezTo>
                    <a:pt x="657655" y="727673"/>
                    <a:pt x="578353" y="689940"/>
                    <a:pt x="525514" y="624951"/>
                  </a:cubicBezTo>
                  <a:lnTo>
                    <a:pt x="512208" y="602774"/>
                  </a:lnTo>
                  <a:lnTo>
                    <a:pt x="512208" y="602774"/>
                  </a:lnTo>
                  <a:cubicBezTo>
                    <a:pt x="424498" y="730612"/>
                    <a:pt x="249762" y="763140"/>
                    <a:pt x="121926" y="675429"/>
                  </a:cubicBezTo>
                  <a:cubicBezTo>
                    <a:pt x="-5911" y="587718"/>
                    <a:pt x="-38440" y="412984"/>
                    <a:pt x="49270" y="285147"/>
                  </a:cubicBezTo>
                  <a:cubicBezTo>
                    <a:pt x="101500" y="209022"/>
                    <a:pt x="187822" y="163446"/>
                    <a:pt x="280141" y="163248"/>
                  </a:cubicBezTo>
                  <a:lnTo>
                    <a:pt x="305608" y="165824"/>
                  </a:lnTo>
                  <a:lnTo>
                    <a:pt x="327928" y="124475"/>
                  </a:lnTo>
                  <a:cubicBezTo>
                    <a:pt x="379568" y="46750"/>
                    <a:pt x="466679" y="26"/>
                    <a:pt x="559995" y="0"/>
                  </a:cubicBezTo>
                  <a:close/>
                </a:path>
              </a:pathLst>
            </a:custGeom>
            <a:noFill/>
            <a:ln w="7144" cap="flat">
              <a:solidFill>
                <a:srgbClr val="0D274D"/>
              </a:solidFill>
              <a:prstDash val="solid"/>
              <a:round/>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sp>
          <p:nvSpPr>
            <p:cNvPr id="63" name="Freeform: Shape 62">
              <a:extLst>
                <a:ext uri="{FF2B5EF4-FFF2-40B4-BE49-F238E27FC236}">
                  <a16:creationId xmlns:a16="http://schemas.microsoft.com/office/drawing/2014/main" id="{5A31142D-4516-4DE0-AAD5-5D3C44A14356}"/>
                </a:ext>
              </a:extLst>
            </p:cNvPr>
            <p:cNvSpPr/>
            <p:nvPr/>
          </p:nvSpPr>
          <p:spPr>
            <a:xfrm>
              <a:off x="2704342" y="2759416"/>
              <a:ext cx="1041510" cy="742702"/>
            </a:xfrm>
            <a:custGeom>
              <a:avLst/>
              <a:gdLst>
                <a:gd name="connsiteX0" fmla="*/ 570184 w 1041510"/>
                <a:gd name="connsiteY0" fmla="*/ 0 h 742701"/>
                <a:gd name="connsiteX1" fmla="*/ 833299 w 1041510"/>
                <a:gd name="connsiteY1" fmla="*/ 175982 h 742701"/>
                <a:gd name="connsiteX2" fmla="*/ 834157 w 1041510"/>
                <a:gd name="connsiteY2" fmla="*/ 178987 h 742701"/>
                <a:gd name="connsiteX3" fmla="*/ 866921 w 1041510"/>
                <a:gd name="connsiteY3" fmla="*/ 189288 h 742701"/>
                <a:gd name="connsiteX4" fmla="*/ 1017985 w 1041510"/>
                <a:gd name="connsiteY4" fmla="*/ 568199 h 742701"/>
                <a:gd name="connsiteX5" fmla="*/ 755752 w 1041510"/>
                <a:gd name="connsiteY5" fmla="*/ 742701 h 742701"/>
                <a:gd name="connsiteX6" fmla="*/ 535274 w 1041510"/>
                <a:gd name="connsiteY6" fmla="*/ 637828 h 742701"/>
                <a:gd name="connsiteX7" fmla="*/ 521682 w 1041510"/>
                <a:gd name="connsiteY7" fmla="*/ 615222 h 742701"/>
                <a:gd name="connsiteX8" fmla="*/ 521682 w 1041510"/>
                <a:gd name="connsiteY8" fmla="*/ 615222 h 742701"/>
                <a:gd name="connsiteX9" fmla="*/ 123638 w 1041510"/>
                <a:gd name="connsiteY9" fmla="*/ 688190 h 742701"/>
                <a:gd name="connsiteX10" fmla="*/ 50670 w 1041510"/>
                <a:gd name="connsiteY10" fmla="*/ 290146 h 742701"/>
                <a:gd name="connsiteX11" fmla="*/ 284464 w 1041510"/>
                <a:gd name="connsiteY11" fmla="*/ 166539 h 742701"/>
                <a:gd name="connsiteX12" fmla="*/ 311362 w 1041510"/>
                <a:gd name="connsiteY12" fmla="*/ 169257 h 742701"/>
                <a:gd name="connsiteX13" fmla="*/ 333968 w 1041510"/>
                <a:gd name="connsiteY13" fmla="*/ 127050 h 742701"/>
                <a:gd name="connsiteX14" fmla="*/ 570184 w 1041510"/>
                <a:gd name="connsiteY14" fmla="*/ 0 h 742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510" h="742701">
                  <a:moveTo>
                    <a:pt x="570184" y="0"/>
                  </a:moveTo>
                  <a:cubicBezTo>
                    <a:pt x="685303" y="393"/>
                    <a:pt x="788978" y="69735"/>
                    <a:pt x="833299" y="175982"/>
                  </a:cubicBezTo>
                  <a:lnTo>
                    <a:pt x="834157" y="178987"/>
                  </a:lnTo>
                  <a:lnTo>
                    <a:pt x="866921" y="189288"/>
                  </a:lnTo>
                  <a:cubicBezTo>
                    <a:pt x="1013269" y="252207"/>
                    <a:pt x="1080904" y="421850"/>
                    <a:pt x="1017985" y="568199"/>
                  </a:cubicBezTo>
                  <a:cubicBezTo>
                    <a:pt x="972855" y="673173"/>
                    <a:pt x="870012" y="741610"/>
                    <a:pt x="755752" y="742701"/>
                  </a:cubicBezTo>
                  <a:cubicBezTo>
                    <a:pt x="670212" y="742749"/>
                    <a:pt x="589210" y="704220"/>
                    <a:pt x="535274" y="637828"/>
                  </a:cubicBezTo>
                  <a:lnTo>
                    <a:pt x="521682" y="615222"/>
                  </a:lnTo>
                  <a:lnTo>
                    <a:pt x="521682" y="615222"/>
                  </a:lnTo>
                  <a:cubicBezTo>
                    <a:pt x="431914" y="745288"/>
                    <a:pt x="253704" y="777956"/>
                    <a:pt x="123638" y="688190"/>
                  </a:cubicBezTo>
                  <a:cubicBezTo>
                    <a:pt x="-6428" y="598422"/>
                    <a:pt x="-39097" y="420212"/>
                    <a:pt x="50670" y="290146"/>
                  </a:cubicBezTo>
                  <a:cubicBezTo>
                    <a:pt x="103746" y="213243"/>
                    <a:pt x="191026" y="167099"/>
                    <a:pt x="284464" y="166539"/>
                  </a:cubicBezTo>
                  <a:lnTo>
                    <a:pt x="311362" y="169257"/>
                  </a:lnTo>
                  <a:lnTo>
                    <a:pt x="333968" y="127050"/>
                  </a:lnTo>
                  <a:cubicBezTo>
                    <a:pt x="386596" y="47962"/>
                    <a:pt x="475187" y="313"/>
                    <a:pt x="570184" y="0"/>
                  </a:cubicBezTo>
                  <a:close/>
                </a:path>
              </a:pathLst>
            </a:custGeom>
            <a:solidFill>
              <a:schemeClr val="accent1">
                <a:alpha val="80000"/>
              </a:schemeClr>
            </a:solidFill>
            <a:ln w="14288"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mn-lt"/>
                <a:ea typeface="ＭＳ Ｐゴシック" charset="0"/>
              </a:endParaRPr>
            </a:p>
          </p:txBody>
        </p:sp>
      </p:grpSp>
      <p:sp>
        <p:nvSpPr>
          <p:cNvPr id="180" name="Oval 179">
            <a:extLst>
              <a:ext uri="{FF2B5EF4-FFF2-40B4-BE49-F238E27FC236}">
                <a16:creationId xmlns:a16="http://schemas.microsoft.com/office/drawing/2014/main" id="{4350ECEA-68EA-49CB-9E96-ECD2BB059D93}"/>
              </a:ext>
            </a:extLst>
          </p:cNvPr>
          <p:cNvSpPr>
            <a:spLocks noChangeAspect="1"/>
          </p:cNvSpPr>
          <p:nvPr/>
        </p:nvSpPr>
        <p:spPr>
          <a:xfrm>
            <a:off x="4428095" y="2393322"/>
            <a:ext cx="298079" cy="298245"/>
          </a:xfrm>
          <a:prstGeom prst="ellipse">
            <a:avLst/>
          </a:prstGeom>
          <a:solidFill>
            <a:schemeClr val="accent1">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ea typeface="+mn-ea"/>
              <a:cs typeface="+mn-cs"/>
            </a:endParaRPr>
          </a:p>
        </p:txBody>
      </p:sp>
      <p:sp>
        <p:nvSpPr>
          <p:cNvPr id="177" name="Oval 176">
            <a:extLst>
              <a:ext uri="{FF2B5EF4-FFF2-40B4-BE49-F238E27FC236}">
                <a16:creationId xmlns:a16="http://schemas.microsoft.com/office/drawing/2014/main" id="{DA815DA8-9543-4CCC-8D09-8BEE668EB88E}"/>
              </a:ext>
            </a:extLst>
          </p:cNvPr>
          <p:cNvSpPr>
            <a:spLocks noChangeAspect="1"/>
          </p:cNvSpPr>
          <p:nvPr/>
        </p:nvSpPr>
        <p:spPr>
          <a:xfrm>
            <a:off x="6448654" y="547921"/>
            <a:ext cx="298079" cy="298245"/>
          </a:xfrm>
          <a:prstGeom prst="ellipse">
            <a:avLst/>
          </a:prstGeom>
          <a:solidFill>
            <a:schemeClr val="accent4">
              <a:alpha val="6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ea typeface="+mn-ea"/>
              <a:cs typeface="+mn-cs"/>
            </a:endParaRPr>
          </a:p>
        </p:txBody>
      </p:sp>
      <p:sp>
        <p:nvSpPr>
          <p:cNvPr id="108" name="Rectangle 107">
            <a:extLst>
              <a:ext uri="{FF2B5EF4-FFF2-40B4-BE49-F238E27FC236}">
                <a16:creationId xmlns:a16="http://schemas.microsoft.com/office/drawing/2014/main" id="{2141DA26-624C-4F1B-9FBD-8EDC524ED399}"/>
              </a:ext>
            </a:extLst>
          </p:cNvPr>
          <p:cNvSpPr/>
          <p:nvPr/>
        </p:nvSpPr>
        <p:spPr>
          <a:xfrm rot="5400000">
            <a:off x="6140222" y="2528521"/>
            <a:ext cx="64533" cy="331813"/>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ea typeface="+mn-ea"/>
              <a:cs typeface="+mn-cs"/>
            </a:endParaRPr>
          </a:p>
        </p:txBody>
      </p:sp>
      <p:grpSp>
        <p:nvGrpSpPr>
          <p:cNvPr id="81" name="Graphic 1">
            <a:extLst>
              <a:ext uri="{FF2B5EF4-FFF2-40B4-BE49-F238E27FC236}">
                <a16:creationId xmlns:a16="http://schemas.microsoft.com/office/drawing/2014/main" id="{FD2F915F-52F2-4DA1-8145-488DA4F1032D}"/>
              </a:ext>
            </a:extLst>
          </p:cNvPr>
          <p:cNvGrpSpPr/>
          <p:nvPr/>
        </p:nvGrpSpPr>
        <p:grpSpPr>
          <a:xfrm>
            <a:off x="4596499" y="629899"/>
            <a:ext cx="888743" cy="888945"/>
            <a:chOff x="3453884" y="801171"/>
            <a:chExt cx="2092880" cy="2093357"/>
          </a:xfrm>
          <a:solidFill>
            <a:srgbClr val="6CBD4B"/>
          </a:solidFill>
        </p:grpSpPr>
        <p:sp>
          <p:nvSpPr>
            <p:cNvPr id="117" name="Freeform: Shape 116">
              <a:extLst>
                <a:ext uri="{FF2B5EF4-FFF2-40B4-BE49-F238E27FC236}">
                  <a16:creationId xmlns:a16="http://schemas.microsoft.com/office/drawing/2014/main" id="{E2CD490D-2EA5-4FCC-A323-61C95C4CBF91}"/>
                </a:ext>
              </a:extLst>
            </p:cNvPr>
            <p:cNvSpPr/>
            <p:nvPr/>
          </p:nvSpPr>
          <p:spPr>
            <a:xfrm>
              <a:off x="4134921" y="1482623"/>
              <a:ext cx="1350882" cy="1350944"/>
            </a:xfrm>
            <a:custGeom>
              <a:avLst/>
              <a:gdLst>
                <a:gd name="connsiteX0" fmla="*/ 1324332 w 1350882"/>
                <a:gd name="connsiteY0" fmla="*/ 4229 h 1350944"/>
                <a:gd name="connsiteX1" fmla="*/ 4643 w 1350882"/>
                <a:gd name="connsiteY1" fmla="*/ 1324394 h 1350944"/>
                <a:gd name="connsiteX2" fmla="*/ 4643 w 1350882"/>
                <a:gd name="connsiteY2" fmla="*/ 1346301 h 1350944"/>
                <a:gd name="connsiteX3" fmla="*/ 26551 w 1350882"/>
                <a:gd name="connsiteY3" fmla="*/ 1346301 h 1350944"/>
                <a:gd name="connsiteX4" fmla="*/ 1346240 w 1350882"/>
                <a:gd name="connsiteY4" fmla="*/ 26612 h 1350944"/>
                <a:gd name="connsiteX5" fmla="*/ 1346240 w 1350882"/>
                <a:gd name="connsiteY5" fmla="*/ 4705 h 1350944"/>
                <a:gd name="connsiteX6" fmla="*/ 1324332 w 1350882"/>
                <a:gd name="connsiteY6" fmla="*/ 4229 h 1350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2" h="1350944">
                  <a:moveTo>
                    <a:pt x="1324332" y="4229"/>
                  </a:moveTo>
                  <a:lnTo>
                    <a:pt x="4643" y="1324394"/>
                  </a:lnTo>
                  <a:cubicBezTo>
                    <a:pt x="-1548" y="1330585"/>
                    <a:pt x="-1548" y="1340110"/>
                    <a:pt x="4643" y="1346301"/>
                  </a:cubicBezTo>
                  <a:cubicBezTo>
                    <a:pt x="10835" y="1352492"/>
                    <a:pt x="20360" y="1352492"/>
                    <a:pt x="26551" y="1346301"/>
                  </a:cubicBezTo>
                  <a:lnTo>
                    <a:pt x="1346240" y="26612"/>
                  </a:lnTo>
                  <a:cubicBezTo>
                    <a:pt x="1352431" y="20421"/>
                    <a:pt x="1352431" y="10896"/>
                    <a:pt x="1346240" y="4705"/>
                  </a:cubicBezTo>
                  <a:cubicBezTo>
                    <a:pt x="1340048" y="-1486"/>
                    <a:pt x="1330523" y="-1486"/>
                    <a:pt x="1324332" y="4229"/>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20" name="Freeform: Shape 119">
              <a:extLst>
                <a:ext uri="{FF2B5EF4-FFF2-40B4-BE49-F238E27FC236}">
                  <a16:creationId xmlns:a16="http://schemas.microsoft.com/office/drawing/2014/main" id="{AD50022E-2919-40A3-AB81-4E4D0754BE81}"/>
                </a:ext>
              </a:extLst>
            </p:cNvPr>
            <p:cNvSpPr/>
            <p:nvPr/>
          </p:nvSpPr>
          <p:spPr>
            <a:xfrm>
              <a:off x="4037766" y="1385411"/>
              <a:ext cx="1407556" cy="1407199"/>
            </a:xfrm>
            <a:custGeom>
              <a:avLst/>
              <a:gdLst>
                <a:gd name="connsiteX0" fmla="*/ 1381006 w 1407556"/>
                <a:gd name="connsiteY0" fmla="*/ 4286 h 1407199"/>
                <a:gd name="connsiteX1" fmla="*/ 4643 w 1407556"/>
                <a:gd name="connsiteY1" fmla="*/ 1380649 h 1407199"/>
                <a:gd name="connsiteX2" fmla="*/ 4643 w 1407556"/>
                <a:gd name="connsiteY2" fmla="*/ 1402556 h 1407199"/>
                <a:gd name="connsiteX3" fmla="*/ 26551 w 1407556"/>
                <a:gd name="connsiteY3" fmla="*/ 1402556 h 1407199"/>
                <a:gd name="connsiteX4" fmla="*/ 1402914 w 1407556"/>
                <a:gd name="connsiteY4" fmla="*/ 26194 h 1407199"/>
                <a:gd name="connsiteX5" fmla="*/ 1402914 w 1407556"/>
                <a:gd name="connsiteY5" fmla="*/ 4286 h 1407199"/>
                <a:gd name="connsiteX6" fmla="*/ 1381006 w 1407556"/>
                <a:gd name="connsiteY6" fmla="*/ 4286 h 140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199">
                  <a:moveTo>
                    <a:pt x="1381006" y="4286"/>
                  </a:moveTo>
                  <a:lnTo>
                    <a:pt x="4643" y="1380649"/>
                  </a:lnTo>
                  <a:cubicBezTo>
                    <a:pt x="-1548" y="1386840"/>
                    <a:pt x="-1548" y="1396365"/>
                    <a:pt x="4643" y="1402556"/>
                  </a:cubicBezTo>
                  <a:cubicBezTo>
                    <a:pt x="10835" y="1408748"/>
                    <a:pt x="20360" y="1408748"/>
                    <a:pt x="26551" y="1402556"/>
                  </a:cubicBezTo>
                  <a:lnTo>
                    <a:pt x="1402914" y="26194"/>
                  </a:lnTo>
                  <a:cubicBezTo>
                    <a:pt x="1409105" y="20003"/>
                    <a:pt x="1409105" y="10478"/>
                    <a:pt x="1402914" y="4286"/>
                  </a:cubicBezTo>
                  <a:cubicBezTo>
                    <a:pt x="1396722" y="-1429"/>
                    <a:pt x="1386721" y="-1429"/>
                    <a:pt x="1381006" y="4286"/>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42" name="Freeform: Shape 141">
              <a:extLst>
                <a:ext uri="{FF2B5EF4-FFF2-40B4-BE49-F238E27FC236}">
                  <a16:creationId xmlns:a16="http://schemas.microsoft.com/office/drawing/2014/main" id="{1B293599-2C82-4501-A074-9A426FB1B644}"/>
                </a:ext>
              </a:extLst>
            </p:cNvPr>
            <p:cNvSpPr/>
            <p:nvPr/>
          </p:nvSpPr>
          <p:spPr>
            <a:xfrm>
              <a:off x="3948707" y="1295995"/>
              <a:ext cx="1448038" cy="1448038"/>
            </a:xfrm>
            <a:custGeom>
              <a:avLst/>
              <a:gdLst>
                <a:gd name="connsiteX0" fmla="*/ 1421487 w 1448038"/>
                <a:gd name="connsiteY0" fmla="*/ 4644 h 1448038"/>
                <a:gd name="connsiteX1" fmla="*/ 4643 w 1448038"/>
                <a:gd name="connsiteY1" fmla="*/ 1421487 h 1448038"/>
                <a:gd name="connsiteX2" fmla="*/ 4643 w 1448038"/>
                <a:gd name="connsiteY2" fmla="*/ 1443395 h 1448038"/>
                <a:gd name="connsiteX3" fmla="*/ 26551 w 1448038"/>
                <a:gd name="connsiteY3" fmla="*/ 1443395 h 1448038"/>
                <a:gd name="connsiteX4" fmla="*/ 1443395 w 1448038"/>
                <a:gd name="connsiteY4" fmla="*/ 26551 h 1448038"/>
                <a:gd name="connsiteX5" fmla="*/ 1443395 w 1448038"/>
                <a:gd name="connsiteY5" fmla="*/ 4644 h 1448038"/>
                <a:gd name="connsiteX6" fmla="*/ 1421487 w 1448038"/>
                <a:gd name="connsiteY6" fmla="*/ 4644 h 1448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8" h="1448038">
                  <a:moveTo>
                    <a:pt x="1421487" y="4644"/>
                  </a:moveTo>
                  <a:lnTo>
                    <a:pt x="4643" y="1421487"/>
                  </a:lnTo>
                  <a:cubicBezTo>
                    <a:pt x="-1548" y="1427679"/>
                    <a:pt x="-1548" y="1437204"/>
                    <a:pt x="4643" y="1443395"/>
                  </a:cubicBezTo>
                  <a:cubicBezTo>
                    <a:pt x="10835" y="1449586"/>
                    <a:pt x="20360" y="1449586"/>
                    <a:pt x="26551" y="1443395"/>
                  </a:cubicBezTo>
                  <a:lnTo>
                    <a:pt x="1443395" y="26551"/>
                  </a:lnTo>
                  <a:cubicBezTo>
                    <a:pt x="1449586" y="20360"/>
                    <a:pt x="1449586" y="10835"/>
                    <a:pt x="1443395" y="4644"/>
                  </a:cubicBezTo>
                  <a:cubicBezTo>
                    <a:pt x="1437204" y="-1548"/>
                    <a:pt x="1427203" y="-1548"/>
                    <a:pt x="1421487" y="4644"/>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43" name="Freeform: Shape 142">
              <a:extLst>
                <a:ext uri="{FF2B5EF4-FFF2-40B4-BE49-F238E27FC236}">
                  <a16:creationId xmlns:a16="http://schemas.microsoft.com/office/drawing/2014/main" id="{F2A6706C-BBFD-485D-BBBA-32D7DB5D8DD2}"/>
                </a:ext>
              </a:extLst>
            </p:cNvPr>
            <p:cNvSpPr/>
            <p:nvPr/>
          </p:nvSpPr>
          <p:spPr>
            <a:xfrm>
              <a:off x="4240649" y="1588351"/>
              <a:ext cx="1277064" cy="1276649"/>
            </a:xfrm>
            <a:custGeom>
              <a:avLst/>
              <a:gdLst>
                <a:gd name="connsiteX0" fmla="*/ 1250514 w 1277064"/>
                <a:gd name="connsiteY0" fmla="*/ 4705 h 1276649"/>
                <a:gd name="connsiteX1" fmla="*/ 4644 w 1277064"/>
                <a:gd name="connsiteY1" fmla="*/ 1250099 h 1276649"/>
                <a:gd name="connsiteX2" fmla="*/ 4644 w 1277064"/>
                <a:gd name="connsiteY2" fmla="*/ 1272006 h 1276649"/>
                <a:gd name="connsiteX3" fmla="*/ 26551 w 1277064"/>
                <a:gd name="connsiteY3" fmla="*/ 1272006 h 1276649"/>
                <a:gd name="connsiteX4" fmla="*/ 1272421 w 1277064"/>
                <a:gd name="connsiteY4" fmla="*/ 26136 h 1276649"/>
                <a:gd name="connsiteX5" fmla="*/ 1272421 w 1277064"/>
                <a:gd name="connsiteY5" fmla="*/ 4228 h 1276649"/>
                <a:gd name="connsiteX6" fmla="*/ 1250514 w 1277064"/>
                <a:gd name="connsiteY6" fmla="*/ 4705 h 127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6649">
                  <a:moveTo>
                    <a:pt x="1250514" y="4705"/>
                  </a:moveTo>
                  <a:lnTo>
                    <a:pt x="4644" y="1250099"/>
                  </a:lnTo>
                  <a:cubicBezTo>
                    <a:pt x="-1548" y="1256290"/>
                    <a:pt x="-1548" y="1265815"/>
                    <a:pt x="4644" y="1272006"/>
                  </a:cubicBezTo>
                  <a:cubicBezTo>
                    <a:pt x="10835" y="1278197"/>
                    <a:pt x="20360" y="1278197"/>
                    <a:pt x="26551" y="1272006"/>
                  </a:cubicBezTo>
                  <a:lnTo>
                    <a:pt x="1272421" y="26136"/>
                  </a:lnTo>
                  <a:cubicBezTo>
                    <a:pt x="1278612" y="19945"/>
                    <a:pt x="1278612" y="10420"/>
                    <a:pt x="1272421" y="4228"/>
                  </a:cubicBezTo>
                  <a:cubicBezTo>
                    <a:pt x="1266230" y="-1486"/>
                    <a:pt x="1256705" y="-1486"/>
                    <a:pt x="1250514" y="4705"/>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44" name="Freeform: Shape 143">
              <a:extLst>
                <a:ext uri="{FF2B5EF4-FFF2-40B4-BE49-F238E27FC236}">
                  <a16:creationId xmlns:a16="http://schemas.microsoft.com/office/drawing/2014/main" id="{06C7BD60-AB3F-4F83-8D2B-A4E6672DCCD2}"/>
                </a:ext>
              </a:extLst>
            </p:cNvPr>
            <p:cNvSpPr/>
            <p:nvPr/>
          </p:nvSpPr>
          <p:spPr>
            <a:xfrm>
              <a:off x="5116949" y="2464593"/>
              <a:ext cx="213598" cy="213240"/>
            </a:xfrm>
            <a:custGeom>
              <a:avLst/>
              <a:gdLst>
                <a:gd name="connsiteX0" fmla="*/ 187047 w 213598"/>
                <a:gd name="connsiteY0" fmla="*/ 4286 h 213240"/>
                <a:gd name="connsiteX1" fmla="*/ 4644 w 213598"/>
                <a:gd name="connsiteY1" fmla="*/ 186690 h 213240"/>
                <a:gd name="connsiteX2" fmla="*/ 4644 w 213598"/>
                <a:gd name="connsiteY2" fmla="*/ 208597 h 213240"/>
                <a:gd name="connsiteX3" fmla="*/ 26551 w 213598"/>
                <a:gd name="connsiteY3" fmla="*/ 208597 h 213240"/>
                <a:gd name="connsiteX4" fmla="*/ 208955 w 213598"/>
                <a:gd name="connsiteY4" fmla="*/ 26194 h 213240"/>
                <a:gd name="connsiteX5" fmla="*/ 208955 w 213598"/>
                <a:gd name="connsiteY5" fmla="*/ 4286 h 213240"/>
                <a:gd name="connsiteX6" fmla="*/ 187047 w 213598"/>
                <a:gd name="connsiteY6" fmla="*/ 4286 h 213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240">
                  <a:moveTo>
                    <a:pt x="187047" y="4286"/>
                  </a:moveTo>
                  <a:lnTo>
                    <a:pt x="4644" y="186690"/>
                  </a:lnTo>
                  <a:cubicBezTo>
                    <a:pt x="-1548" y="192881"/>
                    <a:pt x="-1548" y="202406"/>
                    <a:pt x="4644" y="208597"/>
                  </a:cubicBezTo>
                  <a:cubicBezTo>
                    <a:pt x="10835" y="214789"/>
                    <a:pt x="20360" y="214789"/>
                    <a:pt x="26551" y="208597"/>
                  </a:cubicBezTo>
                  <a:lnTo>
                    <a:pt x="208955" y="26194"/>
                  </a:lnTo>
                  <a:cubicBezTo>
                    <a:pt x="215146" y="20002"/>
                    <a:pt x="215146" y="10477"/>
                    <a:pt x="208955" y="4286"/>
                  </a:cubicBezTo>
                  <a:cubicBezTo>
                    <a:pt x="202764" y="-1429"/>
                    <a:pt x="192762" y="-1429"/>
                    <a:pt x="187047" y="4286"/>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45" name="Freeform: Shape 144">
              <a:extLst>
                <a:ext uri="{FF2B5EF4-FFF2-40B4-BE49-F238E27FC236}">
                  <a16:creationId xmlns:a16="http://schemas.microsoft.com/office/drawing/2014/main" id="{C31D3E84-C912-4412-BFCF-EDC40BDCA83F}"/>
                </a:ext>
              </a:extLst>
            </p:cNvPr>
            <p:cNvSpPr/>
            <p:nvPr/>
          </p:nvSpPr>
          <p:spPr>
            <a:xfrm>
              <a:off x="4817387" y="2165508"/>
              <a:ext cx="674131" cy="673774"/>
            </a:xfrm>
            <a:custGeom>
              <a:avLst/>
              <a:gdLst>
                <a:gd name="connsiteX0" fmla="*/ 647581 w 674131"/>
                <a:gd name="connsiteY0" fmla="*/ 4286 h 673774"/>
                <a:gd name="connsiteX1" fmla="*/ 4643 w 674131"/>
                <a:gd name="connsiteY1" fmla="*/ 647224 h 673774"/>
                <a:gd name="connsiteX2" fmla="*/ 4643 w 674131"/>
                <a:gd name="connsiteY2" fmla="*/ 669131 h 673774"/>
                <a:gd name="connsiteX3" fmla="*/ 26551 w 674131"/>
                <a:gd name="connsiteY3" fmla="*/ 669131 h 673774"/>
                <a:gd name="connsiteX4" fmla="*/ 669488 w 674131"/>
                <a:gd name="connsiteY4" fmla="*/ 26194 h 673774"/>
                <a:gd name="connsiteX5" fmla="*/ 669488 w 674131"/>
                <a:gd name="connsiteY5" fmla="*/ 4286 h 673774"/>
                <a:gd name="connsiteX6" fmla="*/ 647581 w 674131"/>
                <a:gd name="connsiteY6" fmla="*/ 4286 h 67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774">
                  <a:moveTo>
                    <a:pt x="647581" y="4286"/>
                  </a:moveTo>
                  <a:lnTo>
                    <a:pt x="4643" y="647224"/>
                  </a:lnTo>
                  <a:cubicBezTo>
                    <a:pt x="-1548" y="653415"/>
                    <a:pt x="-1548" y="662940"/>
                    <a:pt x="4643" y="669131"/>
                  </a:cubicBezTo>
                  <a:cubicBezTo>
                    <a:pt x="10835" y="675323"/>
                    <a:pt x="20360" y="675323"/>
                    <a:pt x="26551" y="669131"/>
                  </a:cubicBezTo>
                  <a:lnTo>
                    <a:pt x="669488" y="26194"/>
                  </a:lnTo>
                  <a:cubicBezTo>
                    <a:pt x="675680" y="20002"/>
                    <a:pt x="675680" y="10477"/>
                    <a:pt x="669488" y="4286"/>
                  </a:cubicBezTo>
                  <a:cubicBezTo>
                    <a:pt x="663774" y="-1429"/>
                    <a:pt x="653772" y="-1429"/>
                    <a:pt x="647581" y="4286"/>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46" name="Freeform: Shape 145">
              <a:extLst>
                <a:ext uri="{FF2B5EF4-FFF2-40B4-BE49-F238E27FC236}">
                  <a16:creationId xmlns:a16="http://schemas.microsoft.com/office/drawing/2014/main" id="{C3AB7C94-8DB5-4AD9-A01A-6788CFFAFDD0}"/>
                </a:ext>
              </a:extLst>
            </p:cNvPr>
            <p:cNvSpPr/>
            <p:nvPr/>
          </p:nvSpPr>
          <p:spPr>
            <a:xfrm>
              <a:off x="4357330" y="1704975"/>
              <a:ext cx="1181338" cy="1181457"/>
            </a:xfrm>
            <a:custGeom>
              <a:avLst/>
              <a:gdLst>
                <a:gd name="connsiteX0" fmla="*/ 1155264 w 1181338"/>
                <a:gd name="connsiteY0" fmla="*/ 4286 h 1181457"/>
                <a:gd name="connsiteX1" fmla="*/ 4644 w 1181338"/>
                <a:gd name="connsiteY1" fmla="*/ 1154906 h 1181457"/>
                <a:gd name="connsiteX2" fmla="*/ 4644 w 1181338"/>
                <a:gd name="connsiteY2" fmla="*/ 1176814 h 1181457"/>
                <a:gd name="connsiteX3" fmla="*/ 26551 w 1181338"/>
                <a:gd name="connsiteY3" fmla="*/ 1176814 h 1181457"/>
                <a:gd name="connsiteX4" fmla="*/ 1176695 w 1181338"/>
                <a:gd name="connsiteY4" fmla="*/ 26194 h 1181457"/>
                <a:gd name="connsiteX5" fmla="*/ 1176695 w 1181338"/>
                <a:gd name="connsiteY5" fmla="*/ 4286 h 1181457"/>
                <a:gd name="connsiteX6" fmla="*/ 1155264 w 1181338"/>
                <a:gd name="connsiteY6" fmla="*/ 4286 h 118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338" h="1181457">
                  <a:moveTo>
                    <a:pt x="1155264" y="4286"/>
                  </a:moveTo>
                  <a:lnTo>
                    <a:pt x="4644" y="1154906"/>
                  </a:lnTo>
                  <a:cubicBezTo>
                    <a:pt x="-1548" y="1161097"/>
                    <a:pt x="-1548" y="1170622"/>
                    <a:pt x="4644" y="1176814"/>
                  </a:cubicBezTo>
                  <a:cubicBezTo>
                    <a:pt x="10835" y="1183005"/>
                    <a:pt x="20360" y="1183005"/>
                    <a:pt x="26551" y="1176814"/>
                  </a:cubicBezTo>
                  <a:lnTo>
                    <a:pt x="1176695" y="26194"/>
                  </a:lnTo>
                  <a:cubicBezTo>
                    <a:pt x="1182886" y="20003"/>
                    <a:pt x="1182886" y="10478"/>
                    <a:pt x="1176695" y="4286"/>
                  </a:cubicBezTo>
                  <a:cubicBezTo>
                    <a:pt x="1170980" y="-1429"/>
                    <a:pt x="1160978" y="-1429"/>
                    <a:pt x="1155264" y="4286"/>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47" name="Freeform: Shape 146">
              <a:extLst>
                <a:ext uri="{FF2B5EF4-FFF2-40B4-BE49-F238E27FC236}">
                  <a16:creationId xmlns:a16="http://schemas.microsoft.com/office/drawing/2014/main" id="{5074E597-874E-47A3-A657-06A9F09A1229}"/>
                </a:ext>
              </a:extLst>
            </p:cNvPr>
            <p:cNvSpPr/>
            <p:nvPr/>
          </p:nvSpPr>
          <p:spPr>
            <a:xfrm>
              <a:off x="4635936" y="1983639"/>
              <a:ext cx="899874" cy="899459"/>
            </a:xfrm>
            <a:custGeom>
              <a:avLst/>
              <a:gdLst>
                <a:gd name="connsiteX0" fmla="*/ 873324 w 899874"/>
                <a:gd name="connsiteY0" fmla="*/ 4705 h 899459"/>
                <a:gd name="connsiteX1" fmla="*/ 4644 w 899874"/>
                <a:gd name="connsiteY1" fmla="*/ 872908 h 899459"/>
                <a:gd name="connsiteX2" fmla="*/ 4644 w 899874"/>
                <a:gd name="connsiteY2" fmla="*/ 894816 h 899459"/>
                <a:gd name="connsiteX3" fmla="*/ 26551 w 899874"/>
                <a:gd name="connsiteY3" fmla="*/ 894816 h 899459"/>
                <a:gd name="connsiteX4" fmla="*/ 895231 w 899874"/>
                <a:gd name="connsiteY4" fmla="*/ 26136 h 899459"/>
                <a:gd name="connsiteX5" fmla="*/ 895231 w 899874"/>
                <a:gd name="connsiteY5" fmla="*/ 4228 h 899459"/>
                <a:gd name="connsiteX6" fmla="*/ 873324 w 899874"/>
                <a:gd name="connsiteY6" fmla="*/ 4705 h 899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459">
                  <a:moveTo>
                    <a:pt x="873324" y="4705"/>
                  </a:moveTo>
                  <a:lnTo>
                    <a:pt x="4644" y="872908"/>
                  </a:lnTo>
                  <a:cubicBezTo>
                    <a:pt x="-1548" y="879100"/>
                    <a:pt x="-1548" y="888625"/>
                    <a:pt x="4644" y="894816"/>
                  </a:cubicBezTo>
                  <a:cubicBezTo>
                    <a:pt x="10835" y="901007"/>
                    <a:pt x="20360" y="901007"/>
                    <a:pt x="26551" y="894816"/>
                  </a:cubicBezTo>
                  <a:lnTo>
                    <a:pt x="895231" y="26136"/>
                  </a:lnTo>
                  <a:cubicBezTo>
                    <a:pt x="901422" y="19945"/>
                    <a:pt x="901422" y="10420"/>
                    <a:pt x="895231" y="4228"/>
                  </a:cubicBezTo>
                  <a:cubicBezTo>
                    <a:pt x="889040" y="-1486"/>
                    <a:pt x="879039" y="-1486"/>
                    <a:pt x="873324" y="4705"/>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48" name="Freeform: Shape 147">
              <a:extLst>
                <a:ext uri="{FF2B5EF4-FFF2-40B4-BE49-F238E27FC236}">
                  <a16:creationId xmlns:a16="http://schemas.microsoft.com/office/drawing/2014/main" id="{A068ECEA-54F7-410C-B83D-F4E9F3D270C1}"/>
                </a:ext>
              </a:extLst>
            </p:cNvPr>
            <p:cNvSpPr/>
            <p:nvPr/>
          </p:nvSpPr>
          <p:spPr>
            <a:xfrm>
              <a:off x="4486870" y="1834634"/>
              <a:ext cx="1059894" cy="1059894"/>
            </a:xfrm>
            <a:custGeom>
              <a:avLst/>
              <a:gdLst>
                <a:gd name="connsiteX0" fmla="*/ 1033343 w 1059894"/>
                <a:gd name="connsiteY0" fmla="*/ 4644 h 1059894"/>
                <a:gd name="connsiteX1" fmla="*/ 4643 w 1059894"/>
                <a:gd name="connsiteY1" fmla="*/ 1033344 h 1059894"/>
                <a:gd name="connsiteX2" fmla="*/ 4643 w 1059894"/>
                <a:gd name="connsiteY2" fmla="*/ 1055251 h 1059894"/>
                <a:gd name="connsiteX3" fmla="*/ 26551 w 1059894"/>
                <a:gd name="connsiteY3" fmla="*/ 1055251 h 1059894"/>
                <a:gd name="connsiteX4" fmla="*/ 1055251 w 1059894"/>
                <a:gd name="connsiteY4" fmla="*/ 26551 h 1059894"/>
                <a:gd name="connsiteX5" fmla="*/ 1055251 w 1059894"/>
                <a:gd name="connsiteY5" fmla="*/ 4644 h 1059894"/>
                <a:gd name="connsiteX6" fmla="*/ 1033343 w 1059894"/>
                <a:gd name="connsiteY6" fmla="*/ 4644 h 105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894">
                  <a:moveTo>
                    <a:pt x="1033343" y="4644"/>
                  </a:moveTo>
                  <a:lnTo>
                    <a:pt x="4643" y="1033344"/>
                  </a:lnTo>
                  <a:cubicBezTo>
                    <a:pt x="-1548" y="1039535"/>
                    <a:pt x="-1548" y="1049060"/>
                    <a:pt x="4643" y="1055251"/>
                  </a:cubicBezTo>
                  <a:cubicBezTo>
                    <a:pt x="10835" y="1061442"/>
                    <a:pt x="20360" y="1061442"/>
                    <a:pt x="26551" y="1055251"/>
                  </a:cubicBezTo>
                  <a:lnTo>
                    <a:pt x="1055251" y="26551"/>
                  </a:lnTo>
                  <a:cubicBezTo>
                    <a:pt x="1061442" y="20360"/>
                    <a:pt x="1061442" y="10835"/>
                    <a:pt x="1055251" y="4644"/>
                  </a:cubicBezTo>
                  <a:cubicBezTo>
                    <a:pt x="1049060" y="-1548"/>
                    <a:pt x="1039535" y="-1548"/>
                    <a:pt x="1033343" y="4644"/>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49" name="Freeform: Shape 148">
              <a:extLst>
                <a:ext uri="{FF2B5EF4-FFF2-40B4-BE49-F238E27FC236}">
                  <a16:creationId xmlns:a16="http://schemas.microsoft.com/office/drawing/2014/main" id="{50E0D82F-B76E-4F5A-8201-A1489023C113}"/>
                </a:ext>
              </a:extLst>
            </p:cNvPr>
            <p:cNvSpPr/>
            <p:nvPr/>
          </p:nvSpPr>
          <p:spPr>
            <a:xfrm>
              <a:off x="3866316" y="1214019"/>
              <a:ext cx="1474708" cy="1474293"/>
            </a:xfrm>
            <a:custGeom>
              <a:avLst/>
              <a:gdLst>
                <a:gd name="connsiteX0" fmla="*/ 1448157 w 1474708"/>
                <a:gd name="connsiteY0" fmla="*/ 4705 h 1474293"/>
                <a:gd name="connsiteX1" fmla="*/ 4643 w 1474708"/>
                <a:gd name="connsiteY1" fmla="*/ 1447742 h 1474293"/>
                <a:gd name="connsiteX2" fmla="*/ 4643 w 1474708"/>
                <a:gd name="connsiteY2" fmla="*/ 1469650 h 1474293"/>
                <a:gd name="connsiteX3" fmla="*/ 26551 w 1474708"/>
                <a:gd name="connsiteY3" fmla="*/ 1469650 h 1474293"/>
                <a:gd name="connsiteX4" fmla="*/ 1470065 w 1474708"/>
                <a:gd name="connsiteY4" fmla="*/ 26136 h 1474293"/>
                <a:gd name="connsiteX5" fmla="*/ 1470065 w 1474708"/>
                <a:gd name="connsiteY5" fmla="*/ 4228 h 1474293"/>
                <a:gd name="connsiteX6" fmla="*/ 1448157 w 1474708"/>
                <a:gd name="connsiteY6" fmla="*/ 4705 h 147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293">
                  <a:moveTo>
                    <a:pt x="1448157" y="4705"/>
                  </a:moveTo>
                  <a:lnTo>
                    <a:pt x="4643" y="1447742"/>
                  </a:lnTo>
                  <a:cubicBezTo>
                    <a:pt x="-1548" y="1453934"/>
                    <a:pt x="-1548" y="1463459"/>
                    <a:pt x="4643" y="1469650"/>
                  </a:cubicBezTo>
                  <a:cubicBezTo>
                    <a:pt x="10835" y="1475841"/>
                    <a:pt x="20360" y="1475841"/>
                    <a:pt x="26551" y="1469650"/>
                  </a:cubicBezTo>
                  <a:lnTo>
                    <a:pt x="1470065" y="26136"/>
                  </a:lnTo>
                  <a:cubicBezTo>
                    <a:pt x="1476256" y="19945"/>
                    <a:pt x="1476256" y="10420"/>
                    <a:pt x="1470065" y="4228"/>
                  </a:cubicBezTo>
                  <a:cubicBezTo>
                    <a:pt x="1463873" y="-1486"/>
                    <a:pt x="1453872" y="-1486"/>
                    <a:pt x="1448157" y="4705"/>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50" name="Freeform: Shape 149">
              <a:extLst>
                <a:ext uri="{FF2B5EF4-FFF2-40B4-BE49-F238E27FC236}">
                  <a16:creationId xmlns:a16="http://schemas.microsoft.com/office/drawing/2014/main" id="{8A53CA0F-1FF2-4EA1-AA9B-EBD7B6A2E479}"/>
                </a:ext>
              </a:extLst>
            </p:cNvPr>
            <p:cNvSpPr/>
            <p:nvPr/>
          </p:nvSpPr>
          <p:spPr>
            <a:xfrm>
              <a:off x="3791069" y="1138771"/>
              <a:ext cx="1487566" cy="1487152"/>
            </a:xfrm>
            <a:custGeom>
              <a:avLst/>
              <a:gdLst>
                <a:gd name="connsiteX0" fmla="*/ 1461016 w 1487566"/>
                <a:gd name="connsiteY0" fmla="*/ 4705 h 1487152"/>
                <a:gd name="connsiteX1" fmla="*/ 4643 w 1487566"/>
                <a:gd name="connsiteY1" fmla="*/ 1460601 h 1487152"/>
                <a:gd name="connsiteX2" fmla="*/ 4643 w 1487566"/>
                <a:gd name="connsiteY2" fmla="*/ 1482509 h 1487152"/>
                <a:gd name="connsiteX3" fmla="*/ 26551 w 1487566"/>
                <a:gd name="connsiteY3" fmla="*/ 1482509 h 1487152"/>
                <a:gd name="connsiteX4" fmla="*/ 1482924 w 1487566"/>
                <a:gd name="connsiteY4" fmla="*/ 26136 h 1487152"/>
                <a:gd name="connsiteX5" fmla="*/ 1482924 w 1487566"/>
                <a:gd name="connsiteY5" fmla="*/ 4228 h 1487152"/>
                <a:gd name="connsiteX6" fmla="*/ 1461016 w 1487566"/>
                <a:gd name="connsiteY6" fmla="*/ 4705 h 1487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152">
                  <a:moveTo>
                    <a:pt x="1461016" y="4705"/>
                  </a:moveTo>
                  <a:lnTo>
                    <a:pt x="4643" y="1460601"/>
                  </a:lnTo>
                  <a:cubicBezTo>
                    <a:pt x="-1548" y="1466792"/>
                    <a:pt x="-1548" y="1476317"/>
                    <a:pt x="4643" y="1482509"/>
                  </a:cubicBezTo>
                  <a:cubicBezTo>
                    <a:pt x="10835" y="1488700"/>
                    <a:pt x="20360" y="1488700"/>
                    <a:pt x="26551" y="1482509"/>
                  </a:cubicBezTo>
                  <a:lnTo>
                    <a:pt x="1482924" y="26136"/>
                  </a:lnTo>
                  <a:cubicBezTo>
                    <a:pt x="1489114" y="19945"/>
                    <a:pt x="1489114" y="10420"/>
                    <a:pt x="1482924" y="4228"/>
                  </a:cubicBezTo>
                  <a:cubicBezTo>
                    <a:pt x="1476732" y="-1486"/>
                    <a:pt x="1466731" y="-1486"/>
                    <a:pt x="1461016" y="4705"/>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51" name="Freeform: Shape 150">
              <a:extLst>
                <a:ext uri="{FF2B5EF4-FFF2-40B4-BE49-F238E27FC236}">
                  <a16:creationId xmlns:a16="http://schemas.microsoft.com/office/drawing/2014/main" id="{999408A9-69DD-4142-A9CC-0587B74C27CD}"/>
                </a:ext>
              </a:extLst>
            </p:cNvPr>
            <p:cNvSpPr/>
            <p:nvPr/>
          </p:nvSpPr>
          <p:spPr>
            <a:xfrm>
              <a:off x="3508652" y="856416"/>
              <a:ext cx="674131" cy="673955"/>
            </a:xfrm>
            <a:custGeom>
              <a:avLst/>
              <a:gdLst>
                <a:gd name="connsiteX0" fmla="*/ 26551 w 674131"/>
                <a:gd name="connsiteY0" fmla="*/ 669488 h 673955"/>
                <a:gd name="connsiteX1" fmla="*/ 669488 w 674131"/>
                <a:gd name="connsiteY1" fmla="*/ 26551 h 673955"/>
                <a:gd name="connsiteX2" fmla="*/ 669488 w 674131"/>
                <a:gd name="connsiteY2" fmla="*/ 4643 h 673955"/>
                <a:gd name="connsiteX3" fmla="*/ 647581 w 674131"/>
                <a:gd name="connsiteY3" fmla="*/ 4643 h 673955"/>
                <a:gd name="connsiteX4" fmla="*/ 4643 w 674131"/>
                <a:gd name="connsiteY4" fmla="*/ 647581 h 673955"/>
                <a:gd name="connsiteX5" fmla="*/ 4643 w 674131"/>
                <a:gd name="connsiteY5" fmla="*/ 669488 h 673955"/>
                <a:gd name="connsiteX6" fmla="*/ 26551 w 674131"/>
                <a:gd name="connsiteY6" fmla="*/ 669488 h 67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4131" h="673955">
                  <a:moveTo>
                    <a:pt x="26551" y="669488"/>
                  </a:moveTo>
                  <a:lnTo>
                    <a:pt x="669488" y="26551"/>
                  </a:lnTo>
                  <a:cubicBezTo>
                    <a:pt x="675680" y="20360"/>
                    <a:pt x="675680" y="10835"/>
                    <a:pt x="669488" y="4643"/>
                  </a:cubicBezTo>
                  <a:cubicBezTo>
                    <a:pt x="663297" y="-1548"/>
                    <a:pt x="653772" y="-1548"/>
                    <a:pt x="647581" y="4643"/>
                  </a:cubicBezTo>
                  <a:lnTo>
                    <a:pt x="4643" y="647581"/>
                  </a:lnTo>
                  <a:cubicBezTo>
                    <a:pt x="-1548" y="653772"/>
                    <a:pt x="-1548" y="663297"/>
                    <a:pt x="4643" y="669488"/>
                  </a:cubicBezTo>
                  <a:cubicBezTo>
                    <a:pt x="10835" y="675680"/>
                    <a:pt x="20836" y="675203"/>
                    <a:pt x="26551" y="669488"/>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52" name="Freeform: Shape 151">
              <a:extLst>
                <a:ext uri="{FF2B5EF4-FFF2-40B4-BE49-F238E27FC236}">
                  <a16:creationId xmlns:a16="http://schemas.microsoft.com/office/drawing/2014/main" id="{1342C814-822F-4847-A445-D40F3403A0B2}"/>
                </a:ext>
              </a:extLst>
            </p:cNvPr>
            <p:cNvSpPr/>
            <p:nvPr/>
          </p:nvSpPr>
          <p:spPr>
            <a:xfrm>
              <a:off x="3670101" y="1017865"/>
              <a:ext cx="213598" cy="213421"/>
            </a:xfrm>
            <a:custGeom>
              <a:avLst/>
              <a:gdLst>
                <a:gd name="connsiteX0" fmla="*/ 26551 w 213598"/>
                <a:gd name="connsiteY0" fmla="*/ 208955 h 213421"/>
                <a:gd name="connsiteX1" fmla="*/ 208955 w 213598"/>
                <a:gd name="connsiteY1" fmla="*/ 26551 h 213421"/>
                <a:gd name="connsiteX2" fmla="*/ 208955 w 213598"/>
                <a:gd name="connsiteY2" fmla="*/ 4643 h 213421"/>
                <a:gd name="connsiteX3" fmla="*/ 187047 w 213598"/>
                <a:gd name="connsiteY3" fmla="*/ 4643 h 213421"/>
                <a:gd name="connsiteX4" fmla="*/ 4643 w 213598"/>
                <a:gd name="connsiteY4" fmla="*/ 187047 h 213421"/>
                <a:gd name="connsiteX5" fmla="*/ 4643 w 213598"/>
                <a:gd name="connsiteY5" fmla="*/ 208955 h 213421"/>
                <a:gd name="connsiteX6" fmla="*/ 26551 w 213598"/>
                <a:gd name="connsiteY6" fmla="*/ 208955 h 21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598" h="213421">
                  <a:moveTo>
                    <a:pt x="26551" y="208955"/>
                  </a:moveTo>
                  <a:lnTo>
                    <a:pt x="208955" y="26551"/>
                  </a:lnTo>
                  <a:cubicBezTo>
                    <a:pt x="215146" y="20360"/>
                    <a:pt x="215146" y="10835"/>
                    <a:pt x="208955" y="4643"/>
                  </a:cubicBezTo>
                  <a:cubicBezTo>
                    <a:pt x="202764" y="-1548"/>
                    <a:pt x="193239" y="-1548"/>
                    <a:pt x="187047" y="4643"/>
                  </a:cubicBezTo>
                  <a:lnTo>
                    <a:pt x="4643" y="187047"/>
                  </a:lnTo>
                  <a:cubicBezTo>
                    <a:pt x="-1548" y="193238"/>
                    <a:pt x="-1548" y="202763"/>
                    <a:pt x="4643" y="208955"/>
                  </a:cubicBezTo>
                  <a:cubicBezTo>
                    <a:pt x="10835" y="215146"/>
                    <a:pt x="20360" y="214670"/>
                    <a:pt x="26551" y="208955"/>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53" name="Freeform: Shape 152">
              <a:extLst>
                <a:ext uri="{FF2B5EF4-FFF2-40B4-BE49-F238E27FC236}">
                  <a16:creationId xmlns:a16="http://schemas.microsoft.com/office/drawing/2014/main" id="{D278E644-9328-4C44-BB90-D8C5A318A93F}"/>
                </a:ext>
              </a:extLst>
            </p:cNvPr>
            <p:cNvSpPr/>
            <p:nvPr/>
          </p:nvSpPr>
          <p:spPr>
            <a:xfrm>
              <a:off x="3461504" y="809267"/>
              <a:ext cx="1181814" cy="1181399"/>
            </a:xfrm>
            <a:custGeom>
              <a:avLst/>
              <a:gdLst>
                <a:gd name="connsiteX0" fmla="*/ 26551 w 1181814"/>
                <a:gd name="connsiteY0" fmla="*/ 1176695 h 1181399"/>
                <a:gd name="connsiteX1" fmla="*/ 1177171 w 1181814"/>
                <a:gd name="connsiteY1" fmla="*/ 26551 h 1181399"/>
                <a:gd name="connsiteX2" fmla="*/ 1177171 w 1181814"/>
                <a:gd name="connsiteY2" fmla="*/ 4643 h 1181399"/>
                <a:gd name="connsiteX3" fmla="*/ 1155264 w 1181814"/>
                <a:gd name="connsiteY3" fmla="*/ 4643 h 1181399"/>
                <a:gd name="connsiteX4" fmla="*/ 4643 w 1181814"/>
                <a:gd name="connsiteY4" fmla="*/ 1155263 h 1181399"/>
                <a:gd name="connsiteX5" fmla="*/ 4643 w 1181814"/>
                <a:gd name="connsiteY5" fmla="*/ 1177171 h 1181399"/>
                <a:gd name="connsiteX6" fmla="*/ 26551 w 1181814"/>
                <a:gd name="connsiteY6" fmla="*/ 1176695 h 118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1814" h="1181399">
                  <a:moveTo>
                    <a:pt x="26551" y="1176695"/>
                  </a:moveTo>
                  <a:lnTo>
                    <a:pt x="1177171" y="26551"/>
                  </a:lnTo>
                  <a:cubicBezTo>
                    <a:pt x="1183362" y="20360"/>
                    <a:pt x="1183362" y="10835"/>
                    <a:pt x="1177171" y="4643"/>
                  </a:cubicBezTo>
                  <a:cubicBezTo>
                    <a:pt x="1170980" y="-1548"/>
                    <a:pt x="1161455" y="-1548"/>
                    <a:pt x="1155264" y="4643"/>
                  </a:cubicBezTo>
                  <a:lnTo>
                    <a:pt x="4643" y="1155263"/>
                  </a:lnTo>
                  <a:cubicBezTo>
                    <a:pt x="-1548" y="1161455"/>
                    <a:pt x="-1548" y="1170980"/>
                    <a:pt x="4643" y="1177171"/>
                  </a:cubicBezTo>
                  <a:cubicBezTo>
                    <a:pt x="10835" y="1182886"/>
                    <a:pt x="20836" y="1182886"/>
                    <a:pt x="26551" y="1176695"/>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54" name="Freeform: Shape 153">
              <a:extLst>
                <a:ext uri="{FF2B5EF4-FFF2-40B4-BE49-F238E27FC236}">
                  <a16:creationId xmlns:a16="http://schemas.microsoft.com/office/drawing/2014/main" id="{677CB159-26A9-4037-8EE5-360B217B42B9}"/>
                </a:ext>
              </a:extLst>
            </p:cNvPr>
            <p:cNvSpPr/>
            <p:nvPr/>
          </p:nvSpPr>
          <p:spPr>
            <a:xfrm>
              <a:off x="3453884" y="801171"/>
              <a:ext cx="1059894" cy="1059717"/>
            </a:xfrm>
            <a:custGeom>
              <a:avLst/>
              <a:gdLst>
                <a:gd name="connsiteX0" fmla="*/ 26551 w 1059894"/>
                <a:gd name="connsiteY0" fmla="*/ 1055251 h 1059717"/>
                <a:gd name="connsiteX1" fmla="*/ 1055251 w 1059894"/>
                <a:gd name="connsiteY1" fmla="*/ 26551 h 1059717"/>
                <a:gd name="connsiteX2" fmla="*/ 1055251 w 1059894"/>
                <a:gd name="connsiteY2" fmla="*/ 4643 h 1059717"/>
                <a:gd name="connsiteX3" fmla="*/ 1033343 w 1059894"/>
                <a:gd name="connsiteY3" fmla="*/ 4643 h 1059717"/>
                <a:gd name="connsiteX4" fmla="*/ 4643 w 1059894"/>
                <a:gd name="connsiteY4" fmla="*/ 1033344 h 1059717"/>
                <a:gd name="connsiteX5" fmla="*/ 4643 w 1059894"/>
                <a:gd name="connsiteY5" fmla="*/ 1055251 h 1059717"/>
                <a:gd name="connsiteX6" fmla="*/ 26551 w 1059894"/>
                <a:gd name="connsiteY6" fmla="*/ 1055251 h 1059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9894" h="1059717">
                  <a:moveTo>
                    <a:pt x="26551" y="1055251"/>
                  </a:moveTo>
                  <a:lnTo>
                    <a:pt x="1055251" y="26551"/>
                  </a:lnTo>
                  <a:cubicBezTo>
                    <a:pt x="1061442" y="20360"/>
                    <a:pt x="1061442" y="10835"/>
                    <a:pt x="1055251" y="4643"/>
                  </a:cubicBezTo>
                  <a:cubicBezTo>
                    <a:pt x="1049060" y="-1548"/>
                    <a:pt x="1039535" y="-1548"/>
                    <a:pt x="1033343" y="4643"/>
                  </a:cubicBezTo>
                  <a:lnTo>
                    <a:pt x="4643" y="1033344"/>
                  </a:lnTo>
                  <a:cubicBezTo>
                    <a:pt x="-1548" y="1039535"/>
                    <a:pt x="-1548" y="1049060"/>
                    <a:pt x="4643" y="1055251"/>
                  </a:cubicBezTo>
                  <a:cubicBezTo>
                    <a:pt x="10835" y="1061442"/>
                    <a:pt x="20360" y="1060966"/>
                    <a:pt x="26551" y="1055251"/>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55" name="Freeform: Shape 154">
              <a:extLst>
                <a:ext uri="{FF2B5EF4-FFF2-40B4-BE49-F238E27FC236}">
                  <a16:creationId xmlns:a16="http://schemas.microsoft.com/office/drawing/2014/main" id="{2CBE0515-EE0B-4A9B-A335-55DDB6554C32}"/>
                </a:ext>
              </a:extLst>
            </p:cNvPr>
            <p:cNvSpPr/>
            <p:nvPr/>
          </p:nvSpPr>
          <p:spPr>
            <a:xfrm>
              <a:off x="3464837" y="812125"/>
              <a:ext cx="899874" cy="899874"/>
            </a:xfrm>
            <a:custGeom>
              <a:avLst/>
              <a:gdLst>
                <a:gd name="connsiteX0" fmla="*/ 26551 w 899874"/>
                <a:gd name="connsiteY0" fmla="*/ 895231 h 899874"/>
                <a:gd name="connsiteX1" fmla="*/ 895231 w 899874"/>
                <a:gd name="connsiteY1" fmla="*/ 26551 h 899874"/>
                <a:gd name="connsiteX2" fmla="*/ 895231 w 899874"/>
                <a:gd name="connsiteY2" fmla="*/ 4643 h 899874"/>
                <a:gd name="connsiteX3" fmla="*/ 873324 w 899874"/>
                <a:gd name="connsiteY3" fmla="*/ 4643 h 899874"/>
                <a:gd name="connsiteX4" fmla="*/ 4643 w 899874"/>
                <a:gd name="connsiteY4" fmla="*/ 873323 h 899874"/>
                <a:gd name="connsiteX5" fmla="*/ 4643 w 899874"/>
                <a:gd name="connsiteY5" fmla="*/ 895231 h 899874"/>
                <a:gd name="connsiteX6" fmla="*/ 26551 w 899874"/>
                <a:gd name="connsiteY6" fmla="*/ 895231 h 89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9874" h="899874">
                  <a:moveTo>
                    <a:pt x="26551" y="895231"/>
                  </a:moveTo>
                  <a:lnTo>
                    <a:pt x="895231" y="26551"/>
                  </a:lnTo>
                  <a:cubicBezTo>
                    <a:pt x="901422" y="20360"/>
                    <a:pt x="901422" y="10835"/>
                    <a:pt x="895231" y="4643"/>
                  </a:cubicBezTo>
                  <a:cubicBezTo>
                    <a:pt x="889040" y="-1548"/>
                    <a:pt x="879515" y="-1548"/>
                    <a:pt x="873324" y="4643"/>
                  </a:cubicBezTo>
                  <a:lnTo>
                    <a:pt x="4643" y="873323"/>
                  </a:lnTo>
                  <a:cubicBezTo>
                    <a:pt x="-1548" y="879515"/>
                    <a:pt x="-1548" y="889040"/>
                    <a:pt x="4643" y="895231"/>
                  </a:cubicBezTo>
                  <a:cubicBezTo>
                    <a:pt x="10835" y="901422"/>
                    <a:pt x="20360" y="901422"/>
                    <a:pt x="26551" y="895231"/>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56" name="Freeform: Shape 155">
              <a:extLst>
                <a:ext uri="{FF2B5EF4-FFF2-40B4-BE49-F238E27FC236}">
                  <a16:creationId xmlns:a16="http://schemas.microsoft.com/office/drawing/2014/main" id="{3D7C1BFF-A941-4FB9-8C5F-245F0336C27F}"/>
                </a:ext>
              </a:extLst>
            </p:cNvPr>
            <p:cNvSpPr/>
            <p:nvPr/>
          </p:nvSpPr>
          <p:spPr>
            <a:xfrm>
              <a:off x="3482935" y="830222"/>
              <a:ext cx="1277064" cy="1277064"/>
            </a:xfrm>
            <a:custGeom>
              <a:avLst/>
              <a:gdLst>
                <a:gd name="connsiteX0" fmla="*/ 26551 w 1277064"/>
                <a:gd name="connsiteY0" fmla="*/ 1272421 h 1277064"/>
                <a:gd name="connsiteX1" fmla="*/ 1272421 w 1277064"/>
                <a:gd name="connsiteY1" fmla="*/ 26551 h 1277064"/>
                <a:gd name="connsiteX2" fmla="*/ 1272421 w 1277064"/>
                <a:gd name="connsiteY2" fmla="*/ 4643 h 1277064"/>
                <a:gd name="connsiteX3" fmla="*/ 1250514 w 1277064"/>
                <a:gd name="connsiteY3" fmla="*/ 4643 h 1277064"/>
                <a:gd name="connsiteX4" fmla="*/ 4643 w 1277064"/>
                <a:gd name="connsiteY4" fmla="*/ 1250513 h 1277064"/>
                <a:gd name="connsiteX5" fmla="*/ 4643 w 1277064"/>
                <a:gd name="connsiteY5" fmla="*/ 1272421 h 1277064"/>
                <a:gd name="connsiteX6" fmla="*/ 26551 w 1277064"/>
                <a:gd name="connsiteY6" fmla="*/ 1272421 h 127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064" h="1277064">
                  <a:moveTo>
                    <a:pt x="26551" y="1272421"/>
                  </a:moveTo>
                  <a:lnTo>
                    <a:pt x="1272421" y="26551"/>
                  </a:lnTo>
                  <a:cubicBezTo>
                    <a:pt x="1278612" y="20360"/>
                    <a:pt x="1278612" y="10835"/>
                    <a:pt x="1272421" y="4643"/>
                  </a:cubicBezTo>
                  <a:cubicBezTo>
                    <a:pt x="1266230" y="-1548"/>
                    <a:pt x="1256705" y="-1548"/>
                    <a:pt x="1250514" y="4643"/>
                  </a:cubicBezTo>
                  <a:lnTo>
                    <a:pt x="4643" y="1250513"/>
                  </a:lnTo>
                  <a:cubicBezTo>
                    <a:pt x="-1548" y="1256705"/>
                    <a:pt x="-1548" y="1266230"/>
                    <a:pt x="4643" y="1272421"/>
                  </a:cubicBezTo>
                  <a:cubicBezTo>
                    <a:pt x="10835" y="1278612"/>
                    <a:pt x="20360" y="1278612"/>
                    <a:pt x="26551" y="1272421"/>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57" name="Freeform: Shape 156">
              <a:extLst>
                <a:ext uri="{FF2B5EF4-FFF2-40B4-BE49-F238E27FC236}">
                  <a16:creationId xmlns:a16="http://schemas.microsoft.com/office/drawing/2014/main" id="{5B33BAD4-5031-4575-8DC3-8F072C30C027}"/>
                </a:ext>
              </a:extLst>
            </p:cNvPr>
            <p:cNvSpPr/>
            <p:nvPr/>
          </p:nvSpPr>
          <p:spPr>
            <a:xfrm>
              <a:off x="3722012" y="1069300"/>
              <a:ext cx="1487566" cy="1487811"/>
            </a:xfrm>
            <a:custGeom>
              <a:avLst/>
              <a:gdLst>
                <a:gd name="connsiteX0" fmla="*/ 26551 w 1487566"/>
                <a:gd name="connsiteY0" fmla="*/ 1482924 h 1487811"/>
                <a:gd name="connsiteX1" fmla="*/ 1482924 w 1487566"/>
                <a:gd name="connsiteY1" fmla="*/ 26551 h 1487811"/>
                <a:gd name="connsiteX2" fmla="*/ 1482924 w 1487566"/>
                <a:gd name="connsiteY2" fmla="*/ 4643 h 1487811"/>
                <a:gd name="connsiteX3" fmla="*/ 1461016 w 1487566"/>
                <a:gd name="connsiteY3" fmla="*/ 4643 h 1487811"/>
                <a:gd name="connsiteX4" fmla="*/ 4643 w 1487566"/>
                <a:gd name="connsiteY4" fmla="*/ 1461492 h 1487811"/>
                <a:gd name="connsiteX5" fmla="*/ 4643 w 1487566"/>
                <a:gd name="connsiteY5" fmla="*/ 1483400 h 1487811"/>
                <a:gd name="connsiteX6" fmla="*/ 26551 w 1487566"/>
                <a:gd name="connsiteY6" fmla="*/ 1482924 h 1487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7566" h="1487811">
                  <a:moveTo>
                    <a:pt x="26551" y="1482924"/>
                  </a:moveTo>
                  <a:lnTo>
                    <a:pt x="1482924" y="26551"/>
                  </a:lnTo>
                  <a:cubicBezTo>
                    <a:pt x="1489114" y="20360"/>
                    <a:pt x="1489114" y="10835"/>
                    <a:pt x="1482924" y="4643"/>
                  </a:cubicBezTo>
                  <a:cubicBezTo>
                    <a:pt x="1476732" y="-1548"/>
                    <a:pt x="1467207" y="-1548"/>
                    <a:pt x="1461016" y="4643"/>
                  </a:cubicBezTo>
                  <a:lnTo>
                    <a:pt x="4643" y="1461492"/>
                  </a:lnTo>
                  <a:cubicBezTo>
                    <a:pt x="-1548" y="1467684"/>
                    <a:pt x="-1548" y="1477209"/>
                    <a:pt x="4643" y="1483400"/>
                  </a:cubicBezTo>
                  <a:cubicBezTo>
                    <a:pt x="10835" y="1489591"/>
                    <a:pt x="20360" y="1489115"/>
                    <a:pt x="26551" y="1482924"/>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58" name="Freeform: Shape 157">
              <a:extLst>
                <a:ext uri="{FF2B5EF4-FFF2-40B4-BE49-F238E27FC236}">
                  <a16:creationId xmlns:a16="http://schemas.microsoft.com/office/drawing/2014/main" id="{F983AAF2-5821-4F80-8611-F752A07A93FE}"/>
                </a:ext>
              </a:extLst>
            </p:cNvPr>
            <p:cNvSpPr/>
            <p:nvPr/>
          </p:nvSpPr>
          <p:spPr>
            <a:xfrm>
              <a:off x="3659624" y="1006911"/>
              <a:ext cx="1474708" cy="1474708"/>
            </a:xfrm>
            <a:custGeom>
              <a:avLst/>
              <a:gdLst>
                <a:gd name="connsiteX0" fmla="*/ 26551 w 1474708"/>
                <a:gd name="connsiteY0" fmla="*/ 1470065 h 1474708"/>
                <a:gd name="connsiteX1" fmla="*/ 1470065 w 1474708"/>
                <a:gd name="connsiteY1" fmla="*/ 26551 h 1474708"/>
                <a:gd name="connsiteX2" fmla="*/ 1470065 w 1474708"/>
                <a:gd name="connsiteY2" fmla="*/ 4643 h 1474708"/>
                <a:gd name="connsiteX3" fmla="*/ 1448157 w 1474708"/>
                <a:gd name="connsiteY3" fmla="*/ 4643 h 1474708"/>
                <a:gd name="connsiteX4" fmla="*/ 4644 w 1474708"/>
                <a:gd name="connsiteY4" fmla="*/ 1448157 h 1474708"/>
                <a:gd name="connsiteX5" fmla="*/ 4644 w 1474708"/>
                <a:gd name="connsiteY5" fmla="*/ 1470065 h 1474708"/>
                <a:gd name="connsiteX6" fmla="*/ 26551 w 1474708"/>
                <a:gd name="connsiteY6" fmla="*/ 1470065 h 1474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708" h="1474708">
                  <a:moveTo>
                    <a:pt x="26551" y="1470065"/>
                  </a:moveTo>
                  <a:lnTo>
                    <a:pt x="1470065" y="26551"/>
                  </a:lnTo>
                  <a:cubicBezTo>
                    <a:pt x="1476256" y="20360"/>
                    <a:pt x="1476256" y="10835"/>
                    <a:pt x="1470065" y="4643"/>
                  </a:cubicBezTo>
                  <a:cubicBezTo>
                    <a:pt x="1463874" y="-1548"/>
                    <a:pt x="1454349" y="-1548"/>
                    <a:pt x="1448157" y="4643"/>
                  </a:cubicBezTo>
                  <a:lnTo>
                    <a:pt x="4644" y="1448157"/>
                  </a:lnTo>
                  <a:cubicBezTo>
                    <a:pt x="-1548" y="1454348"/>
                    <a:pt x="-1548" y="1463873"/>
                    <a:pt x="4644" y="1470065"/>
                  </a:cubicBezTo>
                  <a:cubicBezTo>
                    <a:pt x="10835" y="1476256"/>
                    <a:pt x="20360" y="1476256"/>
                    <a:pt x="26551" y="1470065"/>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59" name="Freeform: Shape 158">
              <a:extLst>
                <a:ext uri="{FF2B5EF4-FFF2-40B4-BE49-F238E27FC236}">
                  <a16:creationId xmlns:a16="http://schemas.microsoft.com/office/drawing/2014/main" id="{CF82F7DC-6ED3-42BF-947D-94319FE879A8}"/>
                </a:ext>
              </a:extLst>
            </p:cNvPr>
            <p:cNvSpPr/>
            <p:nvPr/>
          </p:nvSpPr>
          <p:spPr>
            <a:xfrm>
              <a:off x="3514844" y="862607"/>
              <a:ext cx="1350883" cy="1350706"/>
            </a:xfrm>
            <a:custGeom>
              <a:avLst/>
              <a:gdLst>
                <a:gd name="connsiteX0" fmla="*/ 26551 w 1350883"/>
                <a:gd name="connsiteY0" fmla="*/ 1346240 h 1350706"/>
                <a:gd name="connsiteX1" fmla="*/ 1346240 w 1350883"/>
                <a:gd name="connsiteY1" fmla="*/ 26551 h 1350706"/>
                <a:gd name="connsiteX2" fmla="*/ 1346240 w 1350883"/>
                <a:gd name="connsiteY2" fmla="*/ 4643 h 1350706"/>
                <a:gd name="connsiteX3" fmla="*/ 1324332 w 1350883"/>
                <a:gd name="connsiteY3" fmla="*/ 4643 h 1350706"/>
                <a:gd name="connsiteX4" fmla="*/ 4643 w 1350883"/>
                <a:gd name="connsiteY4" fmla="*/ 1324332 h 1350706"/>
                <a:gd name="connsiteX5" fmla="*/ 4643 w 1350883"/>
                <a:gd name="connsiteY5" fmla="*/ 1346240 h 1350706"/>
                <a:gd name="connsiteX6" fmla="*/ 26551 w 1350883"/>
                <a:gd name="connsiteY6" fmla="*/ 1346240 h 135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883" h="1350706">
                  <a:moveTo>
                    <a:pt x="26551" y="1346240"/>
                  </a:moveTo>
                  <a:lnTo>
                    <a:pt x="1346240" y="26551"/>
                  </a:lnTo>
                  <a:cubicBezTo>
                    <a:pt x="1352431" y="20360"/>
                    <a:pt x="1352431" y="10835"/>
                    <a:pt x="1346240" y="4643"/>
                  </a:cubicBezTo>
                  <a:cubicBezTo>
                    <a:pt x="1340049" y="-1548"/>
                    <a:pt x="1330524" y="-1548"/>
                    <a:pt x="1324332" y="4643"/>
                  </a:cubicBezTo>
                  <a:lnTo>
                    <a:pt x="4643" y="1324332"/>
                  </a:lnTo>
                  <a:cubicBezTo>
                    <a:pt x="-1548" y="1330523"/>
                    <a:pt x="-1548" y="1340048"/>
                    <a:pt x="4643" y="1346240"/>
                  </a:cubicBezTo>
                  <a:cubicBezTo>
                    <a:pt x="10835" y="1352431"/>
                    <a:pt x="20360" y="1351955"/>
                    <a:pt x="26551" y="1346240"/>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60" name="Freeform: Shape 159">
              <a:extLst>
                <a:ext uri="{FF2B5EF4-FFF2-40B4-BE49-F238E27FC236}">
                  <a16:creationId xmlns:a16="http://schemas.microsoft.com/office/drawing/2014/main" id="{14EEF2F8-8AFC-48D7-ADD9-DE32B6751F2F}"/>
                </a:ext>
              </a:extLst>
            </p:cNvPr>
            <p:cNvSpPr/>
            <p:nvPr/>
          </p:nvSpPr>
          <p:spPr>
            <a:xfrm>
              <a:off x="3603902" y="951666"/>
              <a:ext cx="1448037" cy="1447680"/>
            </a:xfrm>
            <a:custGeom>
              <a:avLst/>
              <a:gdLst>
                <a:gd name="connsiteX0" fmla="*/ 26551 w 1448037"/>
                <a:gd name="connsiteY0" fmla="*/ 1443395 h 1447680"/>
                <a:gd name="connsiteX1" fmla="*/ 1443395 w 1448037"/>
                <a:gd name="connsiteY1" fmla="*/ 26551 h 1447680"/>
                <a:gd name="connsiteX2" fmla="*/ 1443395 w 1448037"/>
                <a:gd name="connsiteY2" fmla="*/ 4643 h 1447680"/>
                <a:gd name="connsiteX3" fmla="*/ 1421487 w 1448037"/>
                <a:gd name="connsiteY3" fmla="*/ 4643 h 1447680"/>
                <a:gd name="connsiteX4" fmla="*/ 4643 w 1448037"/>
                <a:gd name="connsiteY4" fmla="*/ 1421487 h 1447680"/>
                <a:gd name="connsiteX5" fmla="*/ 4643 w 1448037"/>
                <a:gd name="connsiteY5" fmla="*/ 1443395 h 1447680"/>
                <a:gd name="connsiteX6" fmla="*/ 26551 w 1448037"/>
                <a:gd name="connsiteY6" fmla="*/ 1443395 h 144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037" h="1447680">
                  <a:moveTo>
                    <a:pt x="26551" y="1443395"/>
                  </a:moveTo>
                  <a:lnTo>
                    <a:pt x="1443395" y="26551"/>
                  </a:lnTo>
                  <a:cubicBezTo>
                    <a:pt x="1449586" y="20360"/>
                    <a:pt x="1449586" y="10835"/>
                    <a:pt x="1443395" y="4643"/>
                  </a:cubicBezTo>
                  <a:cubicBezTo>
                    <a:pt x="1437203" y="-1548"/>
                    <a:pt x="1427678" y="-1548"/>
                    <a:pt x="1421487" y="4643"/>
                  </a:cubicBezTo>
                  <a:lnTo>
                    <a:pt x="4643" y="1421487"/>
                  </a:lnTo>
                  <a:cubicBezTo>
                    <a:pt x="-1548" y="1427679"/>
                    <a:pt x="-1548" y="1437204"/>
                    <a:pt x="4643" y="1443395"/>
                  </a:cubicBezTo>
                  <a:cubicBezTo>
                    <a:pt x="10835" y="1449110"/>
                    <a:pt x="20360" y="1449110"/>
                    <a:pt x="26551" y="1443395"/>
                  </a:cubicBezTo>
                  <a:close/>
                </a:path>
              </a:pathLst>
            </a:custGeom>
            <a:solidFill>
              <a:srgbClr val="6CBD4B"/>
            </a:solidFill>
            <a:ln w="4763" cap="flat">
              <a:noFill/>
              <a:prstDash val="solid"/>
              <a:miter/>
            </a:ln>
          </p:spPr>
          <p:txBody>
            <a:bodyPr rtlCol="0" anchor="ctr"/>
            <a:lstStyle/>
            <a:p>
              <a:endParaRPr lang="en-US">
                <a:latin typeface="+mn-lt"/>
              </a:endParaRPr>
            </a:p>
          </p:txBody>
        </p:sp>
        <p:sp>
          <p:nvSpPr>
            <p:cNvPr id="161" name="Freeform: Shape 160">
              <a:extLst>
                <a:ext uri="{FF2B5EF4-FFF2-40B4-BE49-F238E27FC236}">
                  <a16:creationId xmlns:a16="http://schemas.microsoft.com/office/drawing/2014/main" id="{7DD21DA5-3093-4BC0-AC40-3BA621DBC840}"/>
                </a:ext>
              </a:extLst>
            </p:cNvPr>
            <p:cNvSpPr/>
            <p:nvPr/>
          </p:nvSpPr>
          <p:spPr>
            <a:xfrm>
              <a:off x="3555325" y="902612"/>
              <a:ext cx="1407556" cy="1407556"/>
            </a:xfrm>
            <a:custGeom>
              <a:avLst/>
              <a:gdLst>
                <a:gd name="connsiteX0" fmla="*/ 26551 w 1407556"/>
                <a:gd name="connsiteY0" fmla="*/ 1402914 h 1407556"/>
                <a:gd name="connsiteX1" fmla="*/ 1402913 w 1407556"/>
                <a:gd name="connsiteY1" fmla="*/ 26551 h 1407556"/>
                <a:gd name="connsiteX2" fmla="*/ 1402913 w 1407556"/>
                <a:gd name="connsiteY2" fmla="*/ 4643 h 1407556"/>
                <a:gd name="connsiteX3" fmla="*/ 1381006 w 1407556"/>
                <a:gd name="connsiteY3" fmla="*/ 4643 h 1407556"/>
                <a:gd name="connsiteX4" fmla="*/ 4643 w 1407556"/>
                <a:gd name="connsiteY4" fmla="*/ 1381006 h 1407556"/>
                <a:gd name="connsiteX5" fmla="*/ 4643 w 1407556"/>
                <a:gd name="connsiteY5" fmla="*/ 1402914 h 1407556"/>
                <a:gd name="connsiteX6" fmla="*/ 26551 w 1407556"/>
                <a:gd name="connsiteY6" fmla="*/ 1402914 h 140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556" h="1407556">
                  <a:moveTo>
                    <a:pt x="26551" y="1402914"/>
                  </a:moveTo>
                  <a:lnTo>
                    <a:pt x="1402913" y="26551"/>
                  </a:lnTo>
                  <a:cubicBezTo>
                    <a:pt x="1409105" y="20360"/>
                    <a:pt x="1409105" y="10835"/>
                    <a:pt x="1402913" y="4643"/>
                  </a:cubicBezTo>
                  <a:cubicBezTo>
                    <a:pt x="1396722" y="-1548"/>
                    <a:pt x="1387197" y="-1548"/>
                    <a:pt x="1381006" y="4643"/>
                  </a:cubicBezTo>
                  <a:lnTo>
                    <a:pt x="4643" y="1381006"/>
                  </a:lnTo>
                  <a:cubicBezTo>
                    <a:pt x="-1548" y="1387197"/>
                    <a:pt x="-1548" y="1396722"/>
                    <a:pt x="4643" y="1402914"/>
                  </a:cubicBezTo>
                  <a:cubicBezTo>
                    <a:pt x="10835" y="1409105"/>
                    <a:pt x="20836" y="1409105"/>
                    <a:pt x="26551" y="1402914"/>
                  </a:cubicBezTo>
                  <a:close/>
                </a:path>
              </a:pathLst>
            </a:custGeom>
            <a:solidFill>
              <a:srgbClr val="6CBD4B"/>
            </a:solidFill>
            <a:ln w="4763" cap="flat">
              <a:noFill/>
              <a:prstDash val="solid"/>
              <a:miter/>
            </a:ln>
          </p:spPr>
          <p:txBody>
            <a:bodyPr rtlCol="0" anchor="ctr"/>
            <a:lstStyle/>
            <a:p>
              <a:endParaRPr lang="en-US">
                <a:latin typeface="+mn-lt"/>
              </a:endParaRPr>
            </a:p>
          </p:txBody>
        </p:sp>
      </p:grpSp>
      <p:sp>
        <p:nvSpPr>
          <p:cNvPr id="83" name="Freeform: Shape 82">
            <a:extLst>
              <a:ext uri="{FF2B5EF4-FFF2-40B4-BE49-F238E27FC236}">
                <a16:creationId xmlns:a16="http://schemas.microsoft.com/office/drawing/2014/main" id="{DB0C604C-0B3C-4692-88C9-A3CE68A43C16}"/>
              </a:ext>
            </a:extLst>
          </p:cNvPr>
          <p:cNvSpPr/>
          <p:nvPr/>
        </p:nvSpPr>
        <p:spPr>
          <a:xfrm>
            <a:off x="5435792" y="1241109"/>
            <a:ext cx="37616" cy="37616"/>
          </a:xfrm>
          <a:custGeom>
            <a:avLst/>
            <a:gdLst>
              <a:gd name="connsiteX0" fmla="*/ 88582 w 88582"/>
              <a:gd name="connsiteY0" fmla="*/ 44291 h 88582"/>
              <a:gd name="connsiteX1" fmla="*/ 44291 w 88582"/>
              <a:gd name="connsiteY1" fmla="*/ 88582 h 88582"/>
              <a:gd name="connsiteX2" fmla="*/ -1 w 88582"/>
              <a:gd name="connsiteY2" fmla="*/ 44291 h 88582"/>
              <a:gd name="connsiteX3" fmla="*/ 44291 w 88582"/>
              <a:gd name="connsiteY3" fmla="*/ 0 h 88582"/>
              <a:gd name="connsiteX4" fmla="*/ 88582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2" y="44291"/>
                </a:moveTo>
                <a:cubicBezTo>
                  <a:pt x="88582" y="68753"/>
                  <a:pt x="68753" y="88582"/>
                  <a:pt x="44291" y="88582"/>
                </a:cubicBezTo>
                <a:cubicBezTo>
                  <a:pt x="19829" y="88582"/>
                  <a:pt x="-1" y="68753"/>
                  <a:pt x="-1" y="44291"/>
                </a:cubicBezTo>
                <a:cubicBezTo>
                  <a:pt x="-1" y="19830"/>
                  <a:pt x="19829" y="0"/>
                  <a:pt x="44291" y="0"/>
                </a:cubicBezTo>
                <a:cubicBezTo>
                  <a:pt x="68752" y="0"/>
                  <a:pt x="88582" y="19830"/>
                  <a:pt x="88582" y="44291"/>
                </a:cubicBezTo>
                <a:close/>
              </a:path>
            </a:pathLst>
          </a:custGeom>
          <a:solidFill>
            <a:srgbClr val="1E4471"/>
          </a:solidFill>
          <a:ln w="4763" cap="flat">
            <a:noFill/>
            <a:prstDash val="solid"/>
            <a:miter/>
          </a:ln>
        </p:spPr>
        <p:txBody>
          <a:bodyPr rtlCol="0" anchor="ctr"/>
          <a:lstStyle/>
          <a:p>
            <a:endParaRPr lang="en-US">
              <a:latin typeface="+mn-lt"/>
            </a:endParaRPr>
          </a:p>
        </p:txBody>
      </p:sp>
      <p:sp>
        <p:nvSpPr>
          <p:cNvPr id="85" name="Freeform: Shape 84">
            <a:extLst>
              <a:ext uri="{FF2B5EF4-FFF2-40B4-BE49-F238E27FC236}">
                <a16:creationId xmlns:a16="http://schemas.microsoft.com/office/drawing/2014/main" id="{4DD42231-DF08-48FC-942D-F0BC96EC7992}"/>
              </a:ext>
            </a:extLst>
          </p:cNvPr>
          <p:cNvSpPr/>
          <p:nvPr/>
        </p:nvSpPr>
        <p:spPr>
          <a:xfrm>
            <a:off x="5192093" y="1241109"/>
            <a:ext cx="37616" cy="37616"/>
          </a:xfrm>
          <a:custGeom>
            <a:avLst/>
            <a:gdLst>
              <a:gd name="connsiteX0" fmla="*/ 88582 w 88582"/>
              <a:gd name="connsiteY0" fmla="*/ 44291 h 88582"/>
              <a:gd name="connsiteX1" fmla="*/ 44291 w 88582"/>
              <a:gd name="connsiteY1" fmla="*/ 88582 h 88582"/>
              <a:gd name="connsiteX2" fmla="*/ -1 w 88582"/>
              <a:gd name="connsiteY2" fmla="*/ 44291 h 88582"/>
              <a:gd name="connsiteX3" fmla="*/ 44291 w 88582"/>
              <a:gd name="connsiteY3" fmla="*/ 0 h 88582"/>
              <a:gd name="connsiteX4" fmla="*/ 88582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2" y="44291"/>
                </a:moveTo>
                <a:cubicBezTo>
                  <a:pt x="88582" y="68753"/>
                  <a:pt x="68753" y="88582"/>
                  <a:pt x="44291" y="88582"/>
                </a:cubicBezTo>
                <a:cubicBezTo>
                  <a:pt x="19829" y="88582"/>
                  <a:pt x="-1" y="68753"/>
                  <a:pt x="-1" y="44291"/>
                </a:cubicBezTo>
                <a:cubicBezTo>
                  <a:pt x="-1" y="19830"/>
                  <a:pt x="19829" y="0"/>
                  <a:pt x="44291" y="0"/>
                </a:cubicBezTo>
                <a:cubicBezTo>
                  <a:pt x="68752" y="0"/>
                  <a:pt x="88582" y="19830"/>
                  <a:pt x="88582" y="44291"/>
                </a:cubicBezTo>
                <a:close/>
              </a:path>
            </a:pathLst>
          </a:custGeom>
          <a:solidFill>
            <a:srgbClr val="E2231A"/>
          </a:solidFill>
          <a:ln w="4763" cap="flat">
            <a:noFill/>
            <a:prstDash val="solid"/>
            <a:miter/>
          </a:ln>
        </p:spPr>
        <p:txBody>
          <a:bodyPr rtlCol="0" anchor="ctr"/>
          <a:lstStyle/>
          <a:p>
            <a:endParaRPr lang="en-US">
              <a:latin typeface="+mn-lt"/>
            </a:endParaRPr>
          </a:p>
        </p:txBody>
      </p:sp>
      <p:sp>
        <p:nvSpPr>
          <p:cNvPr id="86" name="Freeform: Shape 85">
            <a:extLst>
              <a:ext uri="{FF2B5EF4-FFF2-40B4-BE49-F238E27FC236}">
                <a16:creationId xmlns:a16="http://schemas.microsoft.com/office/drawing/2014/main" id="{109689A1-37C8-4BD4-A354-8A1277393B88}"/>
              </a:ext>
            </a:extLst>
          </p:cNvPr>
          <p:cNvSpPr/>
          <p:nvPr/>
        </p:nvSpPr>
        <p:spPr>
          <a:xfrm>
            <a:off x="5192093" y="1364273"/>
            <a:ext cx="37616" cy="37616"/>
          </a:xfrm>
          <a:custGeom>
            <a:avLst/>
            <a:gdLst>
              <a:gd name="connsiteX0" fmla="*/ 88582 w 88582"/>
              <a:gd name="connsiteY0" fmla="*/ 44291 h 88582"/>
              <a:gd name="connsiteX1" fmla="*/ 44291 w 88582"/>
              <a:gd name="connsiteY1" fmla="*/ 88583 h 88582"/>
              <a:gd name="connsiteX2" fmla="*/ -1 w 88582"/>
              <a:gd name="connsiteY2" fmla="*/ 44291 h 88582"/>
              <a:gd name="connsiteX3" fmla="*/ 44291 w 88582"/>
              <a:gd name="connsiteY3" fmla="*/ 0 h 88582"/>
              <a:gd name="connsiteX4" fmla="*/ 88582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2" y="44291"/>
                </a:moveTo>
                <a:cubicBezTo>
                  <a:pt x="88582" y="68753"/>
                  <a:pt x="68753" y="88583"/>
                  <a:pt x="44291" y="88583"/>
                </a:cubicBezTo>
                <a:cubicBezTo>
                  <a:pt x="19829" y="88583"/>
                  <a:pt x="-1" y="68753"/>
                  <a:pt x="-1" y="44291"/>
                </a:cubicBezTo>
                <a:cubicBezTo>
                  <a:pt x="-1" y="19830"/>
                  <a:pt x="19829" y="0"/>
                  <a:pt x="44291" y="0"/>
                </a:cubicBezTo>
                <a:cubicBezTo>
                  <a:pt x="68752" y="0"/>
                  <a:pt x="88582" y="19830"/>
                  <a:pt x="88582" y="44291"/>
                </a:cubicBezTo>
                <a:close/>
              </a:path>
            </a:pathLst>
          </a:custGeom>
          <a:solidFill>
            <a:srgbClr val="1E4471"/>
          </a:solidFill>
          <a:ln w="4763" cap="flat">
            <a:noFill/>
            <a:prstDash val="solid"/>
            <a:miter/>
          </a:ln>
        </p:spPr>
        <p:txBody>
          <a:bodyPr rtlCol="0" anchor="ctr"/>
          <a:lstStyle/>
          <a:p>
            <a:endParaRPr lang="en-US">
              <a:latin typeface="+mn-lt"/>
            </a:endParaRPr>
          </a:p>
        </p:txBody>
      </p:sp>
      <p:sp>
        <p:nvSpPr>
          <p:cNvPr id="87" name="Freeform: Shape 86">
            <a:extLst>
              <a:ext uri="{FF2B5EF4-FFF2-40B4-BE49-F238E27FC236}">
                <a16:creationId xmlns:a16="http://schemas.microsoft.com/office/drawing/2014/main" id="{F14AFA02-6BC2-4CC7-A013-64027C85E7F3}"/>
              </a:ext>
            </a:extLst>
          </p:cNvPr>
          <p:cNvSpPr/>
          <p:nvPr/>
        </p:nvSpPr>
        <p:spPr>
          <a:xfrm>
            <a:off x="5070345" y="1493908"/>
            <a:ext cx="37616" cy="37616"/>
          </a:xfrm>
          <a:custGeom>
            <a:avLst/>
            <a:gdLst>
              <a:gd name="connsiteX0" fmla="*/ 88583 w 88582"/>
              <a:gd name="connsiteY0" fmla="*/ 44291 h 88582"/>
              <a:gd name="connsiteX1" fmla="*/ 44291 w 88582"/>
              <a:gd name="connsiteY1" fmla="*/ 88582 h 88582"/>
              <a:gd name="connsiteX2" fmla="*/ 0 w 88582"/>
              <a:gd name="connsiteY2" fmla="*/ 44291 h 88582"/>
              <a:gd name="connsiteX3" fmla="*/ 44291 w 88582"/>
              <a:gd name="connsiteY3" fmla="*/ 0 h 88582"/>
              <a:gd name="connsiteX4" fmla="*/ 88583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3" y="44291"/>
                </a:moveTo>
                <a:cubicBezTo>
                  <a:pt x="88583" y="68753"/>
                  <a:pt x="68753" y="88582"/>
                  <a:pt x="44291" y="88582"/>
                </a:cubicBezTo>
                <a:cubicBezTo>
                  <a:pt x="19830" y="88582"/>
                  <a:pt x="0" y="68753"/>
                  <a:pt x="0" y="44291"/>
                </a:cubicBezTo>
                <a:cubicBezTo>
                  <a:pt x="0" y="19830"/>
                  <a:pt x="19829" y="0"/>
                  <a:pt x="44291" y="0"/>
                </a:cubicBezTo>
                <a:cubicBezTo>
                  <a:pt x="68752" y="0"/>
                  <a:pt x="88583" y="19830"/>
                  <a:pt x="88583" y="44291"/>
                </a:cubicBezTo>
                <a:close/>
              </a:path>
            </a:pathLst>
          </a:custGeom>
          <a:solidFill>
            <a:srgbClr val="1E4471"/>
          </a:solidFill>
          <a:ln w="4763" cap="flat">
            <a:noFill/>
            <a:prstDash val="solid"/>
            <a:miter/>
          </a:ln>
        </p:spPr>
        <p:txBody>
          <a:bodyPr rtlCol="0" anchor="ctr"/>
          <a:lstStyle/>
          <a:p>
            <a:endParaRPr lang="en-US">
              <a:latin typeface="+mn-lt"/>
            </a:endParaRPr>
          </a:p>
        </p:txBody>
      </p:sp>
      <p:sp>
        <p:nvSpPr>
          <p:cNvPr id="89" name="Freeform: Shape 88">
            <a:extLst>
              <a:ext uri="{FF2B5EF4-FFF2-40B4-BE49-F238E27FC236}">
                <a16:creationId xmlns:a16="http://schemas.microsoft.com/office/drawing/2014/main" id="{B82BAF99-08CE-4C87-A2A7-B28114A1D3AB}"/>
              </a:ext>
            </a:extLst>
          </p:cNvPr>
          <p:cNvSpPr/>
          <p:nvPr/>
        </p:nvSpPr>
        <p:spPr>
          <a:xfrm>
            <a:off x="4937069" y="1490268"/>
            <a:ext cx="37616" cy="37616"/>
          </a:xfrm>
          <a:custGeom>
            <a:avLst/>
            <a:gdLst>
              <a:gd name="connsiteX0" fmla="*/ 88582 w 88582"/>
              <a:gd name="connsiteY0" fmla="*/ 44291 h 88582"/>
              <a:gd name="connsiteX1" fmla="*/ 44291 w 88582"/>
              <a:gd name="connsiteY1" fmla="*/ 88583 h 88582"/>
              <a:gd name="connsiteX2" fmla="*/ -1 w 88582"/>
              <a:gd name="connsiteY2" fmla="*/ 44291 h 88582"/>
              <a:gd name="connsiteX3" fmla="*/ 44291 w 88582"/>
              <a:gd name="connsiteY3" fmla="*/ 0 h 88582"/>
              <a:gd name="connsiteX4" fmla="*/ 88582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2" y="44291"/>
                </a:moveTo>
                <a:cubicBezTo>
                  <a:pt x="88582" y="68753"/>
                  <a:pt x="68753" y="88583"/>
                  <a:pt x="44291" y="88583"/>
                </a:cubicBezTo>
                <a:cubicBezTo>
                  <a:pt x="19830" y="88583"/>
                  <a:pt x="-1" y="68753"/>
                  <a:pt x="-1" y="44291"/>
                </a:cubicBezTo>
                <a:cubicBezTo>
                  <a:pt x="-1" y="19830"/>
                  <a:pt x="19829" y="0"/>
                  <a:pt x="44291" y="0"/>
                </a:cubicBezTo>
                <a:cubicBezTo>
                  <a:pt x="68752" y="0"/>
                  <a:pt x="88582" y="19830"/>
                  <a:pt x="88582" y="44291"/>
                </a:cubicBezTo>
                <a:close/>
              </a:path>
            </a:pathLst>
          </a:custGeom>
          <a:solidFill>
            <a:srgbClr val="1E4471"/>
          </a:solidFill>
          <a:ln w="4763" cap="flat">
            <a:noFill/>
            <a:prstDash val="solid"/>
            <a:miter/>
          </a:ln>
        </p:spPr>
        <p:txBody>
          <a:bodyPr rtlCol="0" anchor="ctr"/>
          <a:lstStyle/>
          <a:p>
            <a:endParaRPr lang="en-US">
              <a:latin typeface="+mn-lt"/>
            </a:endParaRPr>
          </a:p>
        </p:txBody>
      </p:sp>
      <p:sp>
        <p:nvSpPr>
          <p:cNvPr id="91" name="Freeform: Shape 90">
            <a:extLst>
              <a:ext uri="{FF2B5EF4-FFF2-40B4-BE49-F238E27FC236}">
                <a16:creationId xmlns:a16="http://schemas.microsoft.com/office/drawing/2014/main" id="{34C72217-3F41-4C05-8BB7-639F4CA3D4FA}"/>
              </a:ext>
            </a:extLst>
          </p:cNvPr>
          <p:cNvSpPr/>
          <p:nvPr/>
        </p:nvSpPr>
        <p:spPr>
          <a:xfrm>
            <a:off x="5192093" y="1115923"/>
            <a:ext cx="37616" cy="37616"/>
          </a:xfrm>
          <a:custGeom>
            <a:avLst/>
            <a:gdLst>
              <a:gd name="connsiteX0" fmla="*/ 88582 w 88582"/>
              <a:gd name="connsiteY0" fmla="*/ 44291 h 88582"/>
              <a:gd name="connsiteX1" fmla="*/ 44291 w 88582"/>
              <a:gd name="connsiteY1" fmla="*/ 88582 h 88582"/>
              <a:gd name="connsiteX2" fmla="*/ -1 w 88582"/>
              <a:gd name="connsiteY2" fmla="*/ 44291 h 88582"/>
              <a:gd name="connsiteX3" fmla="*/ 44291 w 88582"/>
              <a:gd name="connsiteY3" fmla="*/ 0 h 88582"/>
              <a:gd name="connsiteX4" fmla="*/ 88582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2" y="44291"/>
                </a:moveTo>
                <a:cubicBezTo>
                  <a:pt x="88582" y="68753"/>
                  <a:pt x="68753" y="88582"/>
                  <a:pt x="44291" y="88582"/>
                </a:cubicBezTo>
                <a:cubicBezTo>
                  <a:pt x="19829" y="88582"/>
                  <a:pt x="-1" y="68753"/>
                  <a:pt x="-1" y="44291"/>
                </a:cubicBezTo>
                <a:cubicBezTo>
                  <a:pt x="-1" y="19830"/>
                  <a:pt x="19829" y="0"/>
                  <a:pt x="44291" y="0"/>
                </a:cubicBezTo>
                <a:cubicBezTo>
                  <a:pt x="68752" y="0"/>
                  <a:pt x="88582" y="19830"/>
                  <a:pt x="88582" y="44291"/>
                </a:cubicBezTo>
                <a:close/>
              </a:path>
            </a:pathLst>
          </a:custGeom>
          <a:solidFill>
            <a:srgbClr val="1E4471"/>
          </a:solidFill>
          <a:ln w="4763" cap="flat">
            <a:noFill/>
            <a:prstDash val="solid"/>
            <a:miter/>
          </a:ln>
        </p:spPr>
        <p:txBody>
          <a:bodyPr rtlCol="0" anchor="ctr"/>
          <a:lstStyle/>
          <a:p>
            <a:endParaRPr lang="en-US">
              <a:latin typeface="+mn-lt"/>
            </a:endParaRPr>
          </a:p>
        </p:txBody>
      </p:sp>
      <p:sp>
        <p:nvSpPr>
          <p:cNvPr id="93" name="Freeform: Shape 92">
            <a:extLst>
              <a:ext uri="{FF2B5EF4-FFF2-40B4-BE49-F238E27FC236}">
                <a16:creationId xmlns:a16="http://schemas.microsoft.com/office/drawing/2014/main" id="{1BC5D579-9B6B-4715-B819-8C3E22C81677}"/>
              </a:ext>
            </a:extLst>
          </p:cNvPr>
          <p:cNvSpPr/>
          <p:nvPr/>
        </p:nvSpPr>
        <p:spPr>
          <a:xfrm>
            <a:off x="5070345" y="1115923"/>
            <a:ext cx="37616" cy="37616"/>
          </a:xfrm>
          <a:custGeom>
            <a:avLst/>
            <a:gdLst>
              <a:gd name="connsiteX0" fmla="*/ 88583 w 88582"/>
              <a:gd name="connsiteY0" fmla="*/ 44291 h 88582"/>
              <a:gd name="connsiteX1" fmla="*/ 44291 w 88582"/>
              <a:gd name="connsiteY1" fmla="*/ 88582 h 88582"/>
              <a:gd name="connsiteX2" fmla="*/ 0 w 88582"/>
              <a:gd name="connsiteY2" fmla="*/ 44291 h 88582"/>
              <a:gd name="connsiteX3" fmla="*/ 44291 w 88582"/>
              <a:gd name="connsiteY3" fmla="*/ 0 h 88582"/>
              <a:gd name="connsiteX4" fmla="*/ 88583 w 88582"/>
              <a:gd name="connsiteY4" fmla="*/ 44291 h 88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 h="88582">
                <a:moveTo>
                  <a:pt x="88583" y="44291"/>
                </a:moveTo>
                <a:cubicBezTo>
                  <a:pt x="88583" y="68753"/>
                  <a:pt x="68753" y="88582"/>
                  <a:pt x="44291" y="88582"/>
                </a:cubicBezTo>
                <a:cubicBezTo>
                  <a:pt x="19830" y="88582"/>
                  <a:pt x="0" y="68753"/>
                  <a:pt x="0" y="44291"/>
                </a:cubicBezTo>
                <a:cubicBezTo>
                  <a:pt x="0" y="19830"/>
                  <a:pt x="19829" y="0"/>
                  <a:pt x="44291" y="0"/>
                </a:cubicBezTo>
                <a:cubicBezTo>
                  <a:pt x="68752" y="0"/>
                  <a:pt x="88583" y="19830"/>
                  <a:pt x="88583" y="44291"/>
                </a:cubicBezTo>
                <a:close/>
              </a:path>
            </a:pathLst>
          </a:custGeom>
          <a:solidFill>
            <a:srgbClr val="FBAB18"/>
          </a:solidFill>
          <a:ln w="4763" cap="flat">
            <a:noFill/>
            <a:prstDash val="solid"/>
            <a:miter/>
          </a:ln>
        </p:spPr>
        <p:txBody>
          <a:bodyPr rtlCol="0" anchor="ctr"/>
          <a:lstStyle/>
          <a:p>
            <a:endParaRPr lang="en-US">
              <a:latin typeface="+mn-lt"/>
            </a:endParaRPr>
          </a:p>
        </p:txBody>
      </p:sp>
      <p:sp>
        <p:nvSpPr>
          <p:cNvPr id="96" name="Freeform: Shape 95">
            <a:extLst>
              <a:ext uri="{FF2B5EF4-FFF2-40B4-BE49-F238E27FC236}">
                <a16:creationId xmlns:a16="http://schemas.microsoft.com/office/drawing/2014/main" id="{0A30A639-C16E-4CD1-B090-C1E9329A856D}"/>
              </a:ext>
            </a:extLst>
          </p:cNvPr>
          <p:cNvSpPr/>
          <p:nvPr/>
        </p:nvSpPr>
        <p:spPr>
          <a:xfrm>
            <a:off x="4922710" y="1101563"/>
            <a:ext cx="66334" cy="66334"/>
          </a:xfrm>
          <a:custGeom>
            <a:avLst/>
            <a:gdLst>
              <a:gd name="connsiteX0" fmla="*/ 78105 w 156209"/>
              <a:gd name="connsiteY0" fmla="*/ 0 h 156209"/>
              <a:gd name="connsiteX1" fmla="*/ 156210 w 156209"/>
              <a:gd name="connsiteY1" fmla="*/ 78105 h 156209"/>
              <a:gd name="connsiteX2" fmla="*/ 78105 w 156209"/>
              <a:gd name="connsiteY2" fmla="*/ 156210 h 156209"/>
              <a:gd name="connsiteX3" fmla="*/ 0 w 156209"/>
              <a:gd name="connsiteY3" fmla="*/ 78105 h 156209"/>
              <a:gd name="connsiteX4" fmla="*/ 78105 w 156209"/>
              <a:gd name="connsiteY4" fmla="*/ 0 h 156209"/>
              <a:gd name="connsiteX5" fmla="*/ 78105 w 156209"/>
              <a:gd name="connsiteY5" fmla="*/ 141446 h 156209"/>
              <a:gd name="connsiteX6" fmla="*/ 141922 w 156209"/>
              <a:gd name="connsiteY6" fmla="*/ 77629 h 156209"/>
              <a:gd name="connsiteX7" fmla="*/ 78105 w 156209"/>
              <a:gd name="connsiteY7" fmla="*/ 13811 h 156209"/>
              <a:gd name="connsiteX8" fmla="*/ 14288 w 156209"/>
              <a:gd name="connsiteY8" fmla="*/ 77629 h 156209"/>
              <a:gd name="connsiteX9" fmla="*/ 78105 w 156209"/>
              <a:gd name="connsiteY9" fmla="*/ 141446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09">
                <a:moveTo>
                  <a:pt x="78105" y="0"/>
                </a:moveTo>
                <a:cubicBezTo>
                  <a:pt x="120968" y="0"/>
                  <a:pt x="156210" y="35242"/>
                  <a:pt x="156210" y="78105"/>
                </a:cubicBezTo>
                <a:cubicBezTo>
                  <a:pt x="156210" y="120967"/>
                  <a:pt x="120968" y="156210"/>
                  <a:pt x="78105" y="156210"/>
                </a:cubicBezTo>
                <a:cubicBezTo>
                  <a:pt x="35243" y="156210"/>
                  <a:pt x="0" y="120967"/>
                  <a:pt x="0" y="78105"/>
                </a:cubicBezTo>
                <a:cubicBezTo>
                  <a:pt x="0" y="35242"/>
                  <a:pt x="35243" y="0"/>
                  <a:pt x="78105" y="0"/>
                </a:cubicBezTo>
                <a:close/>
                <a:moveTo>
                  <a:pt x="78105" y="141446"/>
                </a:moveTo>
                <a:cubicBezTo>
                  <a:pt x="113347" y="141446"/>
                  <a:pt x="141922" y="112871"/>
                  <a:pt x="141922" y="77629"/>
                </a:cubicBezTo>
                <a:cubicBezTo>
                  <a:pt x="141922" y="42386"/>
                  <a:pt x="113347" y="13811"/>
                  <a:pt x="78105" y="13811"/>
                </a:cubicBezTo>
                <a:cubicBezTo>
                  <a:pt x="42863" y="13811"/>
                  <a:pt x="14288" y="42386"/>
                  <a:pt x="14288" y="77629"/>
                </a:cubicBezTo>
                <a:cubicBezTo>
                  <a:pt x="14288" y="112871"/>
                  <a:pt x="43339" y="141446"/>
                  <a:pt x="78105" y="141446"/>
                </a:cubicBezTo>
                <a:close/>
              </a:path>
            </a:pathLst>
          </a:custGeom>
          <a:solidFill>
            <a:srgbClr val="00BCEB"/>
          </a:solidFill>
          <a:ln w="4763" cap="flat">
            <a:noFill/>
            <a:prstDash val="solid"/>
            <a:miter/>
          </a:ln>
        </p:spPr>
        <p:txBody>
          <a:bodyPr rtlCol="0" anchor="ctr"/>
          <a:lstStyle/>
          <a:p>
            <a:endParaRPr lang="en-US">
              <a:latin typeface="+mn-lt"/>
            </a:endParaRPr>
          </a:p>
        </p:txBody>
      </p:sp>
      <p:sp>
        <p:nvSpPr>
          <p:cNvPr id="97" name="Freeform: Shape 96">
            <a:extLst>
              <a:ext uri="{FF2B5EF4-FFF2-40B4-BE49-F238E27FC236}">
                <a16:creationId xmlns:a16="http://schemas.microsoft.com/office/drawing/2014/main" id="{F0993BAE-1ADB-4F4E-AC60-663153C8803F}"/>
              </a:ext>
            </a:extLst>
          </p:cNvPr>
          <p:cNvSpPr/>
          <p:nvPr/>
        </p:nvSpPr>
        <p:spPr>
          <a:xfrm>
            <a:off x="5055986" y="1226750"/>
            <a:ext cx="66334" cy="66335"/>
          </a:xfrm>
          <a:custGeom>
            <a:avLst/>
            <a:gdLst>
              <a:gd name="connsiteX0" fmla="*/ 78105 w 156209"/>
              <a:gd name="connsiteY0" fmla="*/ 0 h 156210"/>
              <a:gd name="connsiteX1" fmla="*/ 156210 w 156209"/>
              <a:gd name="connsiteY1" fmla="*/ 78105 h 156210"/>
              <a:gd name="connsiteX2" fmla="*/ 78105 w 156209"/>
              <a:gd name="connsiteY2" fmla="*/ 156210 h 156210"/>
              <a:gd name="connsiteX3" fmla="*/ 0 w 156209"/>
              <a:gd name="connsiteY3" fmla="*/ 78105 h 156210"/>
              <a:gd name="connsiteX4" fmla="*/ 78105 w 156209"/>
              <a:gd name="connsiteY4" fmla="*/ 0 h 156210"/>
              <a:gd name="connsiteX5" fmla="*/ 78105 w 156209"/>
              <a:gd name="connsiteY5" fmla="*/ 141923 h 156210"/>
              <a:gd name="connsiteX6" fmla="*/ 141922 w 156209"/>
              <a:gd name="connsiteY6" fmla="*/ 78105 h 156210"/>
              <a:gd name="connsiteX7" fmla="*/ 78105 w 156209"/>
              <a:gd name="connsiteY7" fmla="*/ 14288 h 156210"/>
              <a:gd name="connsiteX8" fmla="*/ 14288 w 156209"/>
              <a:gd name="connsiteY8" fmla="*/ 78105 h 156210"/>
              <a:gd name="connsiteX9" fmla="*/ 78105 w 156209"/>
              <a:gd name="connsiteY9" fmla="*/ 141923 h 15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10">
                <a:moveTo>
                  <a:pt x="78105" y="0"/>
                </a:moveTo>
                <a:cubicBezTo>
                  <a:pt x="120967" y="0"/>
                  <a:pt x="156210" y="35242"/>
                  <a:pt x="156210" y="78105"/>
                </a:cubicBezTo>
                <a:cubicBezTo>
                  <a:pt x="156210" y="120967"/>
                  <a:pt x="120967" y="156210"/>
                  <a:pt x="78105" y="156210"/>
                </a:cubicBezTo>
                <a:cubicBezTo>
                  <a:pt x="35242" y="156210"/>
                  <a:pt x="0" y="120967"/>
                  <a:pt x="0" y="78105"/>
                </a:cubicBezTo>
                <a:cubicBezTo>
                  <a:pt x="0" y="35242"/>
                  <a:pt x="35242" y="0"/>
                  <a:pt x="78105" y="0"/>
                </a:cubicBezTo>
                <a:close/>
                <a:moveTo>
                  <a:pt x="78105" y="141923"/>
                </a:moveTo>
                <a:cubicBezTo>
                  <a:pt x="113347" y="141923"/>
                  <a:pt x="141922" y="113348"/>
                  <a:pt x="141922" y="78105"/>
                </a:cubicBezTo>
                <a:cubicBezTo>
                  <a:pt x="141922" y="42863"/>
                  <a:pt x="113347" y="14288"/>
                  <a:pt x="78105" y="14288"/>
                </a:cubicBezTo>
                <a:cubicBezTo>
                  <a:pt x="42863" y="14288"/>
                  <a:pt x="14288" y="42863"/>
                  <a:pt x="14288" y="78105"/>
                </a:cubicBezTo>
                <a:cubicBezTo>
                  <a:pt x="14288" y="113348"/>
                  <a:pt x="42863" y="141923"/>
                  <a:pt x="78105" y="141923"/>
                </a:cubicBezTo>
                <a:close/>
              </a:path>
            </a:pathLst>
          </a:custGeom>
          <a:solidFill>
            <a:srgbClr val="00BCEB"/>
          </a:solidFill>
          <a:ln w="4763" cap="flat">
            <a:noFill/>
            <a:prstDash val="solid"/>
            <a:miter/>
          </a:ln>
        </p:spPr>
        <p:txBody>
          <a:bodyPr rtlCol="0" anchor="ctr"/>
          <a:lstStyle/>
          <a:p>
            <a:endParaRPr lang="en-US">
              <a:latin typeface="+mn-lt"/>
            </a:endParaRPr>
          </a:p>
        </p:txBody>
      </p:sp>
      <p:sp>
        <p:nvSpPr>
          <p:cNvPr id="98" name="Freeform: Shape 97">
            <a:extLst>
              <a:ext uri="{FF2B5EF4-FFF2-40B4-BE49-F238E27FC236}">
                <a16:creationId xmlns:a16="http://schemas.microsoft.com/office/drawing/2014/main" id="{A1843B22-62CD-4711-A1DF-70E7EF917FF3}"/>
              </a:ext>
            </a:extLst>
          </p:cNvPr>
          <p:cNvSpPr/>
          <p:nvPr/>
        </p:nvSpPr>
        <p:spPr>
          <a:xfrm>
            <a:off x="5055986" y="1349914"/>
            <a:ext cx="66334" cy="66334"/>
          </a:xfrm>
          <a:custGeom>
            <a:avLst/>
            <a:gdLst>
              <a:gd name="connsiteX0" fmla="*/ 78105 w 156209"/>
              <a:gd name="connsiteY0" fmla="*/ 0 h 156209"/>
              <a:gd name="connsiteX1" fmla="*/ 156210 w 156209"/>
              <a:gd name="connsiteY1" fmla="*/ 78105 h 156209"/>
              <a:gd name="connsiteX2" fmla="*/ 78105 w 156209"/>
              <a:gd name="connsiteY2" fmla="*/ 156210 h 156209"/>
              <a:gd name="connsiteX3" fmla="*/ 0 w 156209"/>
              <a:gd name="connsiteY3" fmla="*/ 78105 h 156209"/>
              <a:gd name="connsiteX4" fmla="*/ 78105 w 156209"/>
              <a:gd name="connsiteY4" fmla="*/ 0 h 156209"/>
              <a:gd name="connsiteX5" fmla="*/ 78105 w 156209"/>
              <a:gd name="connsiteY5" fmla="*/ 141922 h 156209"/>
              <a:gd name="connsiteX6" fmla="*/ 141922 w 156209"/>
              <a:gd name="connsiteY6" fmla="*/ 78105 h 156209"/>
              <a:gd name="connsiteX7" fmla="*/ 78105 w 156209"/>
              <a:gd name="connsiteY7" fmla="*/ 14288 h 156209"/>
              <a:gd name="connsiteX8" fmla="*/ 14288 w 156209"/>
              <a:gd name="connsiteY8" fmla="*/ 78105 h 156209"/>
              <a:gd name="connsiteX9" fmla="*/ 78105 w 156209"/>
              <a:gd name="connsiteY9" fmla="*/ 141922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09">
                <a:moveTo>
                  <a:pt x="78105" y="0"/>
                </a:moveTo>
                <a:cubicBezTo>
                  <a:pt x="120967" y="0"/>
                  <a:pt x="156210" y="35243"/>
                  <a:pt x="156210" y="78105"/>
                </a:cubicBezTo>
                <a:cubicBezTo>
                  <a:pt x="156210" y="120968"/>
                  <a:pt x="120967" y="156210"/>
                  <a:pt x="78105" y="156210"/>
                </a:cubicBezTo>
                <a:cubicBezTo>
                  <a:pt x="35242" y="156210"/>
                  <a:pt x="0" y="120968"/>
                  <a:pt x="0" y="78105"/>
                </a:cubicBezTo>
                <a:cubicBezTo>
                  <a:pt x="0" y="35243"/>
                  <a:pt x="35242" y="0"/>
                  <a:pt x="78105" y="0"/>
                </a:cubicBezTo>
                <a:close/>
                <a:moveTo>
                  <a:pt x="78105" y="141922"/>
                </a:moveTo>
                <a:cubicBezTo>
                  <a:pt x="113347" y="141922"/>
                  <a:pt x="141922" y="113347"/>
                  <a:pt x="141922" y="78105"/>
                </a:cubicBezTo>
                <a:cubicBezTo>
                  <a:pt x="141922" y="42863"/>
                  <a:pt x="113347" y="14288"/>
                  <a:pt x="78105" y="14288"/>
                </a:cubicBezTo>
                <a:cubicBezTo>
                  <a:pt x="42863" y="14288"/>
                  <a:pt x="14288" y="42863"/>
                  <a:pt x="14288" y="78105"/>
                </a:cubicBezTo>
                <a:cubicBezTo>
                  <a:pt x="14288" y="113347"/>
                  <a:pt x="42863" y="141922"/>
                  <a:pt x="78105" y="141922"/>
                </a:cubicBezTo>
                <a:close/>
              </a:path>
            </a:pathLst>
          </a:custGeom>
          <a:solidFill>
            <a:srgbClr val="00BCEB"/>
          </a:solidFill>
          <a:ln w="4763" cap="flat">
            <a:noFill/>
            <a:prstDash val="solid"/>
            <a:miter/>
          </a:ln>
        </p:spPr>
        <p:txBody>
          <a:bodyPr rtlCol="0" anchor="ctr"/>
          <a:lstStyle/>
          <a:p>
            <a:endParaRPr lang="en-US">
              <a:latin typeface="+mn-lt"/>
            </a:endParaRPr>
          </a:p>
        </p:txBody>
      </p:sp>
      <p:sp>
        <p:nvSpPr>
          <p:cNvPr id="99" name="Freeform: Shape 98">
            <a:extLst>
              <a:ext uri="{FF2B5EF4-FFF2-40B4-BE49-F238E27FC236}">
                <a16:creationId xmlns:a16="http://schemas.microsoft.com/office/drawing/2014/main" id="{C4B5640F-30BB-48CE-80EA-1D1AFA8D7B09}"/>
              </a:ext>
            </a:extLst>
          </p:cNvPr>
          <p:cNvSpPr/>
          <p:nvPr/>
        </p:nvSpPr>
        <p:spPr>
          <a:xfrm>
            <a:off x="4922710" y="1226750"/>
            <a:ext cx="66334" cy="66335"/>
          </a:xfrm>
          <a:custGeom>
            <a:avLst/>
            <a:gdLst>
              <a:gd name="connsiteX0" fmla="*/ 78105 w 156209"/>
              <a:gd name="connsiteY0" fmla="*/ 0 h 156210"/>
              <a:gd name="connsiteX1" fmla="*/ 156210 w 156209"/>
              <a:gd name="connsiteY1" fmla="*/ 78105 h 156210"/>
              <a:gd name="connsiteX2" fmla="*/ 78105 w 156209"/>
              <a:gd name="connsiteY2" fmla="*/ 156210 h 156210"/>
              <a:gd name="connsiteX3" fmla="*/ 0 w 156209"/>
              <a:gd name="connsiteY3" fmla="*/ 78105 h 156210"/>
              <a:gd name="connsiteX4" fmla="*/ 78105 w 156209"/>
              <a:gd name="connsiteY4" fmla="*/ 0 h 156210"/>
              <a:gd name="connsiteX5" fmla="*/ 78105 w 156209"/>
              <a:gd name="connsiteY5" fmla="*/ 141923 h 156210"/>
              <a:gd name="connsiteX6" fmla="*/ 141922 w 156209"/>
              <a:gd name="connsiteY6" fmla="*/ 78105 h 156210"/>
              <a:gd name="connsiteX7" fmla="*/ 78105 w 156209"/>
              <a:gd name="connsiteY7" fmla="*/ 14288 h 156210"/>
              <a:gd name="connsiteX8" fmla="*/ 14288 w 156209"/>
              <a:gd name="connsiteY8" fmla="*/ 78105 h 156210"/>
              <a:gd name="connsiteX9" fmla="*/ 78105 w 156209"/>
              <a:gd name="connsiteY9" fmla="*/ 141923 h 15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10">
                <a:moveTo>
                  <a:pt x="78105" y="0"/>
                </a:moveTo>
                <a:cubicBezTo>
                  <a:pt x="120968" y="0"/>
                  <a:pt x="156210" y="35242"/>
                  <a:pt x="156210" y="78105"/>
                </a:cubicBezTo>
                <a:cubicBezTo>
                  <a:pt x="156210" y="120967"/>
                  <a:pt x="120968" y="156210"/>
                  <a:pt x="78105" y="156210"/>
                </a:cubicBezTo>
                <a:cubicBezTo>
                  <a:pt x="35243" y="156210"/>
                  <a:pt x="0" y="120967"/>
                  <a:pt x="0" y="78105"/>
                </a:cubicBezTo>
                <a:cubicBezTo>
                  <a:pt x="0" y="35242"/>
                  <a:pt x="35243" y="0"/>
                  <a:pt x="78105" y="0"/>
                </a:cubicBezTo>
                <a:close/>
                <a:moveTo>
                  <a:pt x="78105" y="141923"/>
                </a:moveTo>
                <a:cubicBezTo>
                  <a:pt x="113347" y="141923"/>
                  <a:pt x="141922" y="113348"/>
                  <a:pt x="141922" y="78105"/>
                </a:cubicBezTo>
                <a:cubicBezTo>
                  <a:pt x="141922" y="42863"/>
                  <a:pt x="113347" y="14288"/>
                  <a:pt x="78105" y="14288"/>
                </a:cubicBezTo>
                <a:cubicBezTo>
                  <a:pt x="42863" y="14288"/>
                  <a:pt x="14288" y="42863"/>
                  <a:pt x="14288" y="78105"/>
                </a:cubicBezTo>
                <a:cubicBezTo>
                  <a:pt x="14288" y="113348"/>
                  <a:pt x="43339" y="141923"/>
                  <a:pt x="78105" y="141923"/>
                </a:cubicBezTo>
                <a:close/>
              </a:path>
            </a:pathLst>
          </a:custGeom>
          <a:solidFill>
            <a:srgbClr val="E2231A"/>
          </a:solidFill>
          <a:ln w="4763" cap="flat">
            <a:noFill/>
            <a:prstDash val="solid"/>
            <a:miter/>
          </a:ln>
        </p:spPr>
        <p:txBody>
          <a:bodyPr rtlCol="0" anchor="ctr"/>
          <a:lstStyle/>
          <a:p>
            <a:endParaRPr lang="en-US">
              <a:latin typeface="+mn-lt"/>
            </a:endParaRPr>
          </a:p>
        </p:txBody>
      </p:sp>
      <p:sp>
        <p:nvSpPr>
          <p:cNvPr id="100" name="Freeform: Shape 99">
            <a:extLst>
              <a:ext uri="{FF2B5EF4-FFF2-40B4-BE49-F238E27FC236}">
                <a16:creationId xmlns:a16="http://schemas.microsoft.com/office/drawing/2014/main" id="{8932D176-02A2-47D6-8FB2-797BAD4DBA1A}"/>
              </a:ext>
            </a:extLst>
          </p:cNvPr>
          <p:cNvSpPr/>
          <p:nvPr/>
        </p:nvSpPr>
        <p:spPr>
          <a:xfrm>
            <a:off x="5299684" y="1226750"/>
            <a:ext cx="66334" cy="66335"/>
          </a:xfrm>
          <a:custGeom>
            <a:avLst/>
            <a:gdLst>
              <a:gd name="connsiteX0" fmla="*/ 78105 w 156209"/>
              <a:gd name="connsiteY0" fmla="*/ 0 h 156210"/>
              <a:gd name="connsiteX1" fmla="*/ 156210 w 156209"/>
              <a:gd name="connsiteY1" fmla="*/ 78105 h 156210"/>
              <a:gd name="connsiteX2" fmla="*/ 78105 w 156209"/>
              <a:gd name="connsiteY2" fmla="*/ 156210 h 156210"/>
              <a:gd name="connsiteX3" fmla="*/ 0 w 156209"/>
              <a:gd name="connsiteY3" fmla="*/ 78105 h 156210"/>
              <a:gd name="connsiteX4" fmla="*/ 78105 w 156209"/>
              <a:gd name="connsiteY4" fmla="*/ 0 h 156210"/>
              <a:gd name="connsiteX5" fmla="*/ 78105 w 156209"/>
              <a:gd name="connsiteY5" fmla="*/ 141923 h 156210"/>
              <a:gd name="connsiteX6" fmla="*/ 141922 w 156209"/>
              <a:gd name="connsiteY6" fmla="*/ 78105 h 156210"/>
              <a:gd name="connsiteX7" fmla="*/ 78105 w 156209"/>
              <a:gd name="connsiteY7" fmla="*/ 14288 h 156210"/>
              <a:gd name="connsiteX8" fmla="*/ 14288 w 156209"/>
              <a:gd name="connsiteY8" fmla="*/ 78105 h 156210"/>
              <a:gd name="connsiteX9" fmla="*/ 78105 w 156209"/>
              <a:gd name="connsiteY9" fmla="*/ 141923 h 15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10">
                <a:moveTo>
                  <a:pt x="78105" y="0"/>
                </a:moveTo>
                <a:cubicBezTo>
                  <a:pt x="120967" y="0"/>
                  <a:pt x="156210" y="35242"/>
                  <a:pt x="156210" y="78105"/>
                </a:cubicBezTo>
                <a:cubicBezTo>
                  <a:pt x="156210" y="120967"/>
                  <a:pt x="120967" y="156210"/>
                  <a:pt x="78105" y="156210"/>
                </a:cubicBezTo>
                <a:cubicBezTo>
                  <a:pt x="35242" y="156210"/>
                  <a:pt x="0" y="120967"/>
                  <a:pt x="0" y="78105"/>
                </a:cubicBezTo>
                <a:cubicBezTo>
                  <a:pt x="0" y="35242"/>
                  <a:pt x="34766" y="0"/>
                  <a:pt x="78105" y="0"/>
                </a:cubicBezTo>
                <a:close/>
                <a:moveTo>
                  <a:pt x="78105" y="141923"/>
                </a:moveTo>
                <a:cubicBezTo>
                  <a:pt x="113347" y="141923"/>
                  <a:pt x="141922" y="113348"/>
                  <a:pt x="141922" y="78105"/>
                </a:cubicBezTo>
                <a:cubicBezTo>
                  <a:pt x="141922" y="42863"/>
                  <a:pt x="113347" y="14288"/>
                  <a:pt x="78105" y="14288"/>
                </a:cubicBezTo>
                <a:cubicBezTo>
                  <a:pt x="42863" y="14288"/>
                  <a:pt x="14288" y="42863"/>
                  <a:pt x="14288" y="78105"/>
                </a:cubicBezTo>
                <a:cubicBezTo>
                  <a:pt x="14288" y="113348"/>
                  <a:pt x="42863" y="141923"/>
                  <a:pt x="78105" y="141923"/>
                </a:cubicBezTo>
                <a:close/>
              </a:path>
            </a:pathLst>
          </a:custGeom>
          <a:solidFill>
            <a:srgbClr val="00BCEB"/>
          </a:solidFill>
          <a:ln w="4763" cap="flat">
            <a:noFill/>
            <a:prstDash val="solid"/>
            <a:miter/>
          </a:ln>
        </p:spPr>
        <p:txBody>
          <a:bodyPr rtlCol="0" anchor="ctr"/>
          <a:lstStyle/>
          <a:p>
            <a:endParaRPr lang="en-US">
              <a:latin typeface="+mn-lt"/>
            </a:endParaRPr>
          </a:p>
        </p:txBody>
      </p:sp>
      <p:sp>
        <p:nvSpPr>
          <p:cNvPr id="101" name="Freeform: Shape 100">
            <a:extLst>
              <a:ext uri="{FF2B5EF4-FFF2-40B4-BE49-F238E27FC236}">
                <a16:creationId xmlns:a16="http://schemas.microsoft.com/office/drawing/2014/main" id="{2F965C5B-63B6-43E6-855B-EB427462275B}"/>
              </a:ext>
            </a:extLst>
          </p:cNvPr>
          <p:cNvSpPr/>
          <p:nvPr/>
        </p:nvSpPr>
        <p:spPr>
          <a:xfrm>
            <a:off x="5177734" y="1475909"/>
            <a:ext cx="66335" cy="66334"/>
          </a:xfrm>
          <a:custGeom>
            <a:avLst/>
            <a:gdLst>
              <a:gd name="connsiteX0" fmla="*/ 78105 w 156210"/>
              <a:gd name="connsiteY0" fmla="*/ 0 h 156209"/>
              <a:gd name="connsiteX1" fmla="*/ 156210 w 156210"/>
              <a:gd name="connsiteY1" fmla="*/ 78105 h 156209"/>
              <a:gd name="connsiteX2" fmla="*/ 78105 w 156210"/>
              <a:gd name="connsiteY2" fmla="*/ 156210 h 156209"/>
              <a:gd name="connsiteX3" fmla="*/ 0 w 156210"/>
              <a:gd name="connsiteY3" fmla="*/ 78105 h 156209"/>
              <a:gd name="connsiteX4" fmla="*/ 78105 w 156210"/>
              <a:gd name="connsiteY4" fmla="*/ 0 h 156209"/>
              <a:gd name="connsiteX5" fmla="*/ 78105 w 156210"/>
              <a:gd name="connsiteY5" fmla="*/ 141446 h 156209"/>
              <a:gd name="connsiteX6" fmla="*/ 141923 w 156210"/>
              <a:gd name="connsiteY6" fmla="*/ 77629 h 156209"/>
              <a:gd name="connsiteX7" fmla="*/ 78105 w 156210"/>
              <a:gd name="connsiteY7" fmla="*/ 13811 h 156209"/>
              <a:gd name="connsiteX8" fmla="*/ 14288 w 156210"/>
              <a:gd name="connsiteY8" fmla="*/ 77629 h 156209"/>
              <a:gd name="connsiteX9" fmla="*/ 78105 w 156210"/>
              <a:gd name="connsiteY9" fmla="*/ 141446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10" h="156209">
                <a:moveTo>
                  <a:pt x="78105" y="0"/>
                </a:moveTo>
                <a:cubicBezTo>
                  <a:pt x="120968" y="0"/>
                  <a:pt x="156210" y="35243"/>
                  <a:pt x="156210" y="78105"/>
                </a:cubicBezTo>
                <a:cubicBezTo>
                  <a:pt x="156210" y="120968"/>
                  <a:pt x="120968" y="156210"/>
                  <a:pt x="78105" y="156210"/>
                </a:cubicBezTo>
                <a:cubicBezTo>
                  <a:pt x="35243" y="156210"/>
                  <a:pt x="0" y="120968"/>
                  <a:pt x="0" y="78105"/>
                </a:cubicBezTo>
                <a:cubicBezTo>
                  <a:pt x="0" y="35243"/>
                  <a:pt x="35243" y="0"/>
                  <a:pt x="78105" y="0"/>
                </a:cubicBezTo>
                <a:close/>
                <a:moveTo>
                  <a:pt x="78105" y="141446"/>
                </a:moveTo>
                <a:cubicBezTo>
                  <a:pt x="113348" y="141446"/>
                  <a:pt x="141923" y="112871"/>
                  <a:pt x="141923" y="77629"/>
                </a:cubicBezTo>
                <a:cubicBezTo>
                  <a:pt x="141923" y="42386"/>
                  <a:pt x="113348" y="13811"/>
                  <a:pt x="78105" y="13811"/>
                </a:cubicBezTo>
                <a:cubicBezTo>
                  <a:pt x="42863" y="13811"/>
                  <a:pt x="14288" y="42386"/>
                  <a:pt x="14288" y="77629"/>
                </a:cubicBezTo>
                <a:cubicBezTo>
                  <a:pt x="14288" y="112871"/>
                  <a:pt x="43339" y="141446"/>
                  <a:pt x="78105" y="141446"/>
                </a:cubicBezTo>
                <a:close/>
              </a:path>
            </a:pathLst>
          </a:custGeom>
          <a:solidFill>
            <a:srgbClr val="00BCEB"/>
          </a:solidFill>
          <a:ln w="4763" cap="flat">
            <a:noFill/>
            <a:prstDash val="solid"/>
            <a:miter/>
          </a:ln>
        </p:spPr>
        <p:txBody>
          <a:bodyPr rtlCol="0" anchor="ctr"/>
          <a:lstStyle/>
          <a:p>
            <a:endParaRPr lang="en-US">
              <a:latin typeface="+mn-lt"/>
            </a:endParaRPr>
          </a:p>
        </p:txBody>
      </p:sp>
      <p:sp>
        <p:nvSpPr>
          <p:cNvPr id="107" name="Freeform: Shape 106">
            <a:extLst>
              <a:ext uri="{FF2B5EF4-FFF2-40B4-BE49-F238E27FC236}">
                <a16:creationId xmlns:a16="http://schemas.microsoft.com/office/drawing/2014/main" id="{177F97DE-0006-4EE4-98C8-AE8D61BF1B35}"/>
              </a:ext>
            </a:extLst>
          </p:cNvPr>
          <p:cNvSpPr/>
          <p:nvPr/>
        </p:nvSpPr>
        <p:spPr>
          <a:xfrm>
            <a:off x="5299684" y="1101563"/>
            <a:ext cx="66334" cy="66334"/>
          </a:xfrm>
          <a:custGeom>
            <a:avLst/>
            <a:gdLst>
              <a:gd name="connsiteX0" fmla="*/ 78105 w 156209"/>
              <a:gd name="connsiteY0" fmla="*/ 0 h 156209"/>
              <a:gd name="connsiteX1" fmla="*/ 156210 w 156209"/>
              <a:gd name="connsiteY1" fmla="*/ 78105 h 156209"/>
              <a:gd name="connsiteX2" fmla="*/ 78105 w 156209"/>
              <a:gd name="connsiteY2" fmla="*/ 156210 h 156209"/>
              <a:gd name="connsiteX3" fmla="*/ 0 w 156209"/>
              <a:gd name="connsiteY3" fmla="*/ 78105 h 156209"/>
              <a:gd name="connsiteX4" fmla="*/ 78105 w 156209"/>
              <a:gd name="connsiteY4" fmla="*/ 0 h 156209"/>
              <a:gd name="connsiteX5" fmla="*/ 78105 w 156209"/>
              <a:gd name="connsiteY5" fmla="*/ 141446 h 156209"/>
              <a:gd name="connsiteX6" fmla="*/ 141922 w 156209"/>
              <a:gd name="connsiteY6" fmla="*/ 77629 h 156209"/>
              <a:gd name="connsiteX7" fmla="*/ 78105 w 156209"/>
              <a:gd name="connsiteY7" fmla="*/ 13811 h 156209"/>
              <a:gd name="connsiteX8" fmla="*/ 14288 w 156209"/>
              <a:gd name="connsiteY8" fmla="*/ 77629 h 156209"/>
              <a:gd name="connsiteX9" fmla="*/ 78105 w 156209"/>
              <a:gd name="connsiteY9" fmla="*/ 141446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09">
                <a:moveTo>
                  <a:pt x="78105" y="0"/>
                </a:moveTo>
                <a:cubicBezTo>
                  <a:pt x="120967" y="0"/>
                  <a:pt x="156210" y="35242"/>
                  <a:pt x="156210" y="78105"/>
                </a:cubicBezTo>
                <a:cubicBezTo>
                  <a:pt x="156210" y="120967"/>
                  <a:pt x="120967" y="156210"/>
                  <a:pt x="78105" y="156210"/>
                </a:cubicBezTo>
                <a:cubicBezTo>
                  <a:pt x="35242" y="156210"/>
                  <a:pt x="0" y="120967"/>
                  <a:pt x="0" y="78105"/>
                </a:cubicBezTo>
                <a:cubicBezTo>
                  <a:pt x="0" y="35242"/>
                  <a:pt x="34766" y="0"/>
                  <a:pt x="78105" y="0"/>
                </a:cubicBezTo>
                <a:close/>
                <a:moveTo>
                  <a:pt x="78105" y="141446"/>
                </a:moveTo>
                <a:cubicBezTo>
                  <a:pt x="113347" y="141446"/>
                  <a:pt x="141922" y="112871"/>
                  <a:pt x="141922" y="77629"/>
                </a:cubicBezTo>
                <a:cubicBezTo>
                  <a:pt x="141922" y="42386"/>
                  <a:pt x="113347" y="13811"/>
                  <a:pt x="78105" y="13811"/>
                </a:cubicBezTo>
                <a:cubicBezTo>
                  <a:pt x="42863" y="13811"/>
                  <a:pt x="14288" y="42386"/>
                  <a:pt x="14288" y="77629"/>
                </a:cubicBezTo>
                <a:cubicBezTo>
                  <a:pt x="14288" y="112871"/>
                  <a:pt x="42863" y="141446"/>
                  <a:pt x="78105" y="141446"/>
                </a:cubicBezTo>
                <a:close/>
              </a:path>
            </a:pathLst>
          </a:custGeom>
          <a:solidFill>
            <a:srgbClr val="00BCEB"/>
          </a:solidFill>
          <a:ln w="4763" cap="flat">
            <a:noFill/>
            <a:prstDash val="solid"/>
            <a:miter/>
          </a:ln>
        </p:spPr>
        <p:txBody>
          <a:bodyPr rtlCol="0" anchor="ctr"/>
          <a:lstStyle/>
          <a:p>
            <a:endParaRPr lang="en-US">
              <a:latin typeface="+mn-lt"/>
            </a:endParaRPr>
          </a:p>
        </p:txBody>
      </p:sp>
      <p:pic>
        <p:nvPicPr>
          <p:cNvPr id="111" name="Picture 110" descr="A picture containing food&#10;&#10;Description automatically generated">
            <a:extLst>
              <a:ext uri="{FF2B5EF4-FFF2-40B4-BE49-F238E27FC236}">
                <a16:creationId xmlns:a16="http://schemas.microsoft.com/office/drawing/2014/main" id="{60162C19-7147-422C-8E82-C77FAC0243F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526877" y="712181"/>
            <a:ext cx="924953" cy="929195"/>
          </a:xfrm>
          <a:prstGeom prst="ellipse">
            <a:avLst/>
          </a:prstGeom>
        </p:spPr>
      </p:pic>
      <p:sp>
        <p:nvSpPr>
          <p:cNvPr id="116" name="Freeform: Shape 115">
            <a:extLst>
              <a:ext uri="{FF2B5EF4-FFF2-40B4-BE49-F238E27FC236}">
                <a16:creationId xmlns:a16="http://schemas.microsoft.com/office/drawing/2014/main" id="{D997DE31-D696-410F-8AF9-50281E01647E}"/>
              </a:ext>
            </a:extLst>
          </p:cNvPr>
          <p:cNvSpPr/>
          <p:nvPr/>
        </p:nvSpPr>
        <p:spPr>
          <a:xfrm>
            <a:off x="4580218" y="1266815"/>
            <a:ext cx="19010" cy="19010"/>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2"/>
                  <a:pt x="10022" y="0"/>
                  <a:pt x="22384" y="0"/>
                </a:cubicBezTo>
                <a:cubicBezTo>
                  <a:pt x="34746" y="0"/>
                  <a:pt x="44768" y="10022"/>
                  <a:pt x="44768" y="22384"/>
                </a:cubicBezTo>
                <a:close/>
              </a:path>
            </a:pathLst>
          </a:custGeom>
          <a:solidFill>
            <a:srgbClr val="000000"/>
          </a:solidFill>
          <a:ln w="4763" cap="flat">
            <a:noFill/>
            <a:prstDash val="solid"/>
            <a:miter/>
          </a:ln>
        </p:spPr>
        <p:txBody>
          <a:bodyPr rtlCol="0" anchor="ctr"/>
          <a:lstStyle/>
          <a:p>
            <a:endParaRPr lang="en-US">
              <a:latin typeface="+mn-lt"/>
            </a:endParaRPr>
          </a:p>
        </p:txBody>
      </p:sp>
      <p:grpSp>
        <p:nvGrpSpPr>
          <p:cNvPr id="4" name="Group 3">
            <a:extLst>
              <a:ext uri="{FF2B5EF4-FFF2-40B4-BE49-F238E27FC236}">
                <a16:creationId xmlns:a16="http://schemas.microsoft.com/office/drawing/2014/main" id="{E920A8D0-B0A1-4B5F-A6D4-743A90C5E356}"/>
              </a:ext>
            </a:extLst>
          </p:cNvPr>
          <p:cNvGrpSpPr/>
          <p:nvPr/>
        </p:nvGrpSpPr>
        <p:grpSpPr>
          <a:xfrm>
            <a:off x="6892766" y="3064195"/>
            <a:ext cx="950617" cy="937960"/>
            <a:chOff x="6892766" y="3064195"/>
            <a:chExt cx="950617" cy="937960"/>
          </a:xfrm>
        </p:grpSpPr>
        <p:sp>
          <p:nvSpPr>
            <p:cNvPr id="113" name="Oval 112">
              <a:extLst>
                <a:ext uri="{FF2B5EF4-FFF2-40B4-BE49-F238E27FC236}">
                  <a16:creationId xmlns:a16="http://schemas.microsoft.com/office/drawing/2014/main" id="{4BF6A5C3-F649-46D6-95D4-72B7BE5041D0}"/>
                </a:ext>
              </a:extLst>
            </p:cNvPr>
            <p:cNvSpPr/>
            <p:nvPr/>
          </p:nvSpPr>
          <p:spPr>
            <a:xfrm>
              <a:off x="6932798" y="3155833"/>
              <a:ext cx="846322" cy="846322"/>
            </a:xfrm>
            <a:prstGeom prst="ellipse">
              <a:avLst/>
            </a:prstGeom>
            <a:solidFill>
              <a:schemeClr val="accent1">
                <a:alpha val="60000"/>
              </a:schemeClr>
            </a:solidFill>
            <a:ln w="19050" cap="rnd"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n-lt"/>
                <a:ea typeface="ＭＳ Ｐゴシック" charset="0"/>
              </a:endParaRPr>
            </a:p>
          </p:txBody>
        </p:sp>
        <p:sp>
          <p:nvSpPr>
            <p:cNvPr id="194" name="Arc 193">
              <a:extLst>
                <a:ext uri="{FF2B5EF4-FFF2-40B4-BE49-F238E27FC236}">
                  <a16:creationId xmlns:a16="http://schemas.microsoft.com/office/drawing/2014/main" id="{FA3358E0-D216-4FF6-BF3C-7F32089B7845}"/>
                </a:ext>
              </a:extLst>
            </p:cNvPr>
            <p:cNvSpPr/>
            <p:nvPr/>
          </p:nvSpPr>
          <p:spPr>
            <a:xfrm rot="10800000" flipH="1" flipV="1">
              <a:off x="6892766" y="3064195"/>
              <a:ext cx="863758" cy="863758"/>
            </a:xfrm>
            <a:prstGeom prst="arc">
              <a:avLst>
                <a:gd name="adj1" fmla="val 6332327"/>
                <a:gd name="adj2" fmla="val 17280679"/>
              </a:avLst>
            </a:prstGeom>
            <a:noFill/>
            <a:ln w="19050" cap="rnd" cmpd="sng" algn="ctr">
              <a:solidFill>
                <a:schemeClr val="accent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5073"/>
                </a:solidFill>
                <a:effectLst/>
                <a:uLnTx/>
                <a:uFillTx/>
                <a:latin typeface="+mn-lt"/>
                <a:ea typeface="ＭＳ Ｐゴシック" charset="0"/>
                <a:cs typeface="+mn-cs"/>
              </a:endParaRPr>
            </a:p>
          </p:txBody>
        </p:sp>
        <p:pic>
          <p:nvPicPr>
            <p:cNvPr id="115" name="Picture 114" descr="A picture containing object, black, sitting, white&#10;&#10;Description automatically generated">
              <a:extLst>
                <a:ext uri="{FF2B5EF4-FFF2-40B4-BE49-F238E27FC236}">
                  <a16:creationId xmlns:a16="http://schemas.microsoft.com/office/drawing/2014/main" id="{B81AAF94-5E2A-4FBA-BDE9-F11FB8E935C8}"/>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7015497" y="3108685"/>
              <a:ext cx="827886" cy="827886"/>
            </a:xfrm>
            <a:custGeom>
              <a:avLst/>
              <a:gdLst>
                <a:gd name="connsiteX0" fmla="*/ 413943 w 827886"/>
                <a:gd name="connsiteY0" fmla="*/ 0 h 827886"/>
                <a:gd name="connsiteX1" fmla="*/ 827886 w 827886"/>
                <a:gd name="connsiteY1" fmla="*/ 413943 h 827886"/>
                <a:gd name="connsiteX2" fmla="*/ 413943 w 827886"/>
                <a:gd name="connsiteY2" fmla="*/ 827886 h 827886"/>
                <a:gd name="connsiteX3" fmla="*/ 0 w 827886"/>
                <a:gd name="connsiteY3" fmla="*/ 413943 h 827886"/>
                <a:gd name="connsiteX4" fmla="*/ 413943 w 827886"/>
                <a:gd name="connsiteY4" fmla="*/ 0 h 827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886" h="827886">
                  <a:moveTo>
                    <a:pt x="413943" y="0"/>
                  </a:moveTo>
                  <a:cubicBezTo>
                    <a:pt x="642557" y="0"/>
                    <a:pt x="827886" y="185329"/>
                    <a:pt x="827886" y="413943"/>
                  </a:cubicBezTo>
                  <a:cubicBezTo>
                    <a:pt x="827886" y="642557"/>
                    <a:pt x="642557" y="827886"/>
                    <a:pt x="413943" y="827886"/>
                  </a:cubicBezTo>
                  <a:cubicBezTo>
                    <a:pt x="185329" y="827886"/>
                    <a:pt x="0" y="642557"/>
                    <a:pt x="0" y="413943"/>
                  </a:cubicBezTo>
                  <a:cubicBezTo>
                    <a:pt x="0" y="185329"/>
                    <a:pt x="185329" y="0"/>
                    <a:pt x="413943" y="0"/>
                  </a:cubicBezTo>
                  <a:close/>
                </a:path>
              </a:pathLst>
            </a:custGeom>
          </p:spPr>
        </p:pic>
      </p:grpSp>
    </p:spTree>
    <p:extLst>
      <p:ext uri="{BB962C8B-B14F-4D97-AF65-F5344CB8AC3E}">
        <p14:creationId xmlns:p14="http://schemas.microsoft.com/office/powerpoint/2010/main" val="40295370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0" name="Rectangle: Rounded Corners 779">
            <a:extLst>
              <a:ext uri="{FF2B5EF4-FFF2-40B4-BE49-F238E27FC236}">
                <a16:creationId xmlns:a16="http://schemas.microsoft.com/office/drawing/2014/main" id="{AE01BCE8-854C-4CD2-AA31-BABB9FC2C240}"/>
              </a:ext>
            </a:extLst>
          </p:cNvPr>
          <p:cNvSpPr/>
          <p:nvPr/>
        </p:nvSpPr>
        <p:spPr>
          <a:xfrm>
            <a:off x="480111" y="2962428"/>
            <a:ext cx="567226" cy="567226"/>
          </a:xfrm>
          <a:prstGeom prst="roundRect">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Rounded Corners 8">
            <a:extLst>
              <a:ext uri="{FF2B5EF4-FFF2-40B4-BE49-F238E27FC236}">
                <a16:creationId xmlns:a16="http://schemas.microsoft.com/office/drawing/2014/main" id="{3F4F4285-2814-40CF-A305-4878CB461F96}"/>
              </a:ext>
            </a:extLst>
          </p:cNvPr>
          <p:cNvSpPr/>
          <p:nvPr/>
        </p:nvSpPr>
        <p:spPr>
          <a:xfrm>
            <a:off x="380553" y="2829629"/>
            <a:ext cx="567226" cy="567226"/>
          </a:xfrm>
          <a:prstGeom prst="roundRect">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2" name="Freeform: Shape 891">
            <a:extLst>
              <a:ext uri="{FF2B5EF4-FFF2-40B4-BE49-F238E27FC236}">
                <a16:creationId xmlns:a16="http://schemas.microsoft.com/office/drawing/2014/main" id="{CAFC9CDF-8531-4CFA-AC60-C784D4D246BC}"/>
              </a:ext>
            </a:extLst>
          </p:cNvPr>
          <p:cNvSpPr>
            <a:spLocks/>
          </p:cNvSpPr>
          <p:nvPr/>
        </p:nvSpPr>
        <p:spPr bwMode="auto">
          <a:xfrm>
            <a:off x="4136541" y="2772372"/>
            <a:ext cx="739730" cy="750497"/>
          </a:xfrm>
          <a:custGeom>
            <a:avLst/>
            <a:gdLst>
              <a:gd name="connsiteX0" fmla="*/ 578303 w 652975"/>
              <a:gd name="connsiteY0" fmla="*/ 527099 h 662481"/>
              <a:gd name="connsiteX1" fmla="*/ 584703 w 652975"/>
              <a:gd name="connsiteY1" fmla="*/ 527099 h 662481"/>
              <a:gd name="connsiteX2" fmla="*/ 584703 w 652975"/>
              <a:gd name="connsiteY2" fmla="*/ 533647 h 662481"/>
              <a:gd name="connsiteX3" fmla="*/ 527106 w 652975"/>
              <a:gd name="connsiteY3" fmla="*/ 592583 h 662481"/>
              <a:gd name="connsiteX4" fmla="*/ 520706 w 652975"/>
              <a:gd name="connsiteY4" fmla="*/ 592583 h 662481"/>
              <a:gd name="connsiteX5" fmla="*/ 520706 w 652975"/>
              <a:gd name="connsiteY5" fmla="*/ 586035 h 662481"/>
              <a:gd name="connsiteX6" fmla="*/ 578303 w 652975"/>
              <a:gd name="connsiteY6" fmla="*/ 527099 h 662481"/>
              <a:gd name="connsiteX7" fmla="*/ 627495 w 652975"/>
              <a:gd name="connsiteY7" fmla="*/ 433440 h 662481"/>
              <a:gd name="connsiteX8" fmla="*/ 633910 w 652975"/>
              <a:gd name="connsiteY8" fmla="*/ 433440 h 662481"/>
              <a:gd name="connsiteX9" fmla="*/ 633910 w 652975"/>
              <a:gd name="connsiteY9" fmla="*/ 440001 h 662481"/>
              <a:gd name="connsiteX10" fmla="*/ 435051 w 652975"/>
              <a:gd name="connsiteY10" fmla="*/ 643379 h 662481"/>
              <a:gd name="connsiteX11" fmla="*/ 428637 w 652975"/>
              <a:gd name="connsiteY11" fmla="*/ 643379 h 662481"/>
              <a:gd name="connsiteX12" fmla="*/ 428637 w 652975"/>
              <a:gd name="connsiteY12" fmla="*/ 636819 h 662481"/>
              <a:gd name="connsiteX13" fmla="*/ 627495 w 652975"/>
              <a:gd name="connsiteY13" fmla="*/ 433440 h 662481"/>
              <a:gd name="connsiteX14" fmla="*/ 641708 w 652975"/>
              <a:gd name="connsiteY14" fmla="*/ 374697 h 662481"/>
              <a:gd name="connsiteX15" fmla="*/ 648179 w 652975"/>
              <a:gd name="connsiteY15" fmla="*/ 374697 h 662481"/>
              <a:gd name="connsiteX16" fmla="*/ 648179 w 652975"/>
              <a:gd name="connsiteY16" fmla="*/ 383423 h 662481"/>
              <a:gd name="connsiteX17" fmla="*/ 378547 w 652975"/>
              <a:gd name="connsiteY17" fmla="*/ 656085 h 662481"/>
              <a:gd name="connsiteX18" fmla="*/ 369918 w 652975"/>
              <a:gd name="connsiteY18" fmla="*/ 656085 h 662481"/>
              <a:gd name="connsiteX19" fmla="*/ 369918 w 652975"/>
              <a:gd name="connsiteY19" fmla="*/ 649541 h 662481"/>
              <a:gd name="connsiteX20" fmla="*/ 641708 w 652975"/>
              <a:gd name="connsiteY20" fmla="*/ 374697 h 662481"/>
              <a:gd name="connsiteX21" fmla="*/ 644935 w 652975"/>
              <a:gd name="connsiteY21" fmla="*/ 328664 h 662481"/>
              <a:gd name="connsiteX22" fmla="*/ 651367 w 652975"/>
              <a:gd name="connsiteY22" fmla="*/ 328664 h 662481"/>
              <a:gd name="connsiteX23" fmla="*/ 651367 w 652975"/>
              <a:gd name="connsiteY23" fmla="*/ 335220 h 662481"/>
              <a:gd name="connsiteX24" fmla="*/ 331888 w 652975"/>
              <a:gd name="connsiteY24" fmla="*/ 660843 h 662481"/>
              <a:gd name="connsiteX25" fmla="*/ 325455 w 652975"/>
              <a:gd name="connsiteY25" fmla="*/ 660843 h 662481"/>
              <a:gd name="connsiteX26" fmla="*/ 325455 w 652975"/>
              <a:gd name="connsiteY26" fmla="*/ 654287 h 662481"/>
              <a:gd name="connsiteX27" fmla="*/ 644935 w 652975"/>
              <a:gd name="connsiteY27" fmla="*/ 328664 h 662481"/>
              <a:gd name="connsiteX28" fmla="*/ 643322 w 652975"/>
              <a:gd name="connsiteY28" fmla="*/ 287381 h 662481"/>
              <a:gd name="connsiteX29" fmla="*/ 649774 w 652975"/>
              <a:gd name="connsiteY29" fmla="*/ 287381 h 662481"/>
              <a:gd name="connsiteX30" fmla="*/ 649774 w 652975"/>
              <a:gd name="connsiteY30" fmla="*/ 293916 h 662481"/>
              <a:gd name="connsiteX31" fmla="*/ 290638 w 652975"/>
              <a:gd name="connsiteY31" fmla="*/ 657675 h 662481"/>
              <a:gd name="connsiteX32" fmla="*/ 284187 w 652975"/>
              <a:gd name="connsiteY32" fmla="*/ 657675 h 662481"/>
              <a:gd name="connsiteX33" fmla="*/ 284187 w 652975"/>
              <a:gd name="connsiteY33" fmla="*/ 651140 h 662481"/>
              <a:gd name="connsiteX34" fmla="*/ 643322 w 652975"/>
              <a:gd name="connsiteY34" fmla="*/ 287381 h 662481"/>
              <a:gd name="connsiteX35" fmla="*/ 636970 w 652975"/>
              <a:gd name="connsiteY35" fmla="*/ 250868 h 662481"/>
              <a:gd name="connsiteX36" fmla="*/ 643422 w 652975"/>
              <a:gd name="connsiteY36" fmla="*/ 250868 h 662481"/>
              <a:gd name="connsiteX37" fmla="*/ 643422 w 652975"/>
              <a:gd name="connsiteY37" fmla="*/ 257397 h 662481"/>
              <a:gd name="connsiteX38" fmla="*/ 254126 w 652975"/>
              <a:gd name="connsiteY38" fmla="*/ 651328 h 662481"/>
              <a:gd name="connsiteX39" fmla="*/ 247674 w 652975"/>
              <a:gd name="connsiteY39" fmla="*/ 651328 h 662481"/>
              <a:gd name="connsiteX40" fmla="*/ 247674 w 652975"/>
              <a:gd name="connsiteY40" fmla="*/ 644798 h 662481"/>
              <a:gd name="connsiteX41" fmla="*/ 636970 w 652975"/>
              <a:gd name="connsiteY41" fmla="*/ 250868 h 662481"/>
              <a:gd name="connsiteX42" fmla="*/ 625843 w 652975"/>
              <a:gd name="connsiteY42" fmla="*/ 217532 h 662481"/>
              <a:gd name="connsiteX43" fmla="*/ 632307 w 652975"/>
              <a:gd name="connsiteY43" fmla="*/ 217532 h 662481"/>
              <a:gd name="connsiteX44" fmla="*/ 632307 w 652975"/>
              <a:gd name="connsiteY44" fmla="*/ 224068 h 662481"/>
              <a:gd name="connsiteX45" fmla="*/ 220804 w 652975"/>
              <a:gd name="connsiteY45" fmla="*/ 640212 h 662481"/>
              <a:gd name="connsiteX46" fmla="*/ 214341 w 652975"/>
              <a:gd name="connsiteY46" fmla="*/ 640212 h 662481"/>
              <a:gd name="connsiteX47" fmla="*/ 214341 w 652975"/>
              <a:gd name="connsiteY47" fmla="*/ 633676 h 662481"/>
              <a:gd name="connsiteX48" fmla="*/ 625843 w 652975"/>
              <a:gd name="connsiteY48" fmla="*/ 217532 h 662481"/>
              <a:gd name="connsiteX49" fmla="*/ 613139 w 652975"/>
              <a:gd name="connsiteY49" fmla="*/ 187370 h 662481"/>
              <a:gd name="connsiteX50" fmla="*/ 619606 w 652975"/>
              <a:gd name="connsiteY50" fmla="*/ 187370 h 662481"/>
              <a:gd name="connsiteX51" fmla="*/ 619606 w 652975"/>
              <a:gd name="connsiteY51" fmla="*/ 193907 h 662481"/>
              <a:gd name="connsiteX52" fmla="*/ 190646 w 652975"/>
              <a:gd name="connsiteY52" fmla="*/ 627512 h 662481"/>
              <a:gd name="connsiteX53" fmla="*/ 184179 w 652975"/>
              <a:gd name="connsiteY53" fmla="*/ 627512 h 662481"/>
              <a:gd name="connsiteX54" fmla="*/ 184179 w 652975"/>
              <a:gd name="connsiteY54" fmla="*/ 620975 h 662481"/>
              <a:gd name="connsiteX55" fmla="*/ 613139 w 652975"/>
              <a:gd name="connsiteY55" fmla="*/ 187370 h 662481"/>
              <a:gd name="connsiteX56" fmla="*/ 598856 w 652975"/>
              <a:gd name="connsiteY56" fmla="*/ 158793 h 662481"/>
              <a:gd name="connsiteX57" fmla="*/ 605320 w 652975"/>
              <a:gd name="connsiteY57" fmla="*/ 158793 h 662481"/>
              <a:gd name="connsiteX58" fmla="*/ 605320 w 652975"/>
              <a:gd name="connsiteY58" fmla="*/ 165325 h 662481"/>
              <a:gd name="connsiteX59" fmla="*/ 163654 w 652975"/>
              <a:gd name="connsiteY59" fmla="*/ 611639 h 662481"/>
              <a:gd name="connsiteX60" fmla="*/ 157191 w 652975"/>
              <a:gd name="connsiteY60" fmla="*/ 611639 h 662481"/>
              <a:gd name="connsiteX61" fmla="*/ 157191 w 652975"/>
              <a:gd name="connsiteY61" fmla="*/ 605108 h 662481"/>
              <a:gd name="connsiteX62" fmla="*/ 598856 w 652975"/>
              <a:gd name="connsiteY62" fmla="*/ 158793 h 662481"/>
              <a:gd name="connsiteX63" fmla="*/ 581376 w 652975"/>
              <a:gd name="connsiteY63" fmla="*/ 133390 h 662481"/>
              <a:gd name="connsiteX64" fmla="*/ 587853 w 652975"/>
              <a:gd name="connsiteY64" fmla="*/ 133390 h 662481"/>
              <a:gd name="connsiteX65" fmla="*/ 587853 w 652975"/>
              <a:gd name="connsiteY65" fmla="*/ 139910 h 662481"/>
              <a:gd name="connsiteX66" fmla="*/ 136683 w 652975"/>
              <a:gd name="connsiteY66" fmla="*/ 594181 h 662481"/>
              <a:gd name="connsiteX67" fmla="*/ 130207 w 652975"/>
              <a:gd name="connsiteY67" fmla="*/ 594181 h 662481"/>
              <a:gd name="connsiteX68" fmla="*/ 130207 w 652975"/>
              <a:gd name="connsiteY68" fmla="*/ 587660 h 662481"/>
              <a:gd name="connsiteX69" fmla="*/ 581376 w 652975"/>
              <a:gd name="connsiteY69" fmla="*/ 133390 h 662481"/>
              <a:gd name="connsiteX70" fmla="*/ 560789 w 652975"/>
              <a:gd name="connsiteY70" fmla="*/ 109579 h 662481"/>
              <a:gd name="connsiteX71" fmla="*/ 567227 w 652975"/>
              <a:gd name="connsiteY71" fmla="*/ 109579 h 662481"/>
              <a:gd name="connsiteX72" fmla="*/ 567227 w 652975"/>
              <a:gd name="connsiteY72" fmla="*/ 116105 h 662481"/>
              <a:gd name="connsiteX73" fmla="*/ 114408 w 652975"/>
              <a:gd name="connsiteY73" fmla="*/ 575128 h 662481"/>
              <a:gd name="connsiteX74" fmla="*/ 107969 w 652975"/>
              <a:gd name="connsiteY74" fmla="*/ 575128 h 662481"/>
              <a:gd name="connsiteX75" fmla="*/ 107969 w 652975"/>
              <a:gd name="connsiteY75" fmla="*/ 568601 h 662481"/>
              <a:gd name="connsiteX76" fmla="*/ 560789 w 652975"/>
              <a:gd name="connsiteY76" fmla="*/ 109579 h 662481"/>
              <a:gd name="connsiteX77" fmla="*/ 540123 w 652975"/>
              <a:gd name="connsiteY77" fmla="*/ 87354 h 662481"/>
              <a:gd name="connsiteX78" fmla="*/ 546583 w 652975"/>
              <a:gd name="connsiteY78" fmla="*/ 87354 h 662481"/>
              <a:gd name="connsiteX79" fmla="*/ 546583 w 652975"/>
              <a:gd name="connsiteY79" fmla="*/ 93880 h 662481"/>
              <a:gd name="connsiteX80" fmla="*/ 92212 w 652975"/>
              <a:gd name="connsiteY80" fmla="*/ 552903 h 662481"/>
              <a:gd name="connsiteX81" fmla="*/ 85752 w 652975"/>
              <a:gd name="connsiteY81" fmla="*/ 552903 h 662481"/>
              <a:gd name="connsiteX82" fmla="*/ 85752 w 652975"/>
              <a:gd name="connsiteY82" fmla="*/ 546376 h 662481"/>
              <a:gd name="connsiteX83" fmla="*/ 540123 w 652975"/>
              <a:gd name="connsiteY83" fmla="*/ 87354 h 662481"/>
              <a:gd name="connsiteX84" fmla="*/ 127255 w 652975"/>
              <a:gd name="connsiteY84" fmla="*/ 69899 h 662481"/>
              <a:gd name="connsiteX85" fmla="*/ 133803 w 652975"/>
              <a:gd name="connsiteY85" fmla="*/ 69899 h 662481"/>
              <a:gd name="connsiteX86" fmla="*/ 133803 w 652975"/>
              <a:gd name="connsiteY86" fmla="*/ 76447 h 662481"/>
              <a:gd name="connsiteX87" fmla="*/ 74867 w 652975"/>
              <a:gd name="connsiteY87" fmla="*/ 135383 h 662481"/>
              <a:gd name="connsiteX88" fmla="*/ 68319 w 652975"/>
              <a:gd name="connsiteY88" fmla="*/ 135383 h 662481"/>
              <a:gd name="connsiteX89" fmla="*/ 68319 w 652975"/>
              <a:gd name="connsiteY89" fmla="*/ 128835 h 662481"/>
              <a:gd name="connsiteX90" fmla="*/ 127255 w 652975"/>
              <a:gd name="connsiteY90" fmla="*/ 69899 h 662481"/>
              <a:gd name="connsiteX91" fmla="*/ 516318 w 652975"/>
              <a:gd name="connsiteY91" fmla="*/ 68302 h 662481"/>
              <a:gd name="connsiteX92" fmla="*/ 522772 w 652975"/>
              <a:gd name="connsiteY92" fmla="*/ 68302 h 662481"/>
              <a:gd name="connsiteX93" fmla="*/ 522772 w 652975"/>
              <a:gd name="connsiteY93" fmla="*/ 74822 h 662481"/>
              <a:gd name="connsiteX94" fmla="*/ 73153 w 652975"/>
              <a:gd name="connsiteY94" fmla="*/ 529093 h 662481"/>
              <a:gd name="connsiteX95" fmla="*/ 66700 w 652975"/>
              <a:gd name="connsiteY95" fmla="*/ 529093 h 662481"/>
              <a:gd name="connsiteX96" fmla="*/ 66700 w 652975"/>
              <a:gd name="connsiteY96" fmla="*/ 522572 h 662481"/>
              <a:gd name="connsiteX97" fmla="*/ 516318 w 652975"/>
              <a:gd name="connsiteY97" fmla="*/ 68302 h 662481"/>
              <a:gd name="connsiteX98" fmla="*/ 490906 w 652975"/>
              <a:gd name="connsiteY98" fmla="*/ 50843 h 662481"/>
              <a:gd name="connsiteX99" fmla="*/ 497370 w 652975"/>
              <a:gd name="connsiteY99" fmla="*/ 50843 h 662481"/>
              <a:gd name="connsiteX100" fmla="*/ 497370 w 652975"/>
              <a:gd name="connsiteY100" fmla="*/ 57375 h 662481"/>
              <a:gd name="connsiteX101" fmla="*/ 55704 w 652975"/>
              <a:gd name="connsiteY101" fmla="*/ 503689 h 662481"/>
              <a:gd name="connsiteX102" fmla="*/ 49241 w 652975"/>
              <a:gd name="connsiteY102" fmla="*/ 503689 h 662481"/>
              <a:gd name="connsiteX103" fmla="*/ 49241 w 652975"/>
              <a:gd name="connsiteY103" fmla="*/ 497158 h 662481"/>
              <a:gd name="connsiteX104" fmla="*/ 490906 w 652975"/>
              <a:gd name="connsiteY104" fmla="*/ 50843 h 662481"/>
              <a:gd name="connsiteX105" fmla="*/ 462327 w 652975"/>
              <a:gd name="connsiteY105" fmla="*/ 34970 h 662481"/>
              <a:gd name="connsiteX106" fmla="*/ 468794 w 652975"/>
              <a:gd name="connsiteY106" fmla="*/ 34970 h 662481"/>
              <a:gd name="connsiteX107" fmla="*/ 468794 w 652975"/>
              <a:gd name="connsiteY107" fmla="*/ 41507 h 662481"/>
              <a:gd name="connsiteX108" fmla="*/ 39834 w 652975"/>
              <a:gd name="connsiteY108" fmla="*/ 475112 h 662481"/>
              <a:gd name="connsiteX109" fmla="*/ 33367 w 652975"/>
              <a:gd name="connsiteY109" fmla="*/ 475112 h 662481"/>
              <a:gd name="connsiteX110" fmla="*/ 33367 w 652975"/>
              <a:gd name="connsiteY110" fmla="*/ 468575 h 662481"/>
              <a:gd name="connsiteX111" fmla="*/ 462327 w 652975"/>
              <a:gd name="connsiteY111" fmla="*/ 34970 h 662481"/>
              <a:gd name="connsiteX112" fmla="*/ 432168 w 652975"/>
              <a:gd name="connsiteY112" fmla="*/ 22270 h 662481"/>
              <a:gd name="connsiteX113" fmla="*/ 438632 w 652975"/>
              <a:gd name="connsiteY113" fmla="*/ 22270 h 662481"/>
              <a:gd name="connsiteX114" fmla="*/ 438632 w 652975"/>
              <a:gd name="connsiteY114" fmla="*/ 28806 h 662481"/>
              <a:gd name="connsiteX115" fmla="*/ 27129 w 652975"/>
              <a:gd name="connsiteY115" fmla="*/ 444950 h 662481"/>
              <a:gd name="connsiteX116" fmla="*/ 20665 w 652975"/>
              <a:gd name="connsiteY116" fmla="*/ 444950 h 662481"/>
              <a:gd name="connsiteX117" fmla="*/ 20665 w 652975"/>
              <a:gd name="connsiteY117" fmla="*/ 438414 h 662481"/>
              <a:gd name="connsiteX118" fmla="*/ 432168 w 652975"/>
              <a:gd name="connsiteY118" fmla="*/ 22270 h 662481"/>
              <a:gd name="connsiteX119" fmla="*/ 219443 w 652975"/>
              <a:gd name="connsiteY119" fmla="*/ 19103 h 662481"/>
              <a:gd name="connsiteX120" fmla="*/ 225907 w 652975"/>
              <a:gd name="connsiteY120" fmla="*/ 19103 h 662481"/>
              <a:gd name="connsiteX121" fmla="*/ 225907 w 652975"/>
              <a:gd name="connsiteY121" fmla="*/ 25663 h 662481"/>
              <a:gd name="connsiteX122" fmla="*/ 25541 w 652975"/>
              <a:gd name="connsiteY122" fmla="*/ 229042 h 662481"/>
              <a:gd name="connsiteX123" fmla="*/ 19077 w 652975"/>
              <a:gd name="connsiteY123" fmla="*/ 229042 h 662481"/>
              <a:gd name="connsiteX124" fmla="*/ 19077 w 652975"/>
              <a:gd name="connsiteY124" fmla="*/ 222482 h 662481"/>
              <a:gd name="connsiteX125" fmla="*/ 219443 w 652975"/>
              <a:gd name="connsiteY125" fmla="*/ 19103 h 662481"/>
              <a:gd name="connsiteX126" fmla="*/ 400433 w 652975"/>
              <a:gd name="connsiteY126" fmla="*/ 11154 h 662481"/>
              <a:gd name="connsiteX127" fmla="*/ 406885 w 652975"/>
              <a:gd name="connsiteY127" fmla="*/ 11154 h 662481"/>
              <a:gd name="connsiteX128" fmla="*/ 406885 w 652975"/>
              <a:gd name="connsiteY128" fmla="*/ 17684 h 662481"/>
              <a:gd name="connsiteX129" fmla="*/ 17589 w 652975"/>
              <a:gd name="connsiteY129" fmla="*/ 411615 h 662481"/>
              <a:gd name="connsiteX130" fmla="*/ 11137 w 652975"/>
              <a:gd name="connsiteY130" fmla="*/ 411615 h 662481"/>
              <a:gd name="connsiteX131" fmla="*/ 11137 w 652975"/>
              <a:gd name="connsiteY131" fmla="*/ 405085 h 662481"/>
              <a:gd name="connsiteX132" fmla="*/ 400433 w 652975"/>
              <a:gd name="connsiteY132" fmla="*/ 11154 h 662481"/>
              <a:gd name="connsiteX133" fmla="*/ 274487 w 652975"/>
              <a:gd name="connsiteY133" fmla="*/ 6397 h 662481"/>
              <a:gd name="connsiteX134" fmla="*/ 283066 w 652975"/>
              <a:gd name="connsiteY134" fmla="*/ 6397 h 662481"/>
              <a:gd name="connsiteX135" fmla="*/ 283066 w 652975"/>
              <a:gd name="connsiteY135" fmla="*/ 12941 h 662481"/>
              <a:gd name="connsiteX136" fmla="*/ 12803 w 652975"/>
              <a:gd name="connsiteY136" fmla="*/ 287785 h 662481"/>
              <a:gd name="connsiteX137" fmla="*/ 6368 w 652975"/>
              <a:gd name="connsiteY137" fmla="*/ 287785 h 662481"/>
              <a:gd name="connsiteX138" fmla="*/ 6368 w 652975"/>
              <a:gd name="connsiteY138" fmla="*/ 279060 h 662481"/>
              <a:gd name="connsiteX139" fmla="*/ 274487 w 652975"/>
              <a:gd name="connsiteY139" fmla="*/ 6397 h 662481"/>
              <a:gd name="connsiteX140" fmla="*/ 363884 w 652975"/>
              <a:gd name="connsiteY140" fmla="*/ 4806 h 662481"/>
              <a:gd name="connsiteX141" fmla="*/ 370363 w 652975"/>
              <a:gd name="connsiteY141" fmla="*/ 4806 h 662481"/>
              <a:gd name="connsiteX142" fmla="*/ 370363 w 652975"/>
              <a:gd name="connsiteY142" fmla="*/ 11341 h 662481"/>
              <a:gd name="connsiteX143" fmla="*/ 9687 w 652975"/>
              <a:gd name="connsiteY143" fmla="*/ 375100 h 662481"/>
              <a:gd name="connsiteX144" fmla="*/ 3207 w 652975"/>
              <a:gd name="connsiteY144" fmla="*/ 375100 h 662481"/>
              <a:gd name="connsiteX145" fmla="*/ 3207 w 652975"/>
              <a:gd name="connsiteY145" fmla="*/ 368565 h 662481"/>
              <a:gd name="connsiteX146" fmla="*/ 363884 w 652975"/>
              <a:gd name="connsiteY146" fmla="*/ 4806 h 662481"/>
              <a:gd name="connsiteX147" fmla="*/ 322631 w 652975"/>
              <a:gd name="connsiteY147" fmla="*/ 1638 h 662481"/>
              <a:gd name="connsiteX148" fmla="*/ 329095 w 652975"/>
              <a:gd name="connsiteY148" fmla="*/ 1638 h 662481"/>
              <a:gd name="connsiteX149" fmla="*/ 329095 w 652975"/>
              <a:gd name="connsiteY149" fmla="*/ 8194 h 662481"/>
              <a:gd name="connsiteX150" fmla="*/ 8079 w 652975"/>
              <a:gd name="connsiteY150" fmla="*/ 333818 h 662481"/>
              <a:gd name="connsiteX151" fmla="*/ 1615 w 652975"/>
              <a:gd name="connsiteY151" fmla="*/ 333818 h 662481"/>
              <a:gd name="connsiteX152" fmla="*/ 1615 w 652975"/>
              <a:gd name="connsiteY152" fmla="*/ 327262 h 662481"/>
              <a:gd name="connsiteX153" fmla="*/ 322631 w 652975"/>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5"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95" y="433440"/>
                </a:moveTo>
                <a:cubicBezTo>
                  <a:pt x="629633" y="431253"/>
                  <a:pt x="631772" y="431253"/>
                  <a:pt x="633910" y="433440"/>
                </a:cubicBezTo>
                <a:cubicBezTo>
                  <a:pt x="636048" y="435627"/>
                  <a:pt x="636048" y="437814"/>
                  <a:pt x="633910" y="440001"/>
                </a:cubicBezTo>
                <a:cubicBezTo>
                  <a:pt x="633910" y="440001"/>
                  <a:pt x="633910" y="440001"/>
                  <a:pt x="435051" y="643379"/>
                </a:cubicBezTo>
                <a:cubicBezTo>
                  <a:pt x="432913" y="645566"/>
                  <a:pt x="430775" y="645566"/>
                  <a:pt x="428637" y="643379"/>
                </a:cubicBezTo>
                <a:cubicBezTo>
                  <a:pt x="426498" y="641192"/>
                  <a:pt x="426498" y="639006"/>
                  <a:pt x="428637" y="636819"/>
                </a:cubicBezTo>
                <a:cubicBezTo>
                  <a:pt x="428637" y="636819"/>
                  <a:pt x="428637" y="636819"/>
                  <a:pt x="627495" y="433440"/>
                </a:cubicBezTo>
                <a:close/>
                <a:moveTo>
                  <a:pt x="641708" y="374697"/>
                </a:moveTo>
                <a:cubicBezTo>
                  <a:pt x="643865" y="372516"/>
                  <a:pt x="648179" y="372516"/>
                  <a:pt x="648179" y="374697"/>
                </a:cubicBezTo>
                <a:cubicBezTo>
                  <a:pt x="650336" y="376879"/>
                  <a:pt x="650336" y="381241"/>
                  <a:pt x="648179" y="383423"/>
                </a:cubicBezTo>
                <a:cubicBezTo>
                  <a:pt x="648179" y="383423"/>
                  <a:pt x="648179" y="383423"/>
                  <a:pt x="378547" y="656085"/>
                </a:cubicBezTo>
                <a:cubicBezTo>
                  <a:pt x="376389" y="658266"/>
                  <a:pt x="372075" y="658266"/>
                  <a:pt x="369918" y="656085"/>
                </a:cubicBezTo>
                <a:cubicBezTo>
                  <a:pt x="367761" y="656085"/>
                  <a:pt x="367761" y="651722"/>
                  <a:pt x="369918" y="649541"/>
                </a:cubicBezTo>
                <a:cubicBezTo>
                  <a:pt x="369918" y="649541"/>
                  <a:pt x="369918" y="649541"/>
                  <a:pt x="641708" y="374697"/>
                </a:cubicBezTo>
                <a:close/>
                <a:moveTo>
                  <a:pt x="644935" y="328664"/>
                </a:moveTo>
                <a:cubicBezTo>
                  <a:pt x="647079" y="326478"/>
                  <a:pt x="649223" y="326478"/>
                  <a:pt x="651367" y="328664"/>
                </a:cubicBezTo>
                <a:cubicBezTo>
                  <a:pt x="653511" y="330849"/>
                  <a:pt x="653511" y="333034"/>
                  <a:pt x="651367" y="335220"/>
                </a:cubicBezTo>
                <a:cubicBezTo>
                  <a:pt x="651367" y="335220"/>
                  <a:pt x="651367" y="335220"/>
                  <a:pt x="331888" y="660843"/>
                </a:cubicBezTo>
                <a:cubicBezTo>
                  <a:pt x="329744" y="663028"/>
                  <a:pt x="327600" y="663028"/>
                  <a:pt x="325455" y="660843"/>
                </a:cubicBezTo>
                <a:cubicBezTo>
                  <a:pt x="323311" y="658657"/>
                  <a:pt x="323311" y="656472"/>
                  <a:pt x="325455" y="654287"/>
                </a:cubicBezTo>
                <a:cubicBezTo>
                  <a:pt x="325455" y="654287"/>
                  <a:pt x="325455" y="654287"/>
                  <a:pt x="644935" y="328664"/>
                </a:cubicBezTo>
                <a:close/>
                <a:moveTo>
                  <a:pt x="643322" y="287381"/>
                </a:moveTo>
                <a:cubicBezTo>
                  <a:pt x="645473" y="285203"/>
                  <a:pt x="647623" y="285203"/>
                  <a:pt x="649774" y="287381"/>
                </a:cubicBezTo>
                <a:cubicBezTo>
                  <a:pt x="651924" y="289560"/>
                  <a:pt x="651924" y="291738"/>
                  <a:pt x="649774" y="293916"/>
                </a:cubicBezTo>
                <a:cubicBezTo>
                  <a:pt x="649774" y="293916"/>
                  <a:pt x="649774" y="293916"/>
                  <a:pt x="290638" y="657675"/>
                </a:cubicBezTo>
                <a:cubicBezTo>
                  <a:pt x="288488" y="659853"/>
                  <a:pt x="286337" y="659853"/>
                  <a:pt x="284187" y="657675"/>
                </a:cubicBezTo>
                <a:cubicBezTo>
                  <a:pt x="282036" y="655497"/>
                  <a:pt x="282036" y="653319"/>
                  <a:pt x="284187" y="651140"/>
                </a:cubicBezTo>
                <a:cubicBezTo>
                  <a:pt x="284187" y="651140"/>
                  <a:pt x="284187" y="651140"/>
                  <a:pt x="643322" y="287381"/>
                </a:cubicBezTo>
                <a:close/>
                <a:moveTo>
                  <a:pt x="636970" y="250868"/>
                </a:moveTo>
                <a:cubicBezTo>
                  <a:pt x="639121" y="248691"/>
                  <a:pt x="641272" y="248691"/>
                  <a:pt x="643422" y="250868"/>
                </a:cubicBezTo>
                <a:cubicBezTo>
                  <a:pt x="645573" y="253044"/>
                  <a:pt x="645573" y="255220"/>
                  <a:pt x="643422" y="257397"/>
                </a:cubicBezTo>
                <a:cubicBezTo>
                  <a:pt x="643422" y="257397"/>
                  <a:pt x="643422" y="257397"/>
                  <a:pt x="254126" y="651328"/>
                </a:cubicBezTo>
                <a:cubicBezTo>
                  <a:pt x="251976" y="653504"/>
                  <a:pt x="249825" y="653504"/>
                  <a:pt x="247674" y="651328"/>
                </a:cubicBezTo>
                <a:cubicBezTo>
                  <a:pt x="245523" y="649151"/>
                  <a:pt x="245523" y="646975"/>
                  <a:pt x="247674" y="644798"/>
                </a:cubicBezTo>
                <a:cubicBezTo>
                  <a:pt x="247674" y="644798"/>
                  <a:pt x="247674" y="644798"/>
                  <a:pt x="636970"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8856" y="158793"/>
                </a:moveTo>
                <a:cubicBezTo>
                  <a:pt x="601011" y="156616"/>
                  <a:pt x="603165" y="156616"/>
                  <a:pt x="605320" y="158793"/>
                </a:cubicBezTo>
                <a:cubicBezTo>
                  <a:pt x="607474" y="160970"/>
                  <a:pt x="607474" y="163148"/>
                  <a:pt x="605320" y="165325"/>
                </a:cubicBezTo>
                <a:cubicBezTo>
                  <a:pt x="605320" y="165325"/>
                  <a:pt x="605320" y="165325"/>
                  <a:pt x="163654" y="611639"/>
                </a:cubicBezTo>
                <a:cubicBezTo>
                  <a:pt x="161500" y="613816"/>
                  <a:pt x="159345" y="613816"/>
                  <a:pt x="157191" y="611639"/>
                </a:cubicBezTo>
                <a:cubicBezTo>
                  <a:pt x="155036" y="609462"/>
                  <a:pt x="155036" y="607285"/>
                  <a:pt x="157191" y="605108"/>
                </a:cubicBezTo>
                <a:cubicBezTo>
                  <a:pt x="157191" y="605108"/>
                  <a:pt x="157191" y="605108"/>
                  <a:pt x="598856" y="158793"/>
                </a:cubicBezTo>
                <a:close/>
                <a:moveTo>
                  <a:pt x="581376" y="133390"/>
                </a:moveTo>
                <a:cubicBezTo>
                  <a:pt x="583535" y="131216"/>
                  <a:pt x="585694" y="131216"/>
                  <a:pt x="587853" y="133390"/>
                </a:cubicBezTo>
                <a:cubicBezTo>
                  <a:pt x="590011" y="135563"/>
                  <a:pt x="590011" y="137737"/>
                  <a:pt x="587853" y="139910"/>
                </a:cubicBezTo>
                <a:cubicBezTo>
                  <a:pt x="587853" y="139910"/>
                  <a:pt x="587853" y="139910"/>
                  <a:pt x="136683" y="594181"/>
                </a:cubicBezTo>
                <a:cubicBezTo>
                  <a:pt x="134524" y="596354"/>
                  <a:pt x="132366" y="596354"/>
                  <a:pt x="130207" y="594181"/>
                </a:cubicBezTo>
                <a:cubicBezTo>
                  <a:pt x="128048" y="592007"/>
                  <a:pt x="128048" y="589834"/>
                  <a:pt x="130207" y="587660"/>
                </a:cubicBezTo>
                <a:cubicBezTo>
                  <a:pt x="130207" y="587660"/>
                  <a:pt x="130207" y="587660"/>
                  <a:pt x="581376" y="133390"/>
                </a:cubicBezTo>
                <a:close/>
                <a:moveTo>
                  <a:pt x="560789" y="109579"/>
                </a:moveTo>
                <a:cubicBezTo>
                  <a:pt x="562935" y="107403"/>
                  <a:pt x="565081" y="107403"/>
                  <a:pt x="567227" y="109579"/>
                </a:cubicBezTo>
                <a:cubicBezTo>
                  <a:pt x="569373" y="111754"/>
                  <a:pt x="569373" y="113930"/>
                  <a:pt x="567227" y="116105"/>
                </a:cubicBezTo>
                <a:cubicBezTo>
                  <a:pt x="567227" y="116105"/>
                  <a:pt x="567227" y="116105"/>
                  <a:pt x="114408" y="575128"/>
                </a:cubicBezTo>
                <a:cubicBezTo>
                  <a:pt x="112261" y="577303"/>
                  <a:pt x="110115" y="577303"/>
                  <a:pt x="107969" y="575128"/>
                </a:cubicBezTo>
                <a:cubicBezTo>
                  <a:pt x="105823" y="572952"/>
                  <a:pt x="105823" y="570777"/>
                  <a:pt x="107969" y="568601"/>
                </a:cubicBezTo>
                <a:cubicBezTo>
                  <a:pt x="107969" y="568601"/>
                  <a:pt x="107969" y="568601"/>
                  <a:pt x="560789"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7255" y="69899"/>
                </a:moveTo>
                <a:cubicBezTo>
                  <a:pt x="129438" y="67716"/>
                  <a:pt x="131621" y="67716"/>
                  <a:pt x="133803" y="69899"/>
                </a:cubicBezTo>
                <a:cubicBezTo>
                  <a:pt x="135986" y="72082"/>
                  <a:pt x="135986" y="76447"/>
                  <a:pt x="133803" y="76447"/>
                </a:cubicBezTo>
                <a:cubicBezTo>
                  <a:pt x="133803" y="76447"/>
                  <a:pt x="133803" y="76447"/>
                  <a:pt x="74867" y="135383"/>
                </a:cubicBezTo>
                <a:cubicBezTo>
                  <a:pt x="74867" y="137566"/>
                  <a:pt x="70502" y="137566"/>
                  <a:pt x="68319" y="135383"/>
                </a:cubicBezTo>
                <a:cubicBezTo>
                  <a:pt x="66136" y="133201"/>
                  <a:pt x="66136" y="131018"/>
                  <a:pt x="68319" y="128835"/>
                </a:cubicBezTo>
                <a:cubicBezTo>
                  <a:pt x="68319" y="128835"/>
                  <a:pt x="68319" y="128835"/>
                  <a:pt x="127255" y="69899"/>
                </a:cubicBezTo>
                <a:close/>
                <a:moveTo>
                  <a:pt x="516318" y="68302"/>
                </a:moveTo>
                <a:cubicBezTo>
                  <a:pt x="518469" y="66128"/>
                  <a:pt x="520621" y="66128"/>
                  <a:pt x="522772" y="68302"/>
                </a:cubicBezTo>
                <a:cubicBezTo>
                  <a:pt x="524923" y="70475"/>
                  <a:pt x="524923" y="72649"/>
                  <a:pt x="522772" y="74822"/>
                </a:cubicBezTo>
                <a:cubicBezTo>
                  <a:pt x="522772" y="74822"/>
                  <a:pt x="522772" y="74822"/>
                  <a:pt x="73153" y="529093"/>
                </a:cubicBezTo>
                <a:cubicBezTo>
                  <a:pt x="71002" y="531266"/>
                  <a:pt x="68851" y="531266"/>
                  <a:pt x="66700" y="529093"/>
                </a:cubicBezTo>
                <a:cubicBezTo>
                  <a:pt x="64548" y="526919"/>
                  <a:pt x="64548" y="524746"/>
                  <a:pt x="66700" y="522572"/>
                </a:cubicBezTo>
                <a:cubicBezTo>
                  <a:pt x="66700" y="522572"/>
                  <a:pt x="66700" y="522572"/>
                  <a:pt x="516318" y="68302"/>
                </a:cubicBezTo>
                <a:close/>
                <a:moveTo>
                  <a:pt x="490906" y="50843"/>
                </a:moveTo>
                <a:cubicBezTo>
                  <a:pt x="493061" y="48666"/>
                  <a:pt x="495215" y="48666"/>
                  <a:pt x="497370" y="50843"/>
                </a:cubicBezTo>
                <a:cubicBezTo>
                  <a:pt x="499524" y="53020"/>
                  <a:pt x="499524" y="55198"/>
                  <a:pt x="497370" y="57375"/>
                </a:cubicBezTo>
                <a:cubicBezTo>
                  <a:pt x="497370" y="57375"/>
                  <a:pt x="497370" y="57375"/>
                  <a:pt x="55704" y="503689"/>
                </a:cubicBezTo>
                <a:cubicBezTo>
                  <a:pt x="53550" y="505866"/>
                  <a:pt x="51395" y="505866"/>
                  <a:pt x="49241" y="503689"/>
                </a:cubicBezTo>
                <a:cubicBezTo>
                  <a:pt x="47086" y="501512"/>
                  <a:pt x="47086" y="499335"/>
                  <a:pt x="49241" y="497158"/>
                </a:cubicBezTo>
                <a:cubicBezTo>
                  <a:pt x="49241" y="497158"/>
                  <a:pt x="49241" y="497158"/>
                  <a:pt x="490906"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4"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400433" y="11154"/>
                </a:moveTo>
                <a:cubicBezTo>
                  <a:pt x="402584" y="8978"/>
                  <a:pt x="404735" y="8978"/>
                  <a:pt x="406885" y="11154"/>
                </a:cubicBezTo>
                <a:cubicBezTo>
                  <a:pt x="409036" y="13331"/>
                  <a:pt x="409036" y="15507"/>
                  <a:pt x="406885" y="17684"/>
                </a:cubicBezTo>
                <a:cubicBezTo>
                  <a:pt x="406885" y="17684"/>
                  <a:pt x="406885" y="17684"/>
                  <a:pt x="17589" y="411615"/>
                </a:cubicBezTo>
                <a:cubicBezTo>
                  <a:pt x="15438" y="413791"/>
                  <a:pt x="13287" y="413791"/>
                  <a:pt x="11137" y="411615"/>
                </a:cubicBezTo>
                <a:cubicBezTo>
                  <a:pt x="8986" y="409438"/>
                  <a:pt x="8986" y="407262"/>
                  <a:pt x="11137" y="405085"/>
                </a:cubicBezTo>
                <a:cubicBezTo>
                  <a:pt x="11137" y="405085"/>
                  <a:pt x="11137" y="405085"/>
                  <a:pt x="400433"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3884" y="4806"/>
                </a:moveTo>
                <a:cubicBezTo>
                  <a:pt x="366044" y="2628"/>
                  <a:pt x="368204" y="2628"/>
                  <a:pt x="370363" y="4806"/>
                </a:cubicBezTo>
                <a:cubicBezTo>
                  <a:pt x="372523" y="6984"/>
                  <a:pt x="372523" y="9162"/>
                  <a:pt x="370363" y="11341"/>
                </a:cubicBezTo>
                <a:cubicBezTo>
                  <a:pt x="370363" y="11341"/>
                  <a:pt x="370363" y="11341"/>
                  <a:pt x="9687" y="375100"/>
                </a:cubicBezTo>
                <a:cubicBezTo>
                  <a:pt x="7527" y="377278"/>
                  <a:pt x="5367" y="377278"/>
                  <a:pt x="3207" y="375100"/>
                </a:cubicBezTo>
                <a:cubicBezTo>
                  <a:pt x="1048" y="372922"/>
                  <a:pt x="1048" y="370744"/>
                  <a:pt x="3207" y="368565"/>
                </a:cubicBezTo>
                <a:cubicBezTo>
                  <a:pt x="3207" y="368565"/>
                  <a:pt x="3207" y="368565"/>
                  <a:pt x="36388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6" name="Oval 25">
            <a:extLst>
              <a:ext uri="{FF2B5EF4-FFF2-40B4-BE49-F238E27FC236}">
                <a16:creationId xmlns:a16="http://schemas.microsoft.com/office/drawing/2014/main" id="{52B89EA2-7AF8-49EE-98B5-FFE6AE09768F}"/>
              </a:ext>
            </a:extLst>
          </p:cNvPr>
          <p:cNvSpPr/>
          <p:nvPr/>
        </p:nvSpPr>
        <p:spPr>
          <a:xfrm>
            <a:off x="4069334" y="2679362"/>
            <a:ext cx="744495" cy="744495"/>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D09B245-493E-4C53-9219-113501836CC2}"/>
              </a:ext>
            </a:extLst>
          </p:cNvPr>
          <p:cNvSpPr>
            <a:spLocks noGrp="1"/>
          </p:cNvSpPr>
          <p:nvPr>
            <p:ph type="title"/>
          </p:nvPr>
        </p:nvSpPr>
        <p:spPr>
          <a:xfrm>
            <a:off x="533400" y="1061301"/>
            <a:ext cx="8077200" cy="984885"/>
          </a:xfrm>
        </p:spPr>
        <p:txBody>
          <a:bodyPr/>
          <a:lstStyle/>
          <a:p>
            <a:pPr algn="ctr"/>
            <a:r>
              <a:rPr lang="en-US" sz="3200"/>
              <a:t>A platform that enables better outcomes </a:t>
            </a:r>
            <a:br>
              <a:rPr lang="en-US" sz="3200"/>
            </a:br>
            <a:r>
              <a:rPr lang="en-US" sz="3200"/>
              <a:t>with one solution or many</a:t>
            </a:r>
          </a:p>
        </p:txBody>
      </p:sp>
      <p:grpSp>
        <p:nvGrpSpPr>
          <p:cNvPr id="368" name="Group 367">
            <a:extLst>
              <a:ext uri="{FF2B5EF4-FFF2-40B4-BE49-F238E27FC236}">
                <a16:creationId xmlns:a16="http://schemas.microsoft.com/office/drawing/2014/main" id="{9B6BDE00-A5A2-4AC1-AAA8-851B4BA55274}"/>
              </a:ext>
            </a:extLst>
          </p:cNvPr>
          <p:cNvGrpSpPr/>
          <p:nvPr/>
        </p:nvGrpSpPr>
        <p:grpSpPr>
          <a:xfrm>
            <a:off x="512899" y="3141127"/>
            <a:ext cx="476143" cy="440968"/>
            <a:chOff x="525968" y="738393"/>
            <a:chExt cx="2572513" cy="2382472"/>
          </a:xfrm>
        </p:grpSpPr>
        <p:sp>
          <p:nvSpPr>
            <p:cNvPr id="369" name="Freeform: Shape 368">
              <a:extLst>
                <a:ext uri="{FF2B5EF4-FFF2-40B4-BE49-F238E27FC236}">
                  <a16:creationId xmlns:a16="http://schemas.microsoft.com/office/drawing/2014/main" id="{C8B887C2-D6CF-4BB2-AB5C-95FE1F2ED5C2}"/>
                </a:ext>
              </a:extLst>
            </p:cNvPr>
            <p:cNvSpPr/>
            <p:nvPr/>
          </p:nvSpPr>
          <p:spPr>
            <a:xfrm>
              <a:off x="1982628" y="3076098"/>
              <a:ext cx="44767" cy="44767"/>
            </a:xfrm>
            <a:custGeom>
              <a:avLst/>
              <a:gdLst>
                <a:gd name="connsiteX0" fmla="*/ 44768 w 44767"/>
                <a:gd name="connsiteY0" fmla="*/ 22384 h 44767"/>
                <a:gd name="connsiteX1" fmla="*/ 22384 w 44767"/>
                <a:gd name="connsiteY1" fmla="*/ 44767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7"/>
                    <a:pt x="22384" y="44767"/>
                  </a:cubicBezTo>
                  <a:cubicBezTo>
                    <a:pt x="10022" y="44767"/>
                    <a:pt x="0" y="34746"/>
                    <a:pt x="0" y="22384"/>
                  </a:cubicBezTo>
                  <a:cubicBezTo>
                    <a:pt x="0" y="10021"/>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70" name="Freeform: Shape 369">
              <a:extLst>
                <a:ext uri="{FF2B5EF4-FFF2-40B4-BE49-F238E27FC236}">
                  <a16:creationId xmlns:a16="http://schemas.microsoft.com/office/drawing/2014/main" id="{C7A63E94-DC8C-4287-9061-EE5C6E71B6AC}"/>
                </a:ext>
              </a:extLst>
            </p:cNvPr>
            <p:cNvSpPr/>
            <p:nvPr/>
          </p:nvSpPr>
          <p:spPr>
            <a:xfrm>
              <a:off x="1624965" y="2737485"/>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1"/>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71" name="Freeform: Shape 370">
              <a:extLst>
                <a:ext uri="{FF2B5EF4-FFF2-40B4-BE49-F238E27FC236}">
                  <a16:creationId xmlns:a16="http://schemas.microsoft.com/office/drawing/2014/main" id="{093A2EBD-E418-4AE8-94EF-C9F380D5933F}"/>
                </a:ext>
              </a:extLst>
            </p:cNvPr>
            <p:cNvSpPr/>
            <p:nvPr/>
          </p:nvSpPr>
          <p:spPr>
            <a:xfrm>
              <a:off x="1624965" y="2393632"/>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2"/>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72" name="Freeform: Shape 371">
              <a:extLst>
                <a:ext uri="{FF2B5EF4-FFF2-40B4-BE49-F238E27FC236}">
                  <a16:creationId xmlns:a16="http://schemas.microsoft.com/office/drawing/2014/main" id="{88AC7EE6-B0FB-4264-B6F4-DFF6F8CE8042}"/>
                </a:ext>
              </a:extLst>
            </p:cNvPr>
            <p:cNvSpPr/>
            <p:nvPr/>
          </p:nvSpPr>
          <p:spPr>
            <a:xfrm>
              <a:off x="2338863" y="1705451"/>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2"/>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73" name="Freeform: Shape 372">
              <a:extLst>
                <a:ext uri="{FF2B5EF4-FFF2-40B4-BE49-F238E27FC236}">
                  <a16:creationId xmlns:a16="http://schemas.microsoft.com/office/drawing/2014/main" id="{AD98F920-94DB-4D27-B18E-249A4C193B32}"/>
                </a:ext>
              </a:extLst>
            </p:cNvPr>
            <p:cNvSpPr/>
            <p:nvPr/>
          </p:nvSpPr>
          <p:spPr>
            <a:xfrm>
              <a:off x="2697480" y="1705451"/>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74" name="Freeform: Shape 373">
              <a:extLst>
                <a:ext uri="{FF2B5EF4-FFF2-40B4-BE49-F238E27FC236}">
                  <a16:creationId xmlns:a16="http://schemas.microsoft.com/office/drawing/2014/main" id="{31EFC5B9-8CBE-43DE-BE81-54F5C5EC0064}"/>
                </a:ext>
              </a:extLst>
            </p:cNvPr>
            <p:cNvSpPr/>
            <p:nvPr/>
          </p:nvSpPr>
          <p:spPr>
            <a:xfrm>
              <a:off x="2697480" y="2393632"/>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75" name="Freeform: Shape 374">
              <a:extLst>
                <a:ext uri="{FF2B5EF4-FFF2-40B4-BE49-F238E27FC236}">
                  <a16:creationId xmlns:a16="http://schemas.microsoft.com/office/drawing/2014/main" id="{8ED63DFC-13DD-40C7-8029-32C4E5D65FCB}"/>
                </a:ext>
              </a:extLst>
            </p:cNvPr>
            <p:cNvSpPr/>
            <p:nvPr/>
          </p:nvSpPr>
          <p:spPr>
            <a:xfrm>
              <a:off x="3053714" y="1364456"/>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76" name="Freeform: Shape 375">
              <a:extLst>
                <a:ext uri="{FF2B5EF4-FFF2-40B4-BE49-F238E27FC236}">
                  <a16:creationId xmlns:a16="http://schemas.microsoft.com/office/drawing/2014/main" id="{0EC7B854-F983-416D-92EE-3E4394AD9966}"/>
                </a:ext>
              </a:extLst>
            </p:cNvPr>
            <p:cNvSpPr/>
            <p:nvPr/>
          </p:nvSpPr>
          <p:spPr>
            <a:xfrm>
              <a:off x="2273504" y="2726135"/>
              <a:ext cx="156210" cy="156210"/>
            </a:xfrm>
            <a:custGeom>
              <a:avLst/>
              <a:gdLst>
                <a:gd name="connsiteX0" fmla="*/ 78105 w 156209"/>
                <a:gd name="connsiteY0" fmla="*/ 0 h 156209"/>
                <a:gd name="connsiteX1" fmla="*/ 156210 w 156209"/>
                <a:gd name="connsiteY1" fmla="*/ 78105 h 156209"/>
                <a:gd name="connsiteX2" fmla="*/ 78105 w 156209"/>
                <a:gd name="connsiteY2" fmla="*/ 156210 h 156209"/>
                <a:gd name="connsiteX3" fmla="*/ 0 w 156209"/>
                <a:gd name="connsiteY3" fmla="*/ 78105 h 156209"/>
                <a:gd name="connsiteX4" fmla="*/ 78105 w 156209"/>
                <a:gd name="connsiteY4" fmla="*/ 0 h 156209"/>
                <a:gd name="connsiteX5" fmla="*/ 78105 w 156209"/>
                <a:gd name="connsiteY5" fmla="*/ 141922 h 156209"/>
                <a:gd name="connsiteX6" fmla="*/ 141922 w 156209"/>
                <a:gd name="connsiteY6" fmla="*/ 78105 h 156209"/>
                <a:gd name="connsiteX7" fmla="*/ 78105 w 156209"/>
                <a:gd name="connsiteY7" fmla="*/ 14288 h 156209"/>
                <a:gd name="connsiteX8" fmla="*/ 14288 w 156209"/>
                <a:gd name="connsiteY8" fmla="*/ 78105 h 156209"/>
                <a:gd name="connsiteX9" fmla="*/ 78105 w 156209"/>
                <a:gd name="connsiteY9" fmla="*/ 141922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09">
                  <a:moveTo>
                    <a:pt x="78105" y="0"/>
                  </a:moveTo>
                  <a:cubicBezTo>
                    <a:pt x="120967" y="0"/>
                    <a:pt x="156210" y="35243"/>
                    <a:pt x="156210" y="78105"/>
                  </a:cubicBezTo>
                  <a:cubicBezTo>
                    <a:pt x="156210" y="120968"/>
                    <a:pt x="120967" y="156210"/>
                    <a:pt x="78105" y="156210"/>
                  </a:cubicBezTo>
                  <a:cubicBezTo>
                    <a:pt x="35242" y="156210"/>
                    <a:pt x="0" y="120968"/>
                    <a:pt x="0" y="78105"/>
                  </a:cubicBezTo>
                  <a:cubicBezTo>
                    <a:pt x="0" y="35243"/>
                    <a:pt x="35242" y="0"/>
                    <a:pt x="78105" y="0"/>
                  </a:cubicBezTo>
                  <a:close/>
                  <a:moveTo>
                    <a:pt x="78105" y="141922"/>
                  </a:moveTo>
                  <a:cubicBezTo>
                    <a:pt x="113347" y="141922"/>
                    <a:pt x="141922" y="113347"/>
                    <a:pt x="141922" y="78105"/>
                  </a:cubicBezTo>
                  <a:cubicBezTo>
                    <a:pt x="141922" y="42863"/>
                    <a:pt x="113347" y="14288"/>
                    <a:pt x="78105" y="14288"/>
                  </a:cubicBezTo>
                  <a:cubicBezTo>
                    <a:pt x="42863" y="14288"/>
                    <a:pt x="14288" y="42863"/>
                    <a:pt x="14288" y="78105"/>
                  </a:cubicBezTo>
                  <a:cubicBezTo>
                    <a:pt x="14288" y="113347"/>
                    <a:pt x="42863" y="141922"/>
                    <a:pt x="78105" y="141922"/>
                  </a:cubicBezTo>
                  <a:close/>
                </a:path>
              </a:pathLst>
            </a:custGeom>
            <a:solidFill>
              <a:srgbClr val="00BCEB"/>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77" name="Freeform: Shape 376">
              <a:extLst>
                <a:ext uri="{FF2B5EF4-FFF2-40B4-BE49-F238E27FC236}">
                  <a16:creationId xmlns:a16="http://schemas.microsoft.com/office/drawing/2014/main" id="{7ADA5C08-B2CA-490D-A45B-8C5C49F36960}"/>
                </a:ext>
              </a:extLst>
            </p:cNvPr>
            <p:cNvSpPr/>
            <p:nvPr/>
          </p:nvSpPr>
          <p:spPr>
            <a:xfrm>
              <a:off x="2615088" y="1353026"/>
              <a:ext cx="156210" cy="156209"/>
            </a:xfrm>
            <a:custGeom>
              <a:avLst/>
              <a:gdLst>
                <a:gd name="connsiteX0" fmla="*/ 78105 w 156210"/>
                <a:gd name="connsiteY0" fmla="*/ 0 h 156209"/>
                <a:gd name="connsiteX1" fmla="*/ 156210 w 156210"/>
                <a:gd name="connsiteY1" fmla="*/ 78105 h 156209"/>
                <a:gd name="connsiteX2" fmla="*/ 78105 w 156210"/>
                <a:gd name="connsiteY2" fmla="*/ 156210 h 156209"/>
                <a:gd name="connsiteX3" fmla="*/ 0 w 156210"/>
                <a:gd name="connsiteY3" fmla="*/ 78105 h 156209"/>
                <a:gd name="connsiteX4" fmla="*/ 78105 w 156210"/>
                <a:gd name="connsiteY4" fmla="*/ 0 h 156209"/>
                <a:gd name="connsiteX5" fmla="*/ 78105 w 156210"/>
                <a:gd name="connsiteY5" fmla="*/ 141922 h 156209"/>
                <a:gd name="connsiteX6" fmla="*/ 141923 w 156210"/>
                <a:gd name="connsiteY6" fmla="*/ 78105 h 156209"/>
                <a:gd name="connsiteX7" fmla="*/ 78105 w 156210"/>
                <a:gd name="connsiteY7" fmla="*/ 14288 h 156209"/>
                <a:gd name="connsiteX8" fmla="*/ 14288 w 156210"/>
                <a:gd name="connsiteY8" fmla="*/ 78105 h 156209"/>
                <a:gd name="connsiteX9" fmla="*/ 78105 w 156210"/>
                <a:gd name="connsiteY9" fmla="*/ 141922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10" h="156209">
                  <a:moveTo>
                    <a:pt x="78105" y="0"/>
                  </a:moveTo>
                  <a:cubicBezTo>
                    <a:pt x="120968" y="0"/>
                    <a:pt x="156210" y="35242"/>
                    <a:pt x="156210" y="78105"/>
                  </a:cubicBezTo>
                  <a:cubicBezTo>
                    <a:pt x="156210" y="120967"/>
                    <a:pt x="120968" y="156210"/>
                    <a:pt x="78105" y="156210"/>
                  </a:cubicBezTo>
                  <a:cubicBezTo>
                    <a:pt x="35243" y="156210"/>
                    <a:pt x="0" y="120967"/>
                    <a:pt x="0" y="78105"/>
                  </a:cubicBezTo>
                  <a:cubicBezTo>
                    <a:pt x="0" y="35242"/>
                    <a:pt x="34766" y="0"/>
                    <a:pt x="78105" y="0"/>
                  </a:cubicBezTo>
                  <a:close/>
                  <a:moveTo>
                    <a:pt x="78105" y="141922"/>
                  </a:moveTo>
                  <a:cubicBezTo>
                    <a:pt x="113348" y="141922"/>
                    <a:pt x="141923" y="113347"/>
                    <a:pt x="141923" y="78105"/>
                  </a:cubicBezTo>
                  <a:cubicBezTo>
                    <a:pt x="141923" y="42863"/>
                    <a:pt x="113348" y="14288"/>
                    <a:pt x="78105" y="14288"/>
                  </a:cubicBezTo>
                  <a:cubicBezTo>
                    <a:pt x="42863" y="14288"/>
                    <a:pt x="14288" y="42863"/>
                    <a:pt x="14288" y="78105"/>
                  </a:cubicBezTo>
                  <a:cubicBezTo>
                    <a:pt x="14288" y="113347"/>
                    <a:pt x="42863" y="141922"/>
                    <a:pt x="78105" y="141922"/>
                  </a:cubicBezTo>
                  <a:close/>
                </a:path>
              </a:pathLst>
            </a:custGeom>
            <a:solidFill>
              <a:srgbClr val="00BCEB"/>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78" name="Freeform: Shape 377">
              <a:extLst>
                <a:ext uri="{FF2B5EF4-FFF2-40B4-BE49-F238E27FC236}">
                  <a16:creationId xmlns:a16="http://schemas.microsoft.com/office/drawing/2014/main" id="{13124E1A-017B-45A7-8905-44CAEEEC8A27}"/>
                </a:ext>
              </a:extLst>
            </p:cNvPr>
            <p:cNvSpPr/>
            <p:nvPr/>
          </p:nvSpPr>
          <p:spPr>
            <a:xfrm>
              <a:off x="525968" y="738393"/>
              <a:ext cx="156210" cy="156210"/>
            </a:xfrm>
            <a:custGeom>
              <a:avLst/>
              <a:gdLst>
                <a:gd name="connsiteX0" fmla="*/ 78105 w 156210"/>
                <a:gd name="connsiteY0" fmla="*/ 0 h 156210"/>
                <a:gd name="connsiteX1" fmla="*/ 156210 w 156210"/>
                <a:gd name="connsiteY1" fmla="*/ 78105 h 156210"/>
                <a:gd name="connsiteX2" fmla="*/ 78105 w 156210"/>
                <a:gd name="connsiteY2" fmla="*/ 156210 h 156210"/>
                <a:gd name="connsiteX3" fmla="*/ 0 w 156210"/>
                <a:gd name="connsiteY3" fmla="*/ 78105 h 156210"/>
                <a:gd name="connsiteX4" fmla="*/ 78105 w 156210"/>
                <a:gd name="connsiteY4" fmla="*/ 0 h 156210"/>
                <a:gd name="connsiteX5" fmla="*/ 78105 w 156210"/>
                <a:gd name="connsiteY5" fmla="*/ 141923 h 156210"/>
                <a:gd name="connsiteX6" fmla="*/ 141923 w 156210"/>
                <a:gd name="connsiteY6" fmla="*/ 78105 h 156210"/>
                <a:gd name="connsiteX7" fmla="*/ 78105 w 156210"/>
                <a:gd name="connsiteY7" fmla="*/ 14288 h 156210"/>
                <a:gd name="connsiteX8" fmla="*/ 14288 w 156210"/>
                <a:gd name="connsiteY8" fmla="*/ 78105 h 156210"/>
                <a:gd name="connsiteX9" fmla="*/ 78105 w 156210"/>
                <a:gd name="connsiteY9" fmla="*/ 141923 h 15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10" h="156210">
                  <a:moveTo>
                    <a:pt x="78105" y="0"/>
                  </a:moveTo>
                  <a:cubicBezTo>
                    <a:pt x="120967" y="0"/>
                    <a:pt x="156210" y="35243"/>
                    <a:pt x="156210" y="78105"/>
                  </a:cubicBezTo>
                  <a:cubicBezTo>
                    <a:pt x="156210" y="120968"/>
                    <a:pt x="120967" y="156210"/>
                    <a:pt x="78105" y="156210"/>
                  </a:cubicBezTo>
                  <a:cubicBezTo>
                    <a:pt x="35242" y="156210"/>
                    <a:pt x="0" y="120968"/>
                    <a:pt x="0" y="78105"/>
                  </a:cubicBezTo>
                  <a:cubicBezTo>
                    <a:pt x="0" y="35243"/>
                    <a:pt x="35242" y="0"/>
                    <a:pt x="78105" y="0"/>
                  </a:cubicBezTo>
                  <a:close/>
                  <a:moveTo>
                    <a:pt x="78105" y="141923"/>
                  </a:moveTo>
                  <a:cubicBezTo>
                    <a:pt x="113348" y="141923"/>
                    <a:pt x="141923" y="113348"/>
                    <a:pt x="141923" y="78105"/>
                  </a:cubicBezTo>
                  <a:cubicBezTo>
                    <a:pt x="141923" y="42862"/>
                    <a:pt x="113348" y="14288"/>
                    <a:pt x="78105" y="14288"/>
                  </a:cubicBezTo>
                  <a:cubicBezTo>
                    <a:pt x="42863" y="14288"/>
                    <a:pt x="14288" y="42862"/>
                    <a:pt x="14288" y="78105"/>
                  </a:cubicBezTo>
                  <a:cubicBezTo>
                    <a:pt x="14288" y="113348"/>
                    <a:pt x="42863" y="141923"/>
                    <a:pt x="78105" y="141923"/>
                  </a:cubicBezTo>
                  <a:close/>
                </a:path>
              </a:pathLst>
            </a:custGeom>
            <a:solidFill>
              <a:schemeClr val="accent4"/>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grpSp>
      <p:grpSp>
        <p:nvGrpSpPr>
          <p:cNvPr id="379" name="Group 378">
            <a:extLst>
              <a:ext uri="{FF2B5EF4-FFF2-40B4-BE49-F238E27FC236}">
                <a16:creationId xmlns:a16="http://schemas.microsoft.com/office/drawing/2014/main" id="{24B145A5-C994-408E-86AA-980891C4AD46}"/>
              </a:ext>
            </a:extLst>
          </p:cNvPr>
          <p:cNvGrpSpPr/>
          <p:nvPr/>
        </p:nvGrpSpPr>
        <p:grpSpPr>
          <a:xfrm>
            <a:off x="284054" y="2655178"/>
            <a:ext cx="402927" cy="356119"/>
            <a:chOff x="921543" y="1196816"/>
            <a:chExt cx="2176938" cy="1924049"/>
          </a:xfrm>
        </p:grpSpPr>
        <p:sp>
          <p:nvSpPr>
            <p:cNvPr id="380" name="Freeform: Shape 379">
              <a:extLst>
                <a:ext uri="{FF2B5EF4-FFF2-40B4-BE49-F238E27FC236}">
                  <a16:creationId xmlns:a16="http://schemas.microsoft.com/office/drawing/2014/main" id="{E266D650-BE81-4481-9712-783543590204}"/>
                </a:ext>
              </a:extLst>
            </p:cNvPr>
            <p:cNvSpPr/>
            <p:nvPr/>
          </p:nvSpPr>
          <p:spPr>
            <a:xfrm>
              <a:off x="1982628" y="3076098"/>
              <a:ext cx="44767" cy="44767"/>
            </a:xfrm>
            <a:custGeom>
              <a:avLst/>
              <a:gdLst>
                <a:gd name="connsiteX0" fmla="*/ 44768 w 44767"/>
                <a:gd name="connsiteY0" fmla="*/ 22384 h 44767"/>
                <a:gd name="connsiteX1" fmla="*/ 22384 w 44767"/>
                <a:gd name="connsiteY1" fmla="*/ 44767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7"/>
                    <a:pt x="22384" y="44767"/>
                  </a:cubicBezTo>
                  <a:cubicBezTo>
                    <a:pt x="10022" y="44767"/>
                    <a:pt x="0" y="34746"/>
                    <a:pt x="0" y="22384"/>
                  </a:cubicBezTo>
                  <a:cubicBezTo>
                    <a:pt x="0" y="10021"/>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81" name="Freeform: Shape 380">
              <a:extLst>
                <a:ext uri="{FF2B5EF4-FFF2-40B4-BE49-F238E27FC236}">
                  <a16:creationId xmlns:a16="http://schemas.microsoft.com/office/drawing/2014/main" id="{0EBB061B-7D4B-4004-856A-BCE23A8E4C2B}"/>
                </a:ext>
              </a:extLst>
            </p:cNvPr>
            <p:cNvSpPr/>
            <p:nvPr/>
          </p:nvSpPr>
          <p:spPr>
            <a:xfrm>
              <a:off x="1624965" y="2737485"/>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1"/>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82" name="Freeform: Shape 381">
              <a:extLst>
                <a:ext uri="{FF2B5EF4-FFF2-40B4-BE49-F238E27FC236}">
                  <a16:creationId xmlns:a16="http://schemas.microsoft.com/office/drawing/2014/main" id="{A5AFCF60-5D40-429D-9115-192645FE95EC}"/>
                </a:ext>
              </a:extLst>
            </p:cNvPr>
            <p:cNvSpPr/>
            <p:nvPr/>
          </p:nvSpPr>
          <p:spPr>
            <a:xfrm>
              <a:off x="1624965" y="2393632"/>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2"/>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83" name="Freeform: Shape 382">
              <a:extLst>
                <a:ext uri="{FF2B5EF4-FFF2-40B4-BE49-F238E27FC236}">
                  <a16:creationId xmlns:a16="http://schemas.microsoft.com/office/drawing/2014/main" id="{FD684FBD-F3CC-46B9-80A0-DB51C2BA7560}"/>
                </a:ext>
              </a:extLst>
            </p:cNvPr>
            <p:cNvSpPr/>
            <p:nvPr/>
          </p:nvSpPr>
          <p:spPr>
            <a:xfrm>
              <a:off x="2338863" y="1705451"/>
              <a:ext cx="44767" cy="44767"/>
            </a:xfrm>
            <a:custGeom>
              <a:avLst/>
              <a:gdLst>
                <a:gd name="connsiteX0" fmla="*/ 44768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8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8" y="22384"/>
                  </a:moveTo>
                  <a:cubicBezTo>
                    <a:pt x="44768" y="34746"/>
                    <a:pt x="34746" y="44768"/>
                    <a:pt x="22384" y="44768"/>
                  </a:cubicBezTo>
                  <a:cubicBezTo>
                    <a:pt x="10022" y="44768"/>
                    <a:pt x="0" y="34746"/>
                    <a:pt x="0" y="22384"/>
                  </a:cubicBezTo>
                  <a:cubicBezTo>
                    <a:pt x="0" y="10022"/>
                    <a:pt x="10021" y="0"/>
                    <a:pt x="22384" y="0"/>
                  </a:cubicBezTo>
                  <a:cubicBezTo>
                    <a:pt x="34746" y="0"/>
                    <a:pt x="44768" y="10021"/>
                    <a:pt x="44768"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84" name="Freeform: Shape 383">
              <a:extLst>
                <a:ext uri="{FF2B5EF4-FFF2-40B4-BE49-F238E27FC236}">
                  <a16:creationId xmlns:a16="http://schemas.microsoft.com/office/drawing/2014/main" id="{2A799942-657F-4F2D-9599-ECD3FF395D63}"/>
                </a:ext>
              </a:extLst>
            </p:cNvPr>
            <p:cNvSpPr/>
            <p:nvPr/>
          </p:nvSpPr>
          <p:spPr>
            <a:xfrm>
              <a:off x="2697480" y="1705451"/>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85" name="Freeform: Shape 384">
              <a:extLst>
                <a:ext uri="{FF2B5EF4-FFF2-40B4-BE49-F238E27FC236}">
                  <a16:creationId xmlns:a16="http://schemas.microsoft.com/office/drawing/2014/main" id="{36EBE536-D2F4-4714-B447-749D3651F9C5}"/>
                </a:ext>
              </a:extLst>
            </p:cNvPr>
            <p:cNvSpPr/>
            <p:nvPr/>
          </p:nvSpPr>
          <p:spPr>
            <a:xfrm>
              <a:off x="2697480" y="2393632"/>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86" name="Freeform: Shape 385">
              <a:extLst>
                <a:ext uri="{FF2B5EF4-FFF2-40B4-BE49-F238E27FC236}">
                  <a16:creationId xmlns:a16="http://schemas.microsoft.com/office/drawing/2014/main" id="{7B85625E-C34B-4747-8763-61268A4EBE0D}"/>
                </a:ext>
              </a:extLst>
            </p:cNvPr>
            <p:cNvSpPr/>
            <p:nvPr/>
          </p:nvSpPr>
          <p:spPr>
            <a:xfrm>
              <a:off x="3053714" y="1364456"/>
              <a:ext cx="44767" cy="44767"/>
            </a:xfrm>
            <a:custGeom>
              <a:avLst/>
              <a:gdLst>
                <a:gd name="connsiteX0" fmla="*/ 44767 w 44767"/>
                <a:gd name="connsiteY0" fmla="*/ 22384 h 44767"/>
                <a:gd name="connsiteX1" fmla="*/ 22384 w 44767"/>
                <a:gd name="connsiteY1" fmla="*/ 44768 h 44767"/>
                <a:gd name="connsiteX2" fmla="*/ 0 w 44767"/>
                <a:gd name="connsiteY2" fmla="*/ 22384 h 44767"/>
                <a:gd name="connsiteX3" fmla="*/ 22384 w 44767"/>
                <a:gd name="connsiteY3" fmla="*/ 0 h 44767"/>
                <a:gd name="connsiteX4" fmla="*/ 44767 w 44767"/>
                <a:gd name="connsiteY4" fmla="*/ 22384 h 44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 h="44767">
                  <a:moveTo>
                    <a:pt x="44767" y="22384"/>
                  </a:moveTo>
                  <a:cubicBezTo>
                    <a:pt x="44767" y="34746"/>
                    <a:pt x="34746" y="44768"/>
                    <a:pt x="22384" y="44768"/>
                  </a:cubicBezTo>
                  <a:cubicBezTo>
                    <a:pt x="10021" y="44768"/>
                    <a:pt x="0" y="34746"/>
                    <a:pt x="0" y="22384"/>
                  </a:cubicBezTo>
                  <a:cubicBezTo>
                    <a:pt x="0" y="10022"/>
                    <a:pt x="10021" y="0"/>
                    <a:pt x="22384" y="0"/>
                  </a:cubicBezTo>
                  <a:cubicBezTo>
                    <a:pt x="34746" y="0"/>
                    <a:pt x="44767" y="10021"/>
                    <a:pt x="44767" y="22384"/>
                  </a:cubicBezTo>
                  <a:close/>
                </a:path>
              </a:pathLst>
            </a:custGeom>
            <a:solidFill>
              <a:srgbClr val="000000"/>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87" name="Freeform: Shape 386">
              <a:extLst>
                <a:ext uri="{FF2B5EF4-FFF2-40B4-BE49-F238E27FC236}">
                  <a16:creationId xmlns:a16="http://schemas.microsoft.com/office/drawing/2014/main" id="{B00E22E6-86EA-40A8-B360-B06CE7897202}"/>
                </a:ext>
              </a:extLst>
            </p:cNvPr>
            <p:cNvSpPr/>
            <p:nvPr/>
          </p:nvSpPr>
          <p:spPr>
            <a:xfrm>
              <a:off x="2269807" y="2604134"/>
              <a:ext cx="156209" cy="156209"/>
            </a:xfrm>
            <a:custGeom>
              <a:avLst/>
              <a:gdLst>
                <a:gd name="connsiteX0" fmla="*/ 78105 w 156209"/>
                <a:gd name="connsiteY0" fmla="*/ 0 h 156209"/>
                <a:gd name="connsiteX1" fmla="*/ 156210 w 156209"/>
                <a:gd name="connsiteY1" fmla="*/ 78105 h 156209"/>
                <a:gd name="connsiteX2" fmla="*/ 78105 w 156209"/>
                <a:gd name="connsiteY2" fmla="*/ 156210 h 156209"/>
                <a:gd name="connsiteX3" fmla="*/ 0 w 156209"/>
                <a:gd name="connsiteY3" fmla="*/ 78105 h 156209"/>
                <a:gd name="connsiteX4" fmla="*/ 78105 w 156209"/>
                <a:gd name="connsiteY4" fmla="*/ 0 h 156209"/>
                <a:gd name="connsiteX5" fmla="*/ 78105 w 156209"/>
                <a:gd name="connsiteY5" fmla="*/ 141922 h 156209"/>
                <a:gd name="connsiteX6" fmla="*/ 141922 w 156209"/>
                <a:gd name="connsiteY6" fmla="*/ 78105 h 156209"/>
                <a:gd name="connsiteX7" fmla="*/ 78105 w 156209"/>
                <a:gd name="connsiteY7" fmla="*/ 14288 h 156209"/>
                <a:gd name="connsiteX8" fmla="*/ 14288 w 156209"/>
                <a:gd name="connsiteY8" fmla="*/ 78105 h 156209"/>
                <a:gd name="connsiteX9" fmla="*/ 78105 w 156209"/>
                <a:gd name="connsiteY9" fmla="*/ 141922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09" h="156209">
                  <a:moveTo>
                    <a:pt x="78105" y="0"/>
                  </a:moveTo>
                  <a:cubicBezTo>
                    <a:pt x="120967" y="0"/>
                    <a:pt x="156210" y="35243"/>
                    <a:pt x="156210" y="78105"/>
                  </a:cubicBezTo>
                  <a:cubicBezTo>
                    <a:pt x="156210" y="120968"/>
                    <a:pt x="120967" y="156210"/>
                    <a:pt x="78105" y="156210"/>
                  </a:cubicBezTo>
                  <a:cubicBezTo>
                    <a:pt x="35242" y="156210"/>
                    <a:pt x="0" y="120968"/>
                    <a:pt x="0" y="78105"/>
                  </a:cubicBezTo>
                  <a:cubicBezTo>
                    <a:pt x="0" y="35243"/>
                    <a:pt x="35242" y="0"/>
                    <a:pt x="78105" y="0"/>
                  </a:cubicBezTo>
                  <a:close/>
                  <a:moveTo>
                    <a:pt x="78105" y="141922"/>
                  </a:moveTo>
                  <a:cubicBezTo>
                    <a:pt x="113347" y="141922"/>
                    <a:pt x="141922" y="113347"/>
                    <a:pt x="141922" y="78105"/>
                  </a:cubicBezTo>
                  <a:cubicBezTo>
                    <a:pt x="141922" y="42863"/>
                    <a:pt x="113347" y="14288"/>
                    <a:pt x="78105" y="14288"/>
                  </a:cubicBezTo>
                  <a:cubicBezTo>
                    <a:pt x="42863" y="14288"/>
                    <a:pt x="14288" y="42863"/>
                    <a:pt x="14288" y="78105"/>
                  </a:cubicBezTo>
                  <a:cubicBezTo>
                    <a:pt x="14288" y="113347"/>
                    <a:pt x="42863" y="141922"/>
                    <a:pt x="78105" y="141922"/>
                  </a:cubicBezTo>
                  <a:close/>
                </a:path>
              </a:pathLst>
            </a:custGeom>
            <a:solidFill>
              <a:srgbClr val="00BCEB"/>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88" name="Freeform: Shape 387">
              <a:extLst>
                <a:ext uri="{FF2B5EF4-FFF2-40B4-BE49-F238E27FC236}">
                  <a16:creationId xmlns:a16="http://schemas.microsoft.com/office/drawing/2014/main" id="{B9DFB58C-8574-414C-91E9-DEAB2EB9D9FF}"/>
                </a:ext>
              </a:extLst>
            </p:cNvPr>
            <p:cNvSpPr/>
            <p:nvPr/>
          </p:nvSpPr>
          <p:spPr>
            <a:xfrm>
              <a:off x="2615088" y="1353026"/>
              <a:ext cx="156210" cy="156209"/>
            </a:xfrm>
            <a:custGeom>
              <a:avLst/>
              <a:gdLst>
                <a:gd name="connsiteX0" fmla="*/ 78105 w 156210"/>
                <a:gd name="connsiteY0" fmla="*/ 0 h 156209"/>
                <a:gd name="connsiteX1" fmla="*/ 156210 w 156210"/>
                <a:gd name="connsiteY1" fmla="*/ 78105 h 156209"/>
                <a:gd name="connsiteX2" fmla="*/ 78105 w 156210"/>
                <a:gd name="connsiteY2" fmla="*/ 156210 h 156209"/>
                <a:gd name="connsiteX3" fmla="*/ 0 w 156210"/>
                <a:gd name="connsiteY3" fmla="*/ 78105 h 156209"/>
                <a:gd name="connsiteX4" fmla="*/ 78105 w 156210"/>
                <a:gd name="connsiteY4" fmla="*/ 0 h 156209"/>
                <a:gd name="connsiteX5" fmla="*/ 78105 w 156210"/>
                <a:gd name="connsiteY5" fmla="*/ 141922 h 156209"/>
                <a:gd name="connsiteX6" fmla="*/ 141923 w 156210"/>
                <a:gd name="connsiteY6" fmla="*/ 78105 h 156209"/>
                <a:gd name="connsiteX7" fmla="*/ 78105 w 156210"/>
                <a:gd name="connsiteY7" fmla="*/ 14288 h 156209"/>
                <a:gd name="connsiteX8" fmla="*/ 14288 w 156210"/>
                <a:gd name="connsiteY8" fmla="*/ 78105 h 156209"/>
                <a:gd name="connsiteX9" fmla="*/ 78105 w 156210"/>
                <a:gd name="connsiteY9" fmla="*/ 141922 h 1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10" h="156209">
                  <a:moveTo>
                    <a:pt x="78105" y="0"/>
                  </a:moveTo>
                  <a:cubicBezTo>
                    <a:pt x="120968" y="0"/>
                    <a:pt x="156210" y="35242"/>
                    <a:pt x="156210" y="78105"/>
                  </a:cubicBezTo>
                  <a:cubicBezTo>
                    <a:pt x="156210" y="120967"/>
                    <a:pt x="120968" y="156210"/>
                    <a:pt x="78105" y="156210"/>
                  </a:cubicBezTo>
                  <a:cubicBezTo>
                    <a:pt x="35243" y="156210"/>
                    <a:pt x="0" y="120967"/>
                    <a:pt x="0" y="78105"/>
                  </a:cubicBezTo>
                  <a:cubicBezTo>
                    <a:pt x="0" y="35242"/>
                    <a:pt x="34766" y="0"/>
                    <a:pt x="78105" y="0"/>
                  </a:cubicBezTo>
                  <a:close/>
                  <a:moveTo>
                    <a:pt x="78105" y="141922"/>
                  </a:moveTo>
                  <a:cubicBezTo>
                    <a:pt x="113348" y="141922"/>
                    <a:pt x="141923" y="113347"/>
                    <a:pt x="141923" y="78105"/>
                  </a:cubicBezTo>
                  <a:cubicBezTo>
                    <a:pt x="141923" y="42863"/>
                    <a:pt x="113348" y="14288"/>
                    <a:pt x="78105" y="14288"/>
                  </a:cubicBezTo>
                  <a:cubicBezTo>
                    <a:pt x="42863" y="14288"/>
                    <a:pt x="14288" y="42863"/>
                    <a:pt x="14288" y="78105"/>
                  </a:cubicBezTo>
                  <a:cubicBezTo>
                    <a:pt x="14288" y="113347"/>
                    <a:pt x="42863" y="141922"/>
                    <a:pt x="78105" y="141922"/>
                  </a:cubicBezTo>
                  <a:close/>
                </a:path>
              </a:pathLst>
            </a:custGeom>
            <a:solidFill>
              <a:srgbClr val="00BCEB"/>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89" name="Freeform: Shape 388">
              <a:extLst>
                <a:ext uri="{FF2B5EF4-FFF2-40B4-BE49-F238E27FC236}">
                  <a16:creationId xmlns:a16="http://schemas.microsoft.com/office/drawing/2014/main" id="{95625204-15ED-434A-B855-DC9A8D813F9A}"/>
                </a:ext>
              </a:extLst>
            </p:cNvPr>
            <p:cNvSpPr/>
            <p:nvPr/>
          </p:nvSpPr>
          <p:spPr>
            <a:xfrm>
              <a:off x="921543" y="1196816"/>
              <a:ext cx="156210" cy="156210"/>
            </a:xfrm>
            <a:custGeom>
              <a:avLst/>
              <a:gdLst>
                <a:gd name="connsiteX0" fmla="*/ 78105 w 156210"/>
                <a:gd name="connsiteY0" fmla="*/ 0 h 156210"/>
                <a:gd name="connsiteX1" fmla="*/ 156210 w 156210"/>
                <a:gd name="connsiteY1" fmla="*/ 78105 h 156210"/>
                <a:gd name="connsiteX2" fmla="*/ 78105 w 156210"/>
                <a:gd name="connsiteY2" fmla="*/ 156210 h 156210"/>
                <a:gd name="connsiteX3" fmla="*/ 0 w 156210"/>
                <a:gd name="connsiteY3" fmla="*/ 78105 h 156210"/>
                <a:gd name="connsiteX4" fmla="*/ 78105 w 156210"/>
                <a:gd name="connsiteY4" fmla="*/ 0 h 156210"/>
                <a:gd name="connsiteX5" fmla="*/ 78105 w 156210"/>
                <a:gd name="connsiteY5" fmla="*/ 141923 h 156210"/>
                <a:gd name="connsiteX6" fmla="*/ 141923 w 156210"/>
                <a:gd name="connsiteY6" fmla="*/ 78105 h 156210"/>
                <a:gd name="connsiteX7" fmla="*/ 78105 w 156210"/>
                <a:gd name="connsiteY7" fmla="*/ 14288 h 156210"/>
                <a:gd name="connsiteX8" fmla="*/ 14288 w 156210"/>
                <a:gd name="connsiteY8" fmla="*/ 78105 h 156210"/>
                <a:gd name="connsiteX9" fmla="*/ 78105 w 156210"/>
                <a:gd name="connsiteY9" fmla="*/ 141923 h 15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210" h="156210">
                  <a:moveTo>
                    <a:pt x="78105" y="0"/>
                  </a:moveTo>
                  <a:cubicBezTo>
                    <a:pt x="120967" y="0"/>
                    <a:pt x="156210" y="35243"/>
                    <a:pt x="156210" y="78105"/>
                  </a:cubicBezTo>
                  <a:cubicBezTo>
                    <a:pt x="156210" y="120968"/>
                    <a:pt x="120967" y="156210"/>
                    <a:pt x="78105" y="156210"/>
                  </a:cubicBezTo>
                  <a:cubicBezTo>
                    <a:pt x="35242" y="156210"/>
                    <a:pt x="0" y="120968"/>
                    <a:pt x="0" y="78105"/>
                  </a:cubicBezTo>
                  <a:cubicBezTo>
                    <a:pt x="0" y="35243"/>
                    <a:pt x="35242" y="0"/>
                    <a:pt x="78105" y="0"/>
                  </a:cubicBezTo>
                  <a:close/>
                  <a:moveTo>
                    <a:pt x="78105" y="141923"/>
                  </a:moveTo>
                  <a:cubicBezTo>
                    <a:pt x="113348" y="141923"/>
                    <a:pt x="141923" y="113348"/>
                    <a:pt x="141923" y="78105"/>
                  </a:cubicBezTo>
                  <a:cubicBezTo>
                    <a:pt x="141923" y="42862"/>
                    <a:pt x="113348" y="14288"/>
                    <a:pt x="78105" y="14288"/>
                  </a:cubicBezTo>
                  <a:cubicBezTo>
                    <a:pt x="42863" y="14288"/>
                    <a:pt x="14288" y="42862"/>
                    <a:pt x="14288" y="78105"/>
                  </a:cubicBezTo>
                  <a:cubicBezTo>
                    <a:pt x="14288" y="113348"/>
                    <a:pt x="42863" y="141923"/>
                    <a:pt x="78105" y="141923"/>
                  </a:cubicBezTo>
                  <a:close/>
                </a:path>
              </a:pathLst>
            </a:custGeom>
            <a:solidFill>
              <a:schemeClr val="accent4"/>
            </a:solidFill>
            <a:ln w="476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grpSp>
      <p:pic>
        <p:nvPicPr>
          <p:cNvPr id="390" name="Picture 389" descr="A picture containing light&#10;&#10;Description automatically generated">
            <a:extLst>
              <a:ext uri="{FF2B5EF4-FFF2-40B4-BE49-F238E27FC236}">
                <a16:creationId xmlns:a16="http://schemas.microsoft.com/office/drawing/2014/main" id="{A4AD4E3D-2A51-470F-AA1D-DDDC6320690A}"/>
              </a:ext>
            </a:extLst>
          </p:cNvPr>
          <p:cNvPicPr>
            <a:picLocks noChangeAspect="1"/>
          </p:cNvPicPr>
          <p:nvPr/>
        </p:nvPicPr>
        <p:blipFill rotWithShape="1">
          <a:blip r:embed="rId3" cstate="screen">
            <a:grayscl/>
            <a:extLst>
              <a:ext uri="{28A0092B-C50C-407E-A947-70E740481C1C}">
                <a14:useLocalDpi xmlns:a14="http://schemas.microsoft.com/office/drawing/2010/main"/>
              </a:ext>
            </a:extLst>
          </a:blip>
          <a:srcRect/>
          <a:stretch/>
        </p:blipFill>
        <p:spPr>
          <a:xfrm rot="20933630" flipH="1">
            <a:off x="324835" y="2929791"/>
            <a:ext cx="830453" cy="402619"/>
          </a:xfrm>
          <a:prstGeom prst="rect">
            <a:avLst/>
          </a:prstGeom>
        </p:spPr>
      </p:pic>
      <p:grpSp>
        <p:nvGrpSpPr>
          <p:cNvPr id="391" name="Group 390">
            <a:extLst>
              <a:ext uri="{FF2B5EF4-FFF2-40B4-BE49-F238E27FC236}">
                <a16:creationId xmlns:a16="http://schemas.microsoft.com/office/drawing/2014/main" id="{279D91C0-CFA0-4340-9FC7-26F42D3C6DDA}"/>
              </a:ext>
            </a:extLst>
          </p:cNvPr>
          <p:cNvGrpSpPr/>
          <p:nvPr/>
        </p:nvGrpSpPr>
        <p:grpSpPr>
          <a:xfrm>
            <a:off x="503000" y="2962901"/>
            <a:ext cx="537966" cy="255151"/>
            <a:chOff x="3078159" y="5840705"/>
            <a:chExt cx="1882961" cy="893068"/>
          </a:xfrm>
          <a:solidFill>
            <a:schemeClr val="bg2">
              <a:alpha val="50000"/>
            </a:schemeClr>
          </a:solidFill>
        </p:grpSpPr>
        <p:grpSp>
          <p:nvGrpSpPr>
            <p:cNvPr id="392" name="Group 391">
              <a:extLst>
                <a:ext uri="{FF2B5EF4-FFF2-40B4-BE49-F238E27FC236}">
                  <a16:creationId xmlns:a16="http://schemas.microsoft.com/office/drawing/2014/main" id="{B7AD481D-3586-41BF-96A4-27E53BD93637}"/>
                </a:ext>
              </a:extLst>
            </p:cNvPr>
            <p:cNvGrpSpPr/>
            <p:nvPr/>
          </p:nvGrpSpPr>
          <p:grpSpPr>
            <a:xfrm>
              <a:off x="3078159" y="6248682"/>
              <a:ext cx="498330" cy="208173"/>
              <a:chOff x="4010402" y="4875038"/>
              <a:chExt cx="498330" cy="208173"/>
            </a:xfrm>
            <a:grpFill/>
          </p:grpSpPr>
          <p:sp>
            <p:nvSpPr>
              <p:cNvPr id="694" name="Freeform: Shape 693">
                <a:extLst>
                  <a:ext uri="{FF2B5EF4-FFF2-40B4-BE49-F238E27FC236}">
                    <a16:creationId xmlns:a16="http://schemas.microsoft.com/office/drawing/2014/main" id="{54002EB7-A5F3-4E65-B762-C3BF4088D035}"/>
                  </a:ext>
                </a:extLst>
              </p:cNvPr>
              <p:cNvSpPr/>
              <p:nvPr/>
            </p:nvSpPr>
            <p:spPr>
              <a:xfrm>
                <a:off x="4010544" y="4972327"/>
                <a:ext cx="42922" cy="42922"/>
              </a:xfrm>
              <a:custGeom>
                <a:avLst/>
                <a:gdLst>
                  <a:gd name="connsiteX0" fmla="*/ 33123 w 42922"/>
                  <a:gd name="connsiteY0" fmla="*/ 24539 h 42922"/>
                  <a:gd name="connsiteX1" fmla="*/ 24683 w 42922"/>
                  <a:gd name="connsiteY1" fmla="*/ 16096 h 42922"/>
                  <a:gd name="connsiteX2" fmla="*/ 24539 w 42922"/>
                  <a:gd name="connsiteY2" fmla="*/ 16097 h 42922"/>
                  <a:gd name="connsiteX3" fmla="*/ 16097 w 42922"/>
                  <a:gd name="connsiteY3" fmla="*/ 24250 h 42922"/>
                  <a:gd name="connsiteX4" fmla="*/ 16097 w 42922"/>
                  <a:gd name="connsiteY4" fmla="*/ 24539 h 42922"/>
                  <a:gd name="connsiteX5" fmla="*/ 24394 w 42922"/>
                  <a:gd name="connsiteY5" fmla="*/ 33122 h 42922"/>
                  <a:gd name="connsiteX6" fmla="*/ 24539 w 42922"/>
                  <a:gd name="connsiteY6" fmla="*/ 33123 h 42922"/>
                  <a:gd name="connsiteX7" fmla="*/ 33123 w 42922"/>
                  <a:gd name="connsiteY7" fmla="*/ 245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539"/>
                    </a:moveTo>
                    <a:cubicBezTo>
                      <a:pt x="33123" y="19877"/>
                      <a:pt x="29344" y="16097"/>
                      <a:pt x="24683" y="16096"/>
                    </a:cubicBezTo>
                    <a:cubicBezTo>
                      <a:pt x="24634" y="16096"/>
                      <a:pt x="24587" y="16096"/>
                      <a:pt x="24539" y="16097"/>
                    </a:cubicBezTo>
                    <a:cubicBezTo>
                      <a:pt x="19956" y="16017"/>
                      <a:pt x="16177" y="19667"/>
                      <a:pt x="16097" y="24250"/>
                    </a:cubicBezTo>
                    <a:cubicBezTo>
                      <a:pt x="16096" y="24346"/>
                      <a:pt x="16096" y="24443"/>
                      <a:pt x="16097" y="24539"/>
                    </a:cubicBezTo>
                    <a:cubicBezTo>
                      <a:pt x="16018" y="29200"/>
                      <a:pt x="19733" y="33043"/>
                      <a:pt x="24394" y="33122"/>
                    </a:cubicBezTo>
                    <a:cubicBezTo>
                      <a:pt x="24443" y="33123"/>
                      <a:pt x="24490" y="33123"/>
                      <a:pt x="24539" y="33123"/>
                    </a:cubicBezTo>
                    <a:cubicBezTo>
                      <a:pt x="29280" y="33123"/>
                      <a:pt x="33123" y="29280"/>
                      <a:pt x="33123" y="24539"/>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95" name="Freeform: Shape 694">
                <a:extLst>
                  <a:ext uri="{FF2B5EF4-FFF2-40B4-BE49-F238E27FC236}">
                    <a16:creationId xmlns:a16="http://schemas.microsoft.com/office/drawing/2014/main" id="{F6C99063-2A10-45EE-A716-D3B2E42BC9F7}"/>
                  </a:ext>
                </a:extLst>
              </p:cNvPr>
              <p:cNvSpPr/>
              <p:nvPr/>
            </p:nvSpPr>
            <p:spPr>
              <a:xfrm>
                <a:off x="4062052" y="4972759"/>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6"/>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96" name="Freeform: Shape 695">
                <a:extLst>
                  <a:ext uri="{FF2B5EF4-FFF2-40B4-BE49-F238E27FC236}">
                    <a16:creationId xmlns:a16="http://schemas.microsoft.com/office/drawing/2014/main" id="{36B96026-6772-4A4D-9E9A-50EEE6A5A010}"/>
                  </a:ext>
                </a:extLst>
              </p:cNvPr>
              <p:cNvSpPr/>
              <p:nvPr/>
            </p:nvSpPr>
            <p:spPr>
              <a:xfrm>
                <a:off x="4115133" y="4974910"/>
                <a:ext cx="42922" cy="42922"/>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97" name="Freeform: Shape 696">
                <a:extLst>
                  <a:ext uri="{FF2B5EF4-FFF2-40B4-BE49-F238E27FC236}">
                    <a16:creationId xmlns:a16="http://schemas.microsoft.com/office/drawing/2014/main" id="{4862D88F-D5E0-4D1A-A916-F72D469FDE55}"/>
                  </a:ext>
                </a:extLst>
              </p:cNvPr>
              <p:cNvSpPr/>
              <p:nvPr/>
            </p:nvSpPr>
            <p:spPr>
              <a:xfrm>
                <a:off x="4166926" y="4974047"/>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98" name="Freeform: Shape 697">
                <a:extLst>
                  <a:ext uri="{FF2B5EF4-FFF2-40B4-BE49-F238E27FC236}">
                    <a16:creationId xmlns:a16="http://schemas.microsoft.com/office/drawing/2014/main" id="{4AFE3433-D890-4CB2-B6FB-003CD210B871}"/>
                  </a:ext>
                </a:extLst>
              </p:cNvPr>
              <p:cNvSpPr/>
              <p:nvPr/>
            </p:nvSpPr>
            <p:spPr>
              <a:xfrm>
                <a:off x="4219076" y="4975553"/>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99" name="Freeform: Shape 698">
                <a:extLst>
                  <a:ext uri="{FF2B5EF4-FFF2-40B4-BE49-F238E27FC236}">
                    <a16:creationId xmlns:a16="http://schemas.microsoft.com/office/drawing/2014/main" id="{06FAC00A-95D7-4044-8649-7055F8FA9925}"/>
                  </a:ext>
                </a:extLst>
              </p:cNvPr>
              <p:cNvSpPr/>
              <p:nvPr/>
            </p:nvSpPr>
            <p:spPr>
              <a:xfrm>
                <a:off x="4271371" y="4975333"/>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00" name="Freeform: Shape 699">
                <a:extLst>
                  <a:ext uri="{FF2B5EF4-FFF2-40B4-BE49-F238E27FC236}">
                    <a16:creationId xmlns:a16="http://schemas.microsoft.com/office/drawing/2014/main" id="{181EC71C-3FD2-432B-90EC-807F8B5F8BBA}"/>
                  </a:ext>
                </a:extLst>
              </p:cNvPr>
              <p:cNvSpPr/>
              <p:nvPr/>
            </p:nvSpPr>
            <p:spPr>
              <a:xfrm>
                <a:off x="4323521" y="4976736"/>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01" name="Freeform: Shape 700">
                <a:extLst>
                  <a:ext uri="{FF2B5EF4-FFF2-40B4-BE49-F238E27FC236}">
                    <a16:creationId xmlns:a16="http://schemas.microsoft.com/office/drawing/2014/main" id="{7D8E3211-13FA-44B0-BB7D-69088C63ED08}"/>
                  </a:ext>
                </a:extLst>
              </p:cNvPr>
              <p:cNvSpPr/>
              <p:nvPr/>
            </p:nvSpPr>
            <p:spPr>
              <a:xfrm>
                <a:off x="4375817" y="4976764"/>
                <a:ext cx="28615" cy="28615"/>
              </a:xfrm>
              <a:custGeom>
                <a:avLst/>
                <a:gdLst>
                  <a:gd name="connsiteX0" fmla="*/ 24392 w 28614"/>
                  <a:gd name="connsiteY0" fmla="*/ 20102 h 28614"/>
                  <a:gd name="connsiteX1" fmla="*/ 20103 w 28614"/>
                  <a:gd name="connsiteY1" fmla="*/ 16098 h 28614"/>
                  <a:gd name="connsiteX2" fmla="*/ 16098 w 28614"/>
                  <a:gd name="connsiteY2" fmla="*/ 20388 h 28614"/>
                  <a:gd name="connsiteX3" fmla="*/ 20243 w 28614"/>
                  <a:gd name="connsiteY3" fmla="*/ 24394 h 28614"/>
                  <a:gd name="connsiteX4" fmla="*/ 24395 w 28614"/>
                  <a:gd name="connsiteY4" fmla="*/ 20248 h 28614"/>
                  <a:gd name="connsiteX5" fmla="*/ 24392 w 28614"/>
                  <a:gd name="connsiteY5" fmla="*/ 201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4392" y="20102"/>
                    </a:moveTo>
                    <a:cubicBezTo>
                      <a:pt x="24314" y="17811"/>
                      <a:pt x="22392" y="16018"/>
                      <a:pt x="20103" y="16098"/>
                    </a:cubicBezTo>
                    <a:cubicBezTo>
                      <a:pt x="17812" y="16177"/>
                      <a:pt x="16020" y="18097"/>
                      <a:pt x="16098" y="20388"/>
                    </a:cubicBezTo>
                    <a:cubicBezTo>
                      <a:pt x="16176" y="22621"/>
                      <a:pt x="18008" y="24393"/>
                      <a:pt x="20243" y="24394"/>
                    </a:cubicBezTo>
                    <a:cubicBezTo>
                      <a:pt x="22535" y="24395"/>
                      <a:pt x="24394" y="22538"/>
                      <a:pt x="24395" y="20248"/>
                    </a:cubicBezTo>
                    <a:cubicBezTo>
                      <a:pt x="24395" y="20199"/>
                      <a:pt x="24394" y="20150"/>
                      <a:pt x="24392" y="20102"/>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02" name="Freeform: Shape 701">
                <a:extLst>
                  <a:ext uri="{FF2B5EF4-FFF2-40B4-BE49-F238E27FC236}">
                    <a16:creationId xmlns:a16="http://schemas.microsoft.com/office/drawing/2014/main" id="{4308F8A5-CF53-4788-8C2F-4BDEDB2E47E2}"/>
                  </a:ext>
                </a:extLst>
              </p:cNvPr>
              <p:cNvSpPr/>
              <p:nvPr/>
            </p:nvSpPr>
            <p:spPr>
              <a:xfrm>
                <a:off x="4428610" y="4977193"/>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728" y="16169"/>
                      <a:pt x="16169" y="17728"/>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03" name="Freeform: Shape 702">
                <a:extLst>
                  <a:ext uri="{FF2B5EF4-FFF2-40B4-BE49-F238E27FC236}">
                    <a16:creationId xmlns:a16="http://schemas.microsoft.com/office/drawing/2014/main" id="{D7A8EA4C-E524-4E03-82C1-AE1F87802542}"/>
                  </a:ext>
                </a:extLst>
              </p:cNvPr>
              <p:cNvSpPr/>
              <p:nvPr/>
            </p:nvSpPr>
            <p:spPr>
              <a:xfrm>
                <a:off x="4480117" y="4977905"/>
                <a:ext cx="28615" cy="28615"/>
              </a:xfrm>
              <a:custGeom>
                <a:avLst/>
                <a:gdLst>
                  <a:gd name="connsiteX0" fmla="*/ 21962 w 28614"/>
                  <a:gd name="connsiteY0" fmla="*/ 18961 h 28614"/>
                  <a:gd name="connsiteX1" fmla="*/ 19100 w 28614"/>
                  <a:gd name="connsiteY1" fmla="*/ 16100 h 28614"/>
                  <a:gd name="connsiteX2" fmla="*/ 16100 w 28614"/>
                  <a:gd name="connsiteY2" fmla="*/ 18814 h 28614"/>
                  <a:gd name="connsiteX3" fmla="*/ 16096 w 28614"/>
                  <a:gd name="connsiteY3" fmla="*/ 18961 h 28614"/>
                  <a:gd name="connsiteX4" fmla="*/ 19100 w 28614"/>
                  <a:gd name="connsiteY4" fmla="*/ 21966 h 28614"/>
                  <a:gd name="connsiteX5" fmla="*/ 21966 w 28614"/>
                  <a:gd name="connsiteY5" fmla="*/ 19107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4"/>
                    </a:cubicBezTo>
                    <a:cubicBezTo>
                      <a:pt x="16097" y="18864"/>
                      <a:pt x="16096" y="18912"/>
                      <a:pt x="16096" y="18961"/>
                    </a:cubicBezTo>
                    <a:cubicBezTo>
                      <a:pt x="16096" y="20621"/>
                      <a:pt x="17441" y="21966"/>
                      <a:pt x="19100" y="21966"/>
                    </a:cubicBezTo>
                    <a:cubicBezTo>
                      <a:pt x="20682" y="21967"/>
                      <a:pt x="21963" y="20688"/>
                      <a:pt x="21966" y="19107"/>
                    </a:cubicBezTo>
                    <a:cubicBezTo>
                      <a:pt x="21966" y="19058"/>
                      <a:pt x="21965" y="19010"/>
                      <a:pt x="21962" y="18961"/>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04" name="Freeform: Shape 703">
                <a:extLst>
                  <a:ext uri="{FF2B5EF4-FFF2-40B4-BE49-F238E27FC236}">
                    <a16:creationId xmlns:a16="http://schemas.microsoft.com/office/drawing/2014/main" id="{9FEDBAA7-5886-4750-B3C8-FE7C573B1648}"/>
                  </a:ext>
                </a:extLst>
              </p:cNvPr>
              <p:cNvSpPr/>
              <p:nvPr/>
            </p:nvSpPr>
            <p:spPr>
              <a:xfrm>
                <a:off x="4010402" y="5004663"/>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05" name="Freeform: Shape 704">
                <a:extLst>
                  <a:ext uri="{FF2B5EF4-FFF2-40B4-BE49-F238E27FC236}">
                    <a16:creationId xmlns:a16="http://schemas.microsoft.com/office/drawing/2014/main" id="{121EE320-4E4A-447A-87E7-9C8448D52A3A}"/>
                  </a:ext>
                </a:extLst>
              </p:cNvPr>
              <p:cNvSpPr/>
              <p:nvPr/>
            </p:nvSpPr>
            <p:spPr>
              <a:xfrm>
                <a:off x="4062054" y="5005094"/>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96" y="32119"/>
                      <a:pt x="32119" y="28596"/>
                      <a:pt x="32119" y="2425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06" name="Freeform: Shape 705">
                <a:extLst>
                  <a:ext uri="{FF2B5EF4-FFF2-40B4-BE49-F238E27FC236}">
                    <a16:creationId xmlns:a16="http://schemas.microsoft.com/office/drawing/2014/main" id="{0EF719E8-4A65-489C-8C6A-6AF80C6D8196}"/>
                  </a:ext>
                </a:extLst>
              </p:cNvPr>
              <p:cNvSpPr/>
              <p:nvPr/>
            </p:nvSpPr>
            <p:spPr>
              <a:xfrm>
                <a:off x="4114847" y="5005951"/>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07" name="Freeform: Shape 706">
                <a:extLst>
                  <a:ext uri="{FF2B5EF4-FFF2-40B4-BE49-F238E27FC236}">
                    <a16:creationId xmlns:a16="http://schemas.microsoft.com/office/drawing/2014/main" id="{4A1DF0B3-FB0B-4BB1-848E-B2F2C42E5CBD}"/>
                  </a:ext>
                </a:extLst>
              </p:cNvPr>
              <p:cNvSpPr/>
              <p:nvPr/>
            </p:nvSpPr>
            <p:spPr>
              <a:xfrm>
                <a:off x="4166926" y="5006525"/>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08" name="Freeform: Shape 707">
                <a:extLst>
                  <a:ext uri="{FF2B5EF4-FFF2-40B4-BE49-F238E27FC236}">
                    <a16:creationId xmlns:a16="http://schemas.microsoft.com/office/drawing/2014/main" id="{38677A0D-499A-4057-9307-1481AE6843EC}"/>
                  </a:ext>
                </a:extLst>
              </p:cNvPr>
              <p:cNvSpPr/>
              <p:nvPr/>
            </p:nvSpPr>
            <p:spPr>
              <a:xfrm>
                <a:off x="4219007" y="5006954"/>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09" name="Freeform: Shape 708">
                <a:extLst>
                  <a:ext uri="{FF2B5EF4-FFF2-40B4-BE49-F238E27FC236}">
                    <a16:creationId xmlns:a16="http://schemas.microsoft.com/office/drawing/2014/main" id="{423A1134-3DF6-47E0-B897-D8FE1C9E36CA}"/>
                  </a:ext>
                </a:extLst>
              </p:cNvPr>
              <p:cNvSpPr/>
              <p:nvPr/>
            </p:nvSpPr>
            <p:spPr>
              <a:xfrm>
                <a:off x="4271371" y="5007811"/>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0" name="Freeform: Shape 709">
                <a:extLst>
                  <a:ext uri="{FF2B5EF4-FFF2-40B4-BE49-F238E27FC236}">
                    <a16:creationId xmlns:a16="http://schemas.microsoft.com/office/drawing/2014/main" id="{8173FADF-1913-4AA1-A6CB-379BEA621820}"/>
                  </a:ext>
                </a:extLst>
              </p:cNvPr>
              <p:cNvSpPr/>
              <p:nvPr/>
            </p:nvSpPr>
            <p:spPr>
              <a:xfrm>
                <a:off x="4323450" y="5008385"/>
                <a:ext cx="28615" cy="28615"/>
              </a:xfrm>
              <a:custGeom>
                <a:avLst/>
                <a:gdLst>
                  <a:gd name="connsiteX0" fmla="*/ 25825 w 28614"/>
                  <a:gd name="connsiteY0" fmla="*/ 20959 h 28614"/>
                  <a:gd name="connsiteX1" fmla="*/ 20959 w 28614"/>
                  <a:gd name="connsiteY1" fmla="*/ 16096 h 28614"/>
                  <a:gd name="connsiteX2" fmla="*/ 16096 w 28614"/>
                  <a:gd name="connsiteY2" fmla="*/ 20963 h 28614"/>
                  <a:gd name="connsiteX3" fmla="*/ 20963 w 28614"/>
                  <a:gd name="connsiteY3" fmla="*/ 25825 h 28614"/>
                  <a:gd name="connsiteX4" fmla="*/ 21104 w 28614"/>
                  <a:gd name="connsiteY4" fmla="*/ 25824 h 28614"/>
                  <a:gd name="connsiteX5" fmla="*/ 25825 w 28614"/>
                  <a:gd name="connsiteY5" fmla="*/ 2095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5" y="20959"/>
                    </a:moveTo>
                    <a:cubicBezTo>
                      <a:pt x="25824" y="18272"/>
                      <a:pt x="23644" y="16096"/>
                      <a:pt x="20959" y="16096"/>
                    </a:cubicBezTo>
                    <a:cubicBezTo>
                      <a:pt x="18272" y="16097"/>
                      <a:pt x="16094" y="18276"/>
                      <a:pt x="16096" y="20963"/>
                    </a:cubicBezTo>
                    <a:cubicBezTo>
                      <a:pt x="16097" y="23650"/>
                      <a:pt x="18276" y="25826"/>
                      <a:pt x="20963" y="25825"/>
                    </a:cubicBezTo>
                    <a:cubicBezTo>
                      <a:pt x="21009" y="25825"/>
                      <a:pt x="21056" y="25825"/>
                      <a:pt x="21104" y="25824"/>
                    </a:cubicBezTo>
                    <a:cubicBezTo>
                      <a:pt x="23735" y="25746"/>
                      <a:pt x="25826" y="23590"/>
                      <a:pt x="25825" y="20959"/>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1" name="Freeform: Shape 710">
                <a:extLst>
                  <a:ext uri="{FF2B5EF4-FFF2-40B4-BE49-F238E27FC236}">
                    <a16:creationId xmlns:a16="http://schemas.microsoft.com/office/drawing/2014/main" id="{94B3BFE0-E0CE-499C-A578-E5C75F29D795}"/>
                  </a:ext>
                </a:extLst>
              </p:cNvPr>
              <p:cNvSpPr/>
              <p:nvPr/>
            </p:nvSpPr>
            <p:spPr>
              <a:xfrm>
                <a:off x="4375815" y="5009099"/>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2" name="Freeform: Shape 711">
                <a:extLst>
                  <a:ext uri="{FF2B5EF4-FFF2-40B4-BE49-F238E27FC236}">
                    <a16:creationId xmlns:a16="http://schemas.microsoft.com/office/drawing/2014/main" id="{EF7C9347-489C-4651-8F29-84685FD8ED7F}"/>
                  </a:ext>
                </a:extLst>
              </p:cNvPr>
              <p:cNvSpPr/>
              <p:nvPr/>
            </p:nvSpPr>
            <p:spPr>
              <a:xfrm>
                <a:off x="4428610" y="5009671"/>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3" name="Freeform: Shape 712">
                <a:extLst>
                  <a:ext uri="{FF2B5EF4-FFF2-40B4-BE49-F238E27FC236}">
                    <a16:creationId xmlns:a16="http://schemas.microsoft.com/office/drawing/2014/main" id="{A0B50734-28F0-4969-ACA5-4C82D574C0D6}"/>
                  </a:ext>
                </a:extLst>
              </p:cNvPr>
              <p:cNvSpPr/>
              <p:nvPr/>
            </p:nvSpPr>
            <p:spPr>
              <a:xfrm>
                <a:off x="4479974" y="5010246"/>
                <a:ext cx="28615" cy="28615"/>
              </a:xfrm>
              <a:custGeom>
                <a:avLst/>
                <a:gdLst>
                  <a:gd name="connsiteX0" fmla="*/ 22105 w 28614"/>
                  <a:gd name="connsiteY0" fmla="*/ 19098 h 28614"/>
                  <a:gd name="connsiteX1" fmla="*/ 19098 w 28614"/>
                  <a:gd name="connsiteY1" fmla="*/ 16096 h 28614"/>
                  <a:gd name="connsiteX2" fmla="*/ 16096 w 28614"/>
                  <a:gd name="connsiteY2" fmla="*/ 19105 h 28614"/>
                  <a:gd name="connsiteX3" fmla="*/ 19103 w 28614"/>
                  <a:gd name="connsiteY3" fmla="*/ 22105 h 28614"/>
                  <a:gd name="connsiteX4" fmla="*/ 19244 w 28614"/>
                  <a:gd name="connsiteY4" fmla="*/ 22102 h 28614"/>
                  <a:gd name="connsiteX5" fmla="*/ 22105 w 28614"/>
                  <a:gd name="connsiteY5" fmla="*/ 1909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2105" y="19098"/>
                    </a:moveTo>
                    <a:cubicBezTo>
                      <a:pt x="22104" y="17438"/>
                      <a:pt x="20756" y="16094"/>
                      <a:pt x="19098" y="16096"/>
                    </a:cubicBezTo>
                    <a:cubicBezTo>
                      <a:pt x="17438" y="16099"/>
                      <a:pt x="16094" y="17445"/>
                      <a:pt x="16096" y="19105"/>
                    </a:cubicBezTo>
                    <a:cubicBezTo>
                      <a:pt x="16097" y="20764"/>
                      <a:pt x="17445" y="22108"/>
                      <a:pt x="19103" y="22105"/>
                    </a:cubicBezTo>
                    <a:cubicBezTo>
                      <a:pt x="19151" y="22105"/>
                      <a:pt x="19196" y="22105"/>
                      <a:pt x="19244" y="22102"/>
                    </a:cubicBezTo>
                    <a:cubicBezTo>
                      <a:pt x="20847" y="22026"/>
                      <a:pt x="22107" y="20703"/>
                      <a:pt x="22105" y="19098"/>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4" name="Freeform: Shape 713">
                <a:extLst>
                  <a:ext uri="{FF2B5EF4-FFF2-40B4-BE49-F238E27FC236}">
                    <a16:creationId xmlns:a16="http://schemas.microsoft.com/office/drawing/2014/main" id="{B39404F5-2DD1-4CEF-9993-DD766E1E5252}"/>
                  </a:ext>
                </a:extLst>
              </p:cNvPr>
              <p:cNvSpPr/>
              <p:nvPr/>
            </p:nvSpPr>
            <p:spPr>
              <a:xfrm>
                <a:off x="4010544" y="5037141"/>
                <a:ext cx="42922" cy="42922"/>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5" name="Freeform: Shape 714">
                <a:extLst>
                  <a:ext uri="{FF2B5EF4-FFF2-40B4-BE49-F238E27FC236}">
                    <a16:creationId xmlns:a16="http://schemas.microsoft.com/office/drawing/2014/main" id="{26C19C50-007F-401F-A801-4E40CEEF4103}"/>
                  </a:ext>
                </a:extLst>
              </p:cNvPr>
              <p:cNvSpPr/>
              <p:nvPr/>
            </p:nvSpPr>
            <p:spPr>
              <a:xfrm>
                <a:off x="4062054" y="5037572"/>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6" name="Freeform: Shape 715">
                <a:extLst>
                  <a:ext uri="{FF2B5EF4-FFF2-40B4-BE49-F238E27FC236}">
                    <a16:creationId xmlns:a16="http://schemas.microsoft.com/office/drawing/2014/main" id="{3103764B-78FD-4F8B-8ECB-A9E02DC44896}"/>
                  </a:ext>
                </a:extLst>
              </p:cNvPr>
              <p:cNvSpPr/>
              <p:nvPr/>
            </p:nvSpPr>
            <p:spPr>
              <a:xfrm>
                <a:off x="4114847" y="5038429"/>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89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89"/>
                      <a:pt x="23393" y="30689"/>
                    </a:cubicBezTo>
                    <a:cubicBezTo>
                      <a:pt x="27423" y="30689"/>
                      <a:pt x="30689" y="27423"/>
                      <a:pt x="30689" y="2339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7" name="Freeform: Shape 716">
                <a:extLst>
                  <a:ext uri="{FF2B5EF4-FFF2-40B4-BE49-F238E27FC236}">
                    <a16:creationId xmlns:a16="http://schemas.microsoft.com/office/drawing/2014/main" id="{10B32D83-BF08-4093-A49C-6EFAC150170A}"/>
                  </a:ext>
                </a:extLst>
              </p:cNvPr>
              <p:cNvSpPr/>
              <p:nvPr/>
            </p:nvSpPr>
            <p:spPr>
              <a:xfrm>
                <a:off x="4166928" y="5038860"/>
                <a:ext cx="42922" cy="42922"/>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8" name="Freeform: Shape 717">
                <a:extLst>
                  <a:ext uri="{FF2B5EF4-FFF2-40B4-BE49-F238E27FC236}">
                    <a16:creationId xmlns:a16="http://schemas.microsoft.com/office/drawing/2014/main" id="{605EA6E1-B4A0-4954-9F9B-9CB60B31A408}"/>
                  </a:ext>
                </a:extLst>
              </p:cNvPr>
              <p:cNvSpPr/>
              <p:nvPr/>
            </p:nvSpPr>
            <p:spPr>
              <a:xfrm>
                <a:off x="4219007" y="5039432"/>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9" name="Freeform: Shape 718">
                <a:extLst>
                  <a:ext uri="{FF2B5EF4-FFF2-40B4-BE49-F238E27FC236}">
                    <a16:creationId xmlns:a16="http://schemas.microsoft.com/office/drawing/2014/main" id="{AB5CFB79-4986-4FD4-9735-623E2DB382E0}"/>
                  </a:ext>
                </a:extLst>
              </p:cNvPr>
              <p:cNvSpPr/>
              <p:nvPr/>
            </p:nvSpPr>
            <p:spPr>
              <a:xfrm>
                <a:off x="4271371" y="5040289"/>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20" name="Freeform: Shape 719">
                <a:extLst>
                  <a:ext uri="{FF2B5EF4-FFF2-40B4-BE49-F238E27FC236}">
                    <a16:creationId xmlns:a16="http://schemas.microsoft.com/office/drawing/2014/main" id="{A6E3CFD6-04EE-46BF-BB72-739410D21CC9}"/>
                  </a:ext>
                </a:extLst>
              </p:cNvPr>
              <p:cNvSpPr/>
              <p:nvPr/>
            </p:nvSpPr>
            <p:spPr>
              <a:xfrm>
                <a:off x="4323452" y="5040720"/>
                <a:ext cx="28615" cy="28615"/>
              </a:xfrm>
              <a:custGeom>
                <a:avLst/>
                <a:gdLst>
                  <a:gd name="connsiteX0" fmla="*/ 25823 w 28614"/>
                  <a:gd name="connsiteY0" fmla="*/ 21101 h 28614"/>
                  <a:gd name="connsiteX1" fmla="*/ 21101 w 28614"/>
                  <a:gd name="connsiteY1" fmla="*/ 16098 h 28614"/>
                  <a:gd name="connsiteX2" fmla="*/ 16098 w 28614"/>
                  <a:gd name="connsiteY2" fmla="*/ 20820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20"/>
                    </a:cubicBezTo>
                    <a:cubicBezTo>
                      <a:pt x="16019" y="23505"/>
                      <a:pt x="18134" y="25746"/>
                      <a:pt x="20820" y="25823"/>
                    </a:cubicBezTo>
                    <a:cubicBezTo>
                      <a:pt x="20914" y="25826"/>
                      <a:pt x="21007" y="25826"/>
                      <a:pt x="21101" y="25823"/>
                    </a:cubicBezTo>
                    <a:cubicBezTo>
                      <a:pt x="23677" y="25748"/>
                      <a:pt x="25748" y="23678"/>
                      <a:pt x="25823" y="21101"/>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21" name="Freeform: Shape 720">
                <a:extLst>
                  <a:ext uri="{FF2B5EF4-FFF2-40B4-BE49-F238E27FC236}">
                    <a16:creationId xmlns:a16="http://schemas.microsoft.com/office/drawing/2014/main" id="{1F5218E4-EC96-438F-824E-CA369BB500F7}"/>
                  </a:ext>
                </a:extLst>
              </p:cNvPr>
              <p:cNvSpPr/>
              <p:nvPr/>
            </p:nvSpPr>
            <p:spPr>
              <a:xfrm>
                <a:off x="4375815" y="5041577"/>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22" name="Freeform: Shape 721">
                <a:extLst>
                  <a:ext uri="{FF2B5EF4-FFF2-40B4-BE49-F238E27FC236}">
                    <a16:creationId xmlns:a16="http://schemas.microsoft.com/office/drawing/2014/main" id="{C4D04489-F487-4932-A48C-557F9A3AF35E}"/>
                  </a:ext>
                </a:extLst>
              </p:cNvPr>
              <p:cNvSpPr/>
              <p:nvPr/>
            </p:nvSpPr>
            <p:spPr>
              <a:xfrm>
                <a:off x="4429192" y="5042006"/>
                <a:ext cx="28615" cy="28615"/>
              </a:xfrm>
              <a:custGeom>
                <a:avLst/>
                <a:gdLst>
                  <a:gd name="connsiteX0" fmla="*/ 22668 w 28614"/>
                  <a:gd name="connsiteY0" fmla="*/ 19816 h 28614"/>
                  <a:gd name="connsiteX1" fmla="*/ 19091 w 28614"/>
                  <a:gd name="connsiteY1" fmla="*/ 16096 h 28614"/>
                  <a:gd name="connsiteX2" fmla="*/ 16168 w 28614"/>
                  <a:gd name="connsiteY2" fmla="*/ 20470 h 28614"/>
                  <a:gd name="connsiteX3" fmla="*/ 19091 w 28614"/>
                  <a:gd name="connsiteY3" fmla="*/ 23393 h 28614"/>
                  <a:gd name="connsiteX4" fmla="*/ 22668 w 28614"/>
                  <a:gd name="connsiteY4" fmla="*/ 19816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2668" y="19816"/>
                    </a:moveTo>
                    <a:cubicBezTo>
                      <a:pt x="22669" y="17816"/>
                      <a:pt x="21090" y="16173"/>
                      <a:pt x="19091" y="16096"/>
                    </a:cubicBezTo>
                    <a:cubicBezTo>
                      <a:pt x="17077" y="16497"/>
                      <a:pt x="15767" y="18455"/>
                      <a:pt x="16168" y="20470"/>
                    </a:cubicBezTo>
                    <a:cubicBezTo>
                      <a:pt x="16463" y="21946"/>
                      <a:pt x="17616" y="23099"/>
                      <a:pt x="19091" y="23393"/>
                    </a:cubicBezTo>
                    <a:cubicBezTo>
                      <a:pt x="21067" y="23393"/>
                      <a:pt x="22668" y="21792"/>
                      <a:pt x="22668" y="19816"/>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23" name="Freeform: Shape 722">
                <a:extLst>
                  <a:ext uri="{FF2B5EF4-FFF2-40B4-BE49-F238E27FC236}">
                    <a16:creationId xmlns:a16="http://schemas.microsoft.com/office/drawing/2014/main" id="{0BDB2527-110E-4D0C-B0F9-E2EC9D27EA23}"/>
                  </a:ext>
                </a:extLst>
              </p:cNvPr>
              <p:cNvSpPr/>
              <p:nvPr/>
            </p:nvSpPr>
            <p:spPr>
              <a:xfrm>
                <a:off x="4480117" y="5042721"/>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1"/>
                      <a:pt x="21962" y="1910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24" name="Freeform: Shape 723">
                <a:extLst>
                  <a:ext uri="{FF2B5EF4-FFF2-40B4-BE49-F238E27FC236}">
                    <a16:creationId xmlns:a16="http://schemas.microsoft.com/office/drawing/2014/main" id="{6675F431-1D72-42A1-9E24-D34582D60A8A}"/>
                  </a:ext>
                </a:extLst>
              </p:cNvPr>
              <p:cNvSpPr/>
              <p:nvPr/>
            </p:nvSpPr>
            <p:spPr>
              <a:xfrm>
                <a:off x="4010544" y="4875038"/>
                <a:ext cx="42922" cy="42922"/>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25" name="Freeform: Shape 724">
                <a:extLst>
                  <a:ext uri="{FF2B5EF4-FFF2-40B4-BE49-F238E27FC236}">
                    <a16:creationId xmlns:a16="http://schemas.microsoft.com/office/drawing/2014/main" id="{72054CFB-F716-4946-ACD9-F1058623D994}"/>
                  </a:ext>
                </a:extLst>
              </p:cNvPr>
              <p:cNvSpPr/>
              <p:nvPr/>
            </p:nvSpPr>
            <p:spPr>
              <a:xfrm>
                <a:off x="4062054" y="4875468"/>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26" name="Freeform: Shape 725">
                <a:extLst>
                  <a:ext uri="{FF2B5EF4-FFF2-40B4-BE49-F238E27FC236}">
                    <a16:creationId xmlns:a16="http://schemas.microsoft.com/office/drawing/2014/main" id="{619C7DE7-8B57-49CA-B2B8-489DF1E8AD7B}"/>
                  </a:ext>
                </a:extLst>
              </p:cNvPr>
              <p:cNvSpPr/>
              <p:nvPr/>
            </p:nvSpPr>
            <p:spPr>
              <a:xfrm>
                <a:off x="4115133" y="4877762"/>
                <a:ext cx="42922" cy="42922"/>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27" name="Freeform: Shape 726">
                <a:extLst>
                  <a:ext uri="{FF2B5EF4-FFF2-40B4-BE49-F238E27FC236}">
                    <a16:creationId xmlns:a16="http://schemas.microsoft.com/office/drawing/2014/main" id="{A53F600F-C6A6-4C3B-B6E4-E3591746FDFA}"/>
                  </a:ext>
                </a:extLst>
              </p:cNvPr>
              <p:cNvSpPr/>
              <p:nvPr/>
            </p:nvSpPr>
            <p:spPr>
              <a:xfrm>
                <a:off x="4166928" y="4876756"/>
                <a:ext cx="42922" cy="42922"/>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28" name="Freeform: Shape 727">
                <a:extLst>
                  <a:ext uri="{FF2B5EF4-FFF2-40B4-BE49-F238E27FC236}">
                    <a16:creationId xmlns:a16="http://schemas.microsoft.com/office/drawing/2014/main" id="{3EC77973-DCD4-4C6F-BB19-3F26910E8772}"/>
                  </a:ext>
                </a:extLst>
              </p:cNvPr>
              <p:cNvSpPr/>
              <p:nvPr/>
            </p:nvSpPr>
            <p:spPr>
              <a:xfrm>
                <a:off x="4219007" y="4877328"/>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1"/>
                      <a:pt x="22296" y="28401"/>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29" name="Freeform: Shape 728">
                <a:extLst>
                  <a:ext uri="{FF2B5EF4-FFF2-40B4-BE49-F238E27FC236}">
                    <a16:creationId xmlns:a16="http://schemas.microsoft.com/office/drawing/2014/main" id="{39F46EF0-256E-4918-AD05-1D49312E9C6D}"/>
                  </a:ext>
                </a:extLst>
              </p:cNvPr>
              <p:cNvSpPr/>
              <p:nvPr/>
            </p:nvSpPr>
            <p:spPr>
              <a:xfrm>
                <a:off x="4271371" y="4878185"/>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30" name="Freeform: Shape 729">
                <a:extLst>
                  <a:ext uri="{FF2B5EF4-FFF2-40B4-BE49-F238E27FC236}">
                    <a16:creationId xmlns:a16="http://schemas.microsoft.com/office/drawing/2014/main" id="{0C31F033-EF7F-4EE3-A1B5-5CA47FECD513}"/>
                  </a:ext>
                </a:extLst>
              </p:cNvPr>
              <p:cNvSpPr/>
              <p:nvPr/>
            </p:nvSpPr>
            <p:spPr>
              <a:xfrm>
                <a:off x="4323452" y="4878617"/>
                <a:ext cx="28615" cy="28615"/>
              </a:xfrm>
              <a:custGeom>
                <a:avLst/>
                <a:gdLst>
                  <a:gd name="connsiteX0" fmla="*/ 25823 w 28614"/>
                  <a:gd name="connsiteY0" fmla="*/ 21101 h 28614"/>
                  <a:gd name="connsiteX1" fmla="*/ 21101 w 28614"/>
                  <a:gd name="connsiteY1" fmla="*/ 16098 h 28614"/>
                  <a:gd name="connsiteX2" fmla="*/ 16098 w 28614"/>
                  <a:gd name="connsiteY2" fmla="*/ 20819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19"/>
                    </a:cubicBezTo>
                    <a:cubicBezTo>
                      <a:pt x="16019" y="23505"/>
                      <a:pt x="18134" y="25746"/>
                      <a:pt x="20820" y="25823"/>
                    </a:cubicBezTo>
                    <a:cubicBezTo>
                      <a:pt x="20914" y="25826"/>
                      <a:pt x="21007" y="25826"/>
                      <a:pt x="21101" y="25823"/>
                    </a:cubicBezTo>
                    <a:cubicBezTo>
                      <a:pt x="23677" y="25748"/>
                      <a:pt x="25748" y="23677"/>
                      <a:pt x="25823" y="21101"/>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31" name="Freeform: Shape 730">
                <a:extLst>
                  <a:ext uri="{FF2B5EF4-FFF2-40B4-BE49-F238E27FC236}">
                    <a16:creationId xmlns:a16="http://schemas.microsoft.com/office/drawing/2014/main" id="{70C7F216-E849-4D54-BDF3-C45FD0A8F2A4}"/>
                  </a:ext>
                </a:extLst>
              </p:cNvPr>
              <p:cNvSpPr/>
              <p:nvPr/>
            </p:nvSpPr>
            <p:spPr>
              <a:xfrm>
                <a:off x="4375815" y="4879473"/>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32" name="Freeform: Shape 731">
                <a:extLst>
                  <a:ext uri="{FF2B5EF4-FFF2-40B4-BE49-F238E27FC236}">
                    <a16:creationId xmlns:a16="http://schemas.microsoft.com/office/drawing/2014/main" id="{7C2BC04C-E291-42AD-BA67-E2CE95DDCBE2}"/>
                  </a:ext>
                </a:extLst>
              </p:cNvPr>
              <p:cNvSpPr/>
              <p:nvPr/>
            </p:nvSpPr>
            <p:spPr>
              <a:xfrm>
                <a:off x="4427895" y="4879829"/>
                <a:ext cx="28615" cy="28615"/>
              </a:xfrm>
              <a:custGeom>
                <a:avLst/>
                <a:gdLst>
                  <a:gd name="connsiteX0" fmla="*/ 23965 w 28614"/>
                  <a:gd name="connsiteY0" fmla="*/ 19889 h 28614"/>
                  <a:gd name="connsiteX1" fmla="*/ 20611 w 28614"/>
                  <a:gd name="connsiteY1" fmla="*/ 16102 h 28614"/>
                  <a:gd name="connsiteX2" fmla="*/ 19673 w 28614"/>
                  <a:gd name="connsiteY2" fmla="*/ 16169 h 28614"/>
                  <a:gd name="connsiteX3" fmla="*/ 16096 w 28614"/>
                  <a:gd name="connsiteY3" fmla="*/ 19746 h 28614"/>
                  <a:gd name="connsiteX4" fmla="*/ 19673 w 28614"/>
                  <a:gd name="connsiteY4" fmla="*/ 23323 h 28614"/>
                  <a:gd name="connsiteX5" fmla="*/ 23250 w 28614"/>
                  <a:gd name="connsiteY5" fmla="*/ 1974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965" y="19889"/>
                    </a:moveTo>
                    <a:cubicBezTo>
                      <a:pt x="24085" y="17918"/>
                      <a:pt x="22583" y="16222"/>
                      <a:pt x="20611" y="16102"/>
                    </a:cubicBezTo>
                    <a:cubicBezTo>
                      <a:pt x="20297" y="16084"/>
                      <a:pt x="19982" y="16106"/>
                      <a:pt x="19673" y="16169"/>
                    </a:cubicBezTo>
                    <a:cubicBezTo>
                      <a:pt x="17697" y="16169"/>
                      <a:pt x="16096" y="17770"/>
                      <a:pt x="16096" y="19746"/>
                    </a:cubicBezTo>
                    <a:cubicBezTo>
                      <a:pt x="16169" y="21691"/>
                      <a:pt x="17728" y="23250"/>
                      <a:pt x="19673" y="23323"/>
                    </a:cubicBezTo>
                    <a:cubicBezTo>
                      <a:pt x="21649" y="23323"/>
                      <a:pt x="23250" y="21722"/>
                      <a:pt x="23250" y="19746"/>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33" name="Freeform: Shape 732">
                <a:extLst>
                  <a:ext uri="{FF2B5EF4-FFF2-40B4-BE49-F238E27FC236}">
                    <a16:creationId xmlns:a16="http://schemas.microsoft.com/office/drawing/2014/main" id="{E13F3F78-58CD-4E2A-923B-C16F3C0E828A}"/>
                  </a:ext>
                </a:extLst>
              </p:cNvPr>
              <p:cNvSpPr/>
              <p:nvPr/>
            </p:nvSpPr>
            <p:spPr>
              <a:xfrm>
                <a:off x="4480117" y="4880618"/>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0"/>
                      <a:pt x="21962" y="1910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34" name="Freeform: Shape 733">
                <a:extLst>
                  <a:ext uri="{FF2B5EF4-FFF2-40B4-BE49-F238E27FC236}">
                    <a16:creationId xmlns:a16="http://schemas.microsoft.com/office/drawing/2014/main" id="{CC401115-52F7-4F9D-BF84-6A41902F89EB}"/>
                  </a:ext>
                </a:extLst>
              </p:cNvPr>
              <p:cNvSpPr/>
              <p:nvPr/>
            </p:nvSpPr>
            <p:spPr>
              <a:xfrm>
                <a:off x="4010402" y="4907373"/>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35" name="Freeform: Shape 734">
                <a:extLst>
                  <a:ext uri="{FF2B5EF4-FFF2-40B4-BE49-F238E27FC236}">
                    <a16:creationId xmlns:a16="http://schemas.microsoft.com/office/drawing/2014/main" id="{B2D72BF9-2DC9-4104-97D9-226AF8319F83}"/>
                  </a:ext>
                </a:extLst>
              </p:cNvPr>
              <p:cNvSpPr/>
              <p:nvPr/>
            </p:nvSpPr>
            <p:spPr>
              <a:xfrm>
                <a:off x="4062052" y="4907946"/>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8"/>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36" name="Freeform: Shape 735">
                <a:extLst>
                  <a:ext uri="{FF2B5EF4-FFF2-40B4-BE49-F238E27FC236}">
                    <a16:creationId xmlns:a16="http://schemas.microsoft.com/office/drawing/2014/main" id="{6EE9BF62-CACA-415A-9A9E-6D1FE955995B}"/>
                  </a:ext>
                </a:extLst>
              </p:cNvPr>
              <p:cNvSpPr/>
              <p:nvPr/>
            </p:nvSpPr>
            <p:spPr>
              <a:xfrm>
                <a:off x="4114847" y="4908660"/>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37" name="Freeform: Shape 736">
                <a:extLst>
                  <a:ext uri="{FF2B5EF4-FFF2-40B4-BE49-F238E27FC236}">
                    <a16:creationId xmlns:a16="http://schemas.microsoft.com/office/drawing/2014/main" id="{6982AAF7-AF94-48CF-8302-C8E98A47ED7B}"/>
                  </a:ext>
                </a:extLst>
              </p:cNvPr>
              <p:cNvSpPr/>
              <p:nvPr/>
            </p:nvSpPr>
            <p:spPr>
              <a:xfrm>
                <a:off x="4166926" y="4909234"/>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38" name="Freeform: Shape 737">
                <a:extLst>
                  <a:ext uri="{FF2B5EF4-FFF2-40B4-BE49-F238E27FC236}">
                    <a16:creationId xmlns:a16="http://schemas.microsoft.com/office/drawing/2014/main" id="{95C8D138-50EA-4349-B125-59B048CCF810}"/>
                  </a:ext>
                </a:extLst>
              </p:cNvPr>
              <p:cNvSpPr/>
              <p:nvPr/>
            </p:nvSpPr>
            <p:spPr>
              <a:xfrm>
                <a:off x="4219076" y="4910740"/>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39" name="Freeform: Shape 738">
                <a:extLst>
                  <a:ext uri="{FF2B5EF4-FFF2-40B4-BE49-F238E27FC236}">
                    <a16:creationId xmlns:a16="http://schemas.microsoft.com/office/drawing/2014/main" id="{7C856AA8-5758-4CFF-83CF-66ED65BD2802}"/>
                  </a:ext>
                </a:extLst>
              </p:cNvPr>
              <p:cNvSpPr/>
              <p:nvPr/>
            </p:nvSpPr>
            <p:spPr>
              <a:xfrm>
                <a:off x="4271371" y="4910520"/>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0" name="Freeform: Shape 739">
                <a:extLst>
                  <a:ext uri="{FF2B5EF4-FFF2-40B4-BE49-F238E27FC236}">
                    <a16:creationId xmlns:a16="http://schemas.microsoft.com/office/drawing/2014/main" id="{3073327D-5E1C-4CC4-9156-0293DCA037F7}"/>
                  </a:ext>
                </a:extLst>
              </p:cNvPr>
              <p:cNvSpPr/>
              <p:nvPr/>
            </p:nvSpPr>
            <p:spPr>
              <a:xfrm>
                <a:off x="4323521" y="4911923"/>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1" name="Freeform: Shape 740">
                <a:extLst>
                  <a:ext uri="{FF2B5EF4-FFF2-40B4-BE49-F238E27FC236}">
                    <a16:creationId xmlns:a16="http://schemas.microsoft.com/office/drawing/2014/main" id="{A0D6A598-7AF8-453D-AEFA-A541E36EE81B}"/>
                  </a:ext>
                </a:extLst>
              </p:cNvPr>
              <p:cNvSpPr/>
              <p:nvPr/>
            </p:nvSpPr>
            <p:spPr>
              <a:xfrm>
                <a:off x="4375815" y="4911808"/>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2" name="Freeform: Shape 741">
                <a:extLst>
                  <a:ext uri="{FF2B5EF4-FFF2-40B4-BE49-F238E27FC236}">
                    <a16:creationId xmlns:a16="http://schemas.microsoft.com/office/drawing/2014/main" id="{FA724C64-EA98-4865-A4D1-EF412AE9860B}"/>
                  </a:ext>
                </a:extLst>
              </p:cNvPr>
              <p:cNvSpPr/>
              <p:nvPr/>
            </p:nvSpPr>
            <p:spPr>
              <a:xfrm>
                <a:off x="4428610" y="4912380"/>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3" name="Freeform: Shape 742">
                <a:extLst>
                  <a:ext uri="{FF2B5EF4-FFF2-40B4-BE49-F238E27FC236}">
                    <a16:creationId xmlns:a16="http://schemas.microsoft.com/office/drawing/2014/main" id="{BFC7D15A-1A82-47D5-9B21-0C6F97D7B817}"/>
                  </a:ext>
                </a:extLst>
              </p:cNvPr>
              <p:cNvSpPr/>
              <p:nvPr/>
            </p:nvSpPr>
            <p:spPr>
              <a:xfrm>
                <a:off x="4480117" y="4913092"/>
                <a:ext cx="28615" cy="28615"/>
              </a:xfrm>
              <a:custGeom>
                <a:avLst/>
                <a:gdLst>
                  <a:gd name="connsiteX0" fmla="*/ 21962 w 28614"/>
                  <a:gd name="connsiteY0" fmla="*/ 18961 h 28614"/>
                  <a:gd name="connsiteX1" fmla="*/ 19100 w 28614"/>
                  <a:gd name="connsiteY1" fmla="*/ 16100 h 28614"/>
                  <a:gd name="connsiteX2" fmla="*/ 16100 w 28614"/>
                  <a:gd name="connsiteY2" fmla="*/ 18815 h 28614"/>
                  <a:gd name="connsiteX3" fmla="*/ 16096 w 28614"/>
                  <a:gd name="connsiteY3" fmla="*/ 18961 h 28614"/>
                  <a:gd name="connsiteX4" fmla="*/ 19100 w 28614"/>
                  <a:gd name="connsiteY4" fmla="*/ 21966 h 28614"/>
                  <a:gd name="connsiteX5" fmla="*/ 21966 w 28614"/>
                  <a:gd name="connsiteY5" fmla="*/ 19108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5"/>
                    </a:cubicBezTo>
                    <a:cubicBezTo>
                      <a:pt x="16097" y="18864"/>
                      <a:pt x="16096" y="18912"/>
                      <a:pt x="16096" y="18961"/>
                    </a:cubicBezTo>
                    <a:cubicBezTo>
                      <a:pt x="16096" y="20621"/>
                      <a:pt x="17441" y="21966"/>
                      <a:pt x="19100" y="21966"/>
                    </a:cubicBezTo>
                    <a:cubicBezTo>
                      <a:pt x="20682" y="21967"/>
                      <a:pt x="21963" y="20688"/>
                      <a:pt x="21966" y="19108"/>
                    </a:cubicBezTo>
                    <a:cubicBezTo>
                      <a:pt x="21966" y="19058"/>
                      <a:pt x="21965" y="19010"/>
                      <a:pt x="21962" y="18961"/>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4" name="Freeform: Shape 743">
                <a:extLst>
                  <a:ext uri="{FF2B5EF4-FFF2-40B4-BE49-F238E27FC236}">
                    <a16:creationId xmlns:a16="http://schemas.microsoft.com/office/drawing/2014/main" id="{105BC227-AF68-4740-B99D-47FD5BF128BA}"/>
                  </a:ext>
                </a:extLst>
              </p:cNvPr>
              <p:cNvSpPr/>
              <p:nvPr/>
            </p:nvSpPr>
            <p:spPr>
              <a:xfrm>
                <a:off x="4010402" y="4939851"/>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5" name="Freeform: Shape 744">
                <a:extLst>
                  <a:ext uri="{FF2B5EF4-FFF2-40B4-BE49-F238E27FC236}">
                    <a16:creationId xmlns:a16="http://schemas.microsoft.com/office/drawing/2014/main" id="{BC31D2C4-DA65-4811-871F-209B374018A3}"/>
                  </a:ext>
                </a:extLst>
              </p:cNvPr>
              <p:cNvSpPr/>
              <p:nvPr/>
            </p:nvSpPr>
            <p:spPr>
              <a:xfrm>
                <a:off x="4062054" y="4940281"/>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6" name="Freeform: Shape 745">
                <a:extLst>
                  <a:ext uri="{FF2B5EF4-FFF2-40B4-BE49-F238E27FC236}">
                    <a16:creationId xmlns:a16="http://schemas.microsoft.com/office/drawing/2014/main" id="{CF09CBF1-1832-4208-BE33-67A07A510D8B}"/>
                  </a:ext>
                </a:extLst>
              </p:cNvPr>
              <p:cNvSpPr/>
              <p:nvPr/>
            </p:nvSpPr>
            <p:spPr>
              <a:xfrm>
                <a:off x="4114847" y="4941138"/>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7" name="Freeform: Shape 746">
                <a:extLst>
                  <a:ext uri="{FF2B5EF4-FFF2-40B4-BE49-F238E27FC236}">
                    <a16:creationId xmlns:a16="http://schemas.microsoft.com/office/drawing/2014/main" id="{D4116830-27D1-413B-9F80-2B9ABCC9348D}"/>
                  </a:ext>
                </a:extLst>
              </p:cNvPr>
              <p:cNvSpPr/>
              <p:nvPr/>
            </p:nvSpPr>
            <p:spPr>
              <a:xfrm>
                <a:off x="4166926" y="4941712"/>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8" name="Freeform: Shape 747">
                <a:extLst>
                  <a:ext uri="{FF2B5EF4-FFF2-40B4-BE49-F238E27FC236}">
                    <a16:creationId xmlns:a16="http://schemas.microsoft.com/office/drawing/2014/main" id="{4724D6E1-512D-4D39-BDEA-8E04327DE440}"/>
                  </a:ext>
                </a:extLst>
              </p:cNvPr>
              <p:cNvSpPr/>
              <p:nvPr/>
            </p:nvSpPr>
            <p:spPr>
              <a:xfrm>
                <a:off x="4219007" y="4942141"/>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9" name="Freeform: Shape 748">
                <a:extLst>
                  <a:ext uri="{FF2B5EF4-FFF2-40B4-BE49-F238E27FC236}">
                    <a16:creationId xmlns:a16="http://schemas.microsoft.com/office/drawing/2014/main" id="{0C3119FF-51A0-4743-8108-C575D66A3158}"/>
                  </a:ext>
                </a:extLst>
              </p:cNvPr>
              <p:cNvSpPr/>
              <p:nvPr/>
            </p:nvSpPr>
            <p:spPr>
              <a:xfrm>
                <a:off x="4271371" y="4942998"/>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50" name="Freeform: Shape 749">
                <a:extLst>
                  <a:ext uri="{FF2B5EF4-FFF2-40B4-BE49-F238E27FC236}">
                    <a16:creationId xmlns:a16="http://schemas.microsoft.com/office/drawing/2014/main" id="{8295B4E3-F88D-49BF-B12A-D0722CA1B9FC}"/>
                  </a:ext>
                </a:extLst>
              </p:cNvPr>
              <p:cNvSpPr/>
              <p:nvPr/>
            </p:nvSpPr>
            <p:spPr>
              <a:xfrm>
                <a:off x="4323521" y="4942738"/>
                <a:ext cx="28615" cy="42922"/>
              </a:xfrm>
              <a:custGeom>
                <a:avLst/>
                <a:gdLst>
                  <a:gd name="connsiteX0" fmla="*/ 25754 w 28614"/>
                  <a:gd name="connsiteY0" fmla="*/ 21793 h 42922"/>
                  <a:gd name="connsiteX1" fmla="*/ 21793 w 28614"/>
                  <a:gd name="connsiteY1" fmla="*/ 16168 h 42922"/>
                  <a:gd name="connsiteX2" fmla="*/ 16168 w 28614"/>
                  <a:gd name="connsiteY2" fmla="*/ 20130 h 42922"/>
                  <a:gd name="connsiteX3" fmla="*/ 16168 w 28614"/>
                  <a:gd name="connsiteY3" fmla="*/ 21793 h 42922"/>
                  <a:gd name="connsiteX4" fmla="*/ 20130 w 28614"/>
                  <a:gd name="connsiteY4" fmla="*/ 27417 h 42922"/>
                  <a:gd name="connsiteX5" fmla="*/ 25754 w 28614"/>
                  <a:gd name="connsiteY5" fmla="*/ 23455 h 42922"/>
                  <a:gd name="connsiteX6" fmla="*/ 25754 w 28614"/>
                  <a:gd name="connsiteY6" fmla="*/ 2179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42922">
                    <a:moveTo>
                      <a:pt x="25754" y="21793"/>
                    </a:moveTo>
                    <a:cubicBezTo>
                      <a:pt x="26214" y="19146"/>
                      <a:pt x="24439" y="16628"/>
                      <a:pt x="21793" y="16168"/>
                    </a:cubicBezTo>
                    <a:cubicBezTo>
                      <a:pt x="19146" y="15709"/>
                      <a:pt x="16628" y="17483"/>
                      <a:pt x="16168" y="20130"/>
                    </a:cubicBezTo>
                    <a:cubicBezTo>
                      <a:pt x="16072" y="20681"/>
                      <a:pt x="16072" y="21243"/>
                      <a:pt x="16168" y="21793"/>
                    </a:cubicBezTo>
                    <a:cubicBezTo>
                      <a:pt x="15709" y="24439"/>
                      <a:pt x="17483" y="26958"/>
                      <a:pt x="20130" y="27417"/>
                    </a:cubicBezTo>
                    <a:cubicBezTo>
                      <a:pt x="22777" y="27876"/>
                      <a:pt x="25295" y="26102"/>
                      <a:pt x="25754" y="23455"/>
                    </a:cubicBezTo>
                    <a:cubicBezTo>
                      <a:pt x="25850" y="22904"/>
                      <a:pt x="25850" y="22342"/>
                      <a:pt x="25754" y="2179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51" name="Freeform: Shape 750">
                <a:extLst>
                  <a:ext uri="{FF2B5EF4-FFF2-40B4-BE49-F238E27FC236}">
                    <a16:creationId xmlns:a16="http://schemas.microsoft.com/office/drawing/2014/main" id="{1D80AA29-2D18-469D-8B11-83A3A34853A8}"/>
                  </a:ext>
                </a:extLst>
              </p:cNvPr>
              <p:cNvSpPr/>
              <p:nvPr/>
            </p:nvSpPr>
            <p:spPr>
              <a:xfrm>
                <a:off x="4375815" y="4944286"/>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52" name="Freeform: Shape 751">
                <a:extLst>
                  <a:ext uri="{FF2B5EF4-FFF2-40B4-BE49-F238E27FC236}">
                    <a16:creationId xmlns:a16="http://schemas.microsoft.com/office/drawing/2014/main" id="{9DF21000-DA8B-4701-AB5B-41B73D8A3CB7}"/>
                  </a:ext>
                </a:extLst>
              </p:cNvPr>
              <p:cNvSpPr/>
              <p:nvPr/>
            </p:nvSpPr>
            <p:spPr>
              <a:xfrm>
                <a:off x="4428610" y="4944858"/>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53" name="Freeform: Shape 752">
                <a:extLst>
                  <a:ext uri="{FF2B5EF4-FFF2-40B4-BE49-F238E27FC236}">
                    <a16:creationId xmlns:a16="http://schemas.microsoft.com/office/drawing/2014/main" id="{FAECC9A2-0BF3-4844-A988-736FEE6CA6E5}"/>
                  </a:ext>
                </a:extLst>
              </p:cNvPr>
              <p:cNvSpPr/>
              <p:nvPr/>
            </p:nvSpPr>
            <p:spPr>
              <a:xfrm>
                <a:off x="4480045" y="4945430"/>
                <a:ext cx="28615" cy="28615"/>
              </a:xfrm>
              <a:custGeom>
                <a:avLst/>
                <a:gdLst>
                  <a:gd name="connsiteX0" fmla="*/ 22034 w 28614"/>
                  <a:gd name="connsiteY0" fmla="*/ 19100 h 28614"/>
                  <a:gd name="connsiteX1" fmla="*/ 19320 w 28614"/>
                  <a:gd name="connsiteY1" fmla="*/ 16099 h 28614"/>
                  <a:gd name="connsiteX2" fmla="*/ 19173 w 28614"/>
                  <a:gd name="connsiteY2" fmla="*/ 16096 h 28614"/>
                  <a:gd name="connsiteX3" fmla="*/ 16168 w 28614"/>
                  <a:gd name="connsiteY3" fmla="*/ 19100 h 28614"/>
                  <a:gd name="connsiteX4" fmla="*/ 18449 w 28614"/>
                  <a:gd name="connsiteY4" fmla="*/ 22686 h 28614"/>
                  <a:gd name="connsiteX5" fmla="*/ 22034 w 28614"/>
                  <a:gd name="connsiteY5" fmla="*/ 20404 h 28614"/>
                  <a:gd name="connsiteX6" fmla="*/ 22034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2034" y="19100"/>
                    </a:moveTo>
                    <a:cubicBezTo>
                      <a:pt x="22113" y="17522"/>
                      <a:pt x="20898" y="16179"/>
                      <a:pt x="19320" y="16099"/>
                    </a:cubicBezTo>
                    <a:cubicBezTo>
                      <a:pt x="19270" y="16097"/>
                      <a:pt x="19222" y="16096"/>
                      <a:pt x="19173" y="16096"/>
                    </a:cubicBezTo>
                    <a:cubicBezTo>
                      <a:pt x="17513" y="16096"/>
                      <a:pt x="16168" y="17441"/>
                      <a:pt x="16168" y="19100"/>
                    </a:cubicBezTo>
                    <a:cubicBezTo>
                      <a:pt x="15808" y="20720"/>
                      <a:pt x="16829" y="22325"/>
                      <a:pt x="18449" y="22686"/>
                    </a:cubicBezTo>
                    <a:cubicBezTo>
                      <a:pt x="20070" y="23045"/>
                      <a:pt x="21674" y="22023"/>
                      <a:pt x="22034" y="20404"/>
                    </a:cubicBezTo>
                    <a:cubicBezTo>
                      <a:pt x="22130" y="19975"/>
                      <a:pt x="22130" y="19530"/>
                      <a:pt x="22034" y="19100"/>
                    </a:cubicBezTo>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grpSp>
        <p:grpSp>
          <p:nvGrpSpPr>
            <p:cNvPr id="393" name="Group 392">
              <a:extLst>
                <a:ext uri="{FF2B5EF4-FFF2-40B4-BE49-F238E27FC236}">
                  <a16:creationId xmlns:a16="http://schemas.microsoft.com/office/drawing/2014/main" id="{4FF00FD9-5F68-485E-8ED1-A6BDE8D65C05}"/>
                </a:ext>
              </a:extLst>
            </p:cNvPr>
            <p:cNvGrpSpPr/>
            <p:nvPr/>
          </p:nvGrpSpPr>
          <p:grpSpPr>
            <a:xfrm>
              <a:off x="3739080" y="5840705"/>
              <a:ext cx="1222040" cy="893068"/>
              <a:chOff x="5065273" y="5505855"/>
              <a:chExt cx="1222040" cy="893068"/>
            </a:xfrm>
            <a:grpFill/>
          </p:grpSpPr>
          <p:sp>
            <p:nvSpPr>
              <p:cNvPr id="394" name="Freeform: Shape 393">
                <a:extLst>
                  <a:ext uri="{FF2B5EF4-FFF2-40B4-BE49-F238E27FC236}">
                    <a16:creationId xmlns:a16="http://schemas.microsoft.com/office/drawing/2014/main" id="{E7D61B2E-948C-4C09-BF50-3BC0518E8D69}"/>
                  </a:ext>
                </a:extLst>
              </p:cNvPr>
              <p:cNvSpPr/>
              <p:nvPr/>
            </p:nvSpPr>
            <p:spPr>
              <a:xfrm>
                <a:off x="5694802" y="5754519"/>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95" name="Freeform: Shape 394">
                <a:extLst>
                  <a:ext uri="{FF2B5EF4-FFF2-40B4-BE49-F238E27FC236}">
                    <a16:creationId xmlns:a16="http://schemas.microsoft.com/office/drawing/2014/main" id="{D7EE291F-B17F-4008-B3AE-CB4242D51AF4}"/>
                  </a:ext>
                </a:extLst>
              </p:cNvPr>
              <p:cNvSpPr/>
              <p:nvPr/>
            </p:nvSpPr>
            <p:spPr>
              <a:xfrm>
                <a:off x="5694659" y="5704872"/>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96" name="Freeform: Shape 395">
                <a:extLst>
                  <a:ext uri="{FF2B5EF4-FFF2-40B4-BE49-F238E27FC236}">
                    <a16:creationId xmlns:a16="http://schemas.microsoft.com/office/drawing/2014/main" id="{3BB9D36F-4CAA-4CA7-929D-ED074696F895}"/>
                  </a:ext>
                </a:extLst>
              </p:cNvPr>
              <p:cNvSpPr/>
              <p:nvPr/>
            </p:nvSpPr>
            <p:spPr>
              <a:xfrm>
                <a:off x="5536275" y="5705873"/>
                <a:ext cx="42922" cy="42922"/>
              </a:xfrm>
              <a:custGeom>
                <a:avLst/>
                <a:gdLst>
                  <a:gd name="connsiteX0" fmla="*/ 23893 w 42922"/>
                  <a:gd name="connsiteY0" fmla="*/ 37056 h 42922"/>
                  <a:gd name="connsiteX1" fmla="*/ 37056 w 42922"/>
                  <a:gd name="connsiteY1" fmla="*/ 23894 h 42922"/>
                  <a:gd name="connsiteX2" fmla="*/ 23893 w 42922"/>
                  <a:gd name="connsiteY2" fmla="*/ 10731 h 42922"/>
                  <a:gd name="connsiteX3" fmla="*/ 10731 w 42922"/>
                  <a:gd name="connsiteY3" fmla="*/ 23894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4"/>
                    </a:cubicBezTo>
                    <a:cubicBezTo>
                      <a:pt x="37056" y="16624"/>
                      <a:pt x="31163" y="10731"/>
                      <a:pt x="23893" y="10731"/>
                    </a:cubicBezTo>
                    <a:cubicBezTo>
                      <a:pt x="16624" y="10731"/>
                      <a:pt x="10731" y="16624"/>
                      <a:pt x="10731" y="23894"/>
                    </a:cubicBezTo>
                    <a:cubicBezTo>
                      <a:pt x="10731" y="31163"/>
                      <a:pt x="16624" y="37056"/>
                      <a:pt x="23893" y="3705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97" name="Freeform: Shape 396">
                <a:extLst>
                  <a:ext uri="{FF2B5EF4-FFF2-40B4-BE49-F238E27FC236}">
                    <a16:creationId xmlns:a16="http://schemas.microsoft.com/office/drawing/2014/main" id="{EE9519EB-66FE-41FF-9CC1-CCF1C553676D}"/>
                  </a:ext>
                </a:extLst>
              </p:cNvPr>
              <p:cNvSpPr/>
              <p:nvPr/>
            </p:nvSpPr>
            <p:spPr>
              <a:xfrm>
                <a:off x="5694659" y="565522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98" name="Freeform: Shape 397">
                <a:extLst>
                  <a:ext uri="{FF2B5EF4-FFF2-40B4-BE49-F238E27FC236}">
                    <a16:creationId xmlns:a16="http://schemas.microsoft.com/office/drawing/2014/main" id="{F7CAF901-E907-4C37-8C30-58464FAA1F13}"/>
                  </a:ext>
                </a:extLst>
              </p:cNvPr>
              <p:cNvSpPr/>
              <p:nvPr/>
            </p:nvSpPr>
            <p:spPr>
              <a:xfrm>
                <a:off x="5536847" y="5755663"/>
                <a:ext cx="42922" cy="42922"/>
              </a:xfrm>
              <a:custGeom>
                <a:avLst/>
                <a:gdLst>
                  <a:gd name="connsiteX0" fmla="*/ 23894 w 42922"/>
                  <a:gd name="connsiteY0" fmla="*/ 10731 h 42922"/>
                  <a:gd name="connsiteX1" fmla="*/ 10731 w 42922"/>
                  <a:gd name="connsiteY1" fmla="*/ 23894 h 42922"/>
                  <a:gd name="connsiteX2" fmla="*/ 23894 w 42922"/>
                  <a:gd name="connsiteY2" fmla="*/ 37056 h 42922"/>
                  <a:gd name="connsiteX3" fmla="*/ 37056 w 42922"/>
                  <a:gd name="connsiteY3" fmla="*/ 23894 h 42922"/>
                  <a:gd name="connsiteX4" fmla="*/ 23894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4" y="10731"/>
                    </a:moveTo>
                    <a:cubicBezTo>
                      <a:pt x="16624" y="10731"/>
                      <a:pt x="10731" y="16624"/>
                      <a:pt x="10731" y="23894"/>
                    </a:cubicBezTo>
                    <a:cubicBezTo>
                      <a:pt x="10731" y="31163"/>
                      <a:pt x="16624" y="37056"/>
                      <a:pt x="23894" y="37056"/>
                    </a:cubicBezTo>
                    <a:cubicBezTo>
                      <a:pt x="31163" y="37056"/>
                      <a:pt x="37056" y="31163"/>
                      <a:pt x="37056" y="23894"/>
                    </a:cubicBezTo>
                    <a:cubicBezTo>
                      <a:pt x="37056" y="16624"/>
                      <a:pt x="31163" y="10731"/>
                      <a:pt x="23894"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399" name="Freeform: Shape 398">
                <a:extLst>
                  <a:ext uri="{FF2B5EF4-FFF2-40B4-BE49-F238E27FC236}">
                    <a16:creationId xmlns:a16="http://schemas.microsoft.com/office/drawing/2014/main" id="{2F0327B1-B5AB-4603-8BE7-66DA1AC557A8}"/>
                  </a:ext>
                </a:extLst>
              </p:cNvPr>
              <p:cNvSpPr/>
              <p:nvPr/>
            </p:nvSpPr>
            <p:spPr>
              <a:xfrm>
                <a:off x="5694659" y="550585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00" name="Freeform: Shape 399">
                <a:extLst>
                  <a:ext uri="{FF2B5EF4-FFF2-40B4-BE49-F238E27FC236}">
                    <a16:creationId xmlns:a16="http://schemas.microsoft.com/office/drawing/2014/main" id="{A9FAC260-53D0-426E-B398-C584984F6E4B}"/>
                  </a:ext>
                </a:extLst>
              </p:cNvPr>
              <p:cNvSpPr/>
              <p:nvPr/>
            </p:nvSpPr>
            <p:spPr>
              <a:xfrm>
                <a:off x="5694659" y="560543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01" name="Freeform: Shape 400">
                <a:extLst>
                  <a:ext uri="{FF2B5EF4-FFF2-40B4-BE49-F238E27FC236}">
                    <a16:creationId xmlns:a16="http://schemas.microsoft.com/office/drawing/2014/main" id="{95DC2B70-EF4A-4DC5-9FB8-84F1BE551751}"/>
                  </a:ext>
                </a:extLst>
              </p:cNvPr>
              <p:cNvSpPr/>
              <p:nvPr/>
            </p:nvSpPr>
            <p:spPr>
              <a:xfrm>
                <a:off x="5694802" y="5555502"/>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02" name="Freeform: Shape 401">
                <a:extLst>
                  <a:ext uri="{FF2B5EF4-FFF2-40B4-BE49-F238E27FC236}">
                    <a16:creationId xmlns:a16="http://schemas.microsoft.com/office/drawing/2014/main" id="{278B6C1A-0E4B-4BAD-91C7-8FBBC2E17FCA}"/>
                  </a:ext>
                </a:extLst>
              </p:cNvPr>
              <p:cNvSpPr/>
              <p:nvPr/>
            </p:nvSpPr>
            <p:spPr>
              <a:xfrm>
                <a:off x="5457727" y="5706875"/>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03" name="Freeform: Shape 402">
                <a:extLst>
                  <a:ext uri="{FF2B5EF4-FFF2-40B4-BE49-F238E27FC236}">
                    <a16:creationId xmlns:a16="http://schemas.microsoft.com/office/drawing/2014/main" id="{F50CA572-FC8E-46DF-8A4A-3BD3D4FAE194}"/>
                  </a:ext>
                </a:extLst>
              </p:cNvPr>
              <p:cNvSpPr/>
              <p:nvPr/>
            </p:nvSpPr>
            <p:spPr>
              <a:xfrm>
                <a:off x="5458299" y="5756235"/>
                <a:ext cx="42922" cy="42922"/>
              </a:xfrm>
              <a:custGeom>
                <a:avLst/>
                <a:gdLst>
                  <a:gd name="connsiteX0" fmla="*/ 22892 w 42922"/>
                  <a:gd name="connsiteY0" fmla="*/ 11160 h 42922"/>
                  <a:gd name="connsiteX1" fmla="*/ 10731 w 42922"/>
                  <a:gd name="connsiteY1" fmla="*/ 22892 h 42922"/>
                  <a:gd name="connsiteX2" fmla="*/ 10731 w 42922"/>
                  <a:gd name="connsiteY2" fmla="*/ 22892 h 42922"/>
                  <a:gd name="connsiteX3" fmla="*/ 22892 w 42922"/>
                  <a:gd name="connsiteY3" fmla="*/ 35053 h 42922"/>
                  <a:gd name="connsiteX4" fmla="*/ 35053 w 42922"/>
                  <a:gd name="connsiteY4" fmla="*/ 22892 h 42922"/>
                  <a:gd name="connsiteX5" fmla="*/ 22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2" y="11160"/>
                    </a:moveTo>
                    <a:cubicBezTo>
                      <a:pt x="16309" y="11080"/>
                      <a:pt x="10887" y="16311"/>
                      <a:pt x="10731" y="22892"/>
                    </a:cubicBezTo>
                    <a:lnTo>
                      <a:pt x="10731" y="22892"/>
                    </a:ln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04" name="Freeform: Shape 403">
                <a:extLst>
                  <a:ext uri="{FF2B5EF4-FFF2-40B4-BE49-F238E27FC236}">
                    <a16:creationId xmlns:a16="http://schemas.microsoft.com/office/drawing/2014/main" id="{30FC5010-F05A-4A18-9E1E-BDF9ABFCF874}"/>
                  </a:ext>
                </a:extLst>
              </p:cNvPr>
              <p:cNvSpPr/>
              <p:nvPr/>
            </p:nvSpPr>
            <p:spPr>
              <a:xfrm>
                <a:off x="5615109" y="5754662"/>
                <a:ext cx="42922" cy="42922"/>
              </a:xfrm>
              <a:custGeom>
                <a:avLst/>
                <a:gdLst>
                  <a:gd name="connsiteX0" fmla="*/ 25038 w 42922"/>
                  <a:gd name="connsiteY0" fmla="*/ 10731 h 42922"/>
                  <a:gd name="connsiteX1" fmla="*/ 10731 w 42922"/>
                  <a:gd name="connsiteY1" fmla="*/ 25038 h 42922"/>
                  <a:gd name="connsiteX2" fmla="*/ 10731 w 42922"/>
                  <a:gd name="connsiteY2" fmla="*/ 25038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lnTo>
                      <a:pt x="10731" y="25038"/>
                    </a:lnTo>
                    <a:cubicBezTo>
                      <a:pt x="10731" y="32940"/>
                      <a:pt x="17136" y="39346"/>
                      <a:pt x="25038" y="39346"/>
                    </a:cubicBez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05" name="Freeform: Shape 404">
                <a:extLst>
                  <a:ext uri="{FF2B5EF4-FFF2-40B4-BE49-F238E27FC236}">
                    <a16:creationId xmlns:a16="http://schemas.microsoft.com/office/drawing/2014/main" id="{C5933DD8-7FB5-4206-B620-494CFA1AD9B6}"/>
                  </a:ext>
                </a:extLst>
              </p:cNvPr>
              <p:cNvSpPr/>
              <p:nvPr/>
            </p:nvSpPr>
            <p:spPr>
              <a:xfrm>
                <a:off x="5457727" y="5557648"/>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06" name="Freeform: Shape 405">
                <a:extLst>
                  <a:ext uri="{FF2B5EF4-FFF2-40B4-BE49-F238E27FC236}">
                    <a16:creationId xmlns:a16="http://schemas.microsoft.com/office/drawing/2014/main" id="{7EB517DA-0277-4BFA-B763-6EB44779829E}"/>
                  </a:ext>
                </a:extLst>
              </p:cNvPr>
              <p:cNvSpPr/>
              <p:nvPr/>
            </p:nvSpPr>
            <p:spPr>
              <a:xfrm>
                <a:off x="5457727" y="5657228"/>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07" name="Freeform: Shape 406">
                <a:extLst>
                  <a:ext uri="{FF2B5EF4-FFF2-40B4-BE49-F238E27FC236}">
                    <a16:creationId xmlns:a16="http://schemas.microsoft.com/office/drawing/2014/main" id="{468BB50C-1D70-43C4-80E9-C4D2FE686D65}"/>
                  </a:ext>
                </a:extLst>
              </p:cNvPr>
              <p:cNvSpPr/>
              <p:nvPr/>
            </p:nvSpPr>
            <p:spPr>
              <a:xfrm>
                <a:off x="5536990" y="5508430"/>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08" name="Freeform: Shape 407">
                <a:extLst>
                  <a:ext uri="{FF2B5EF4-FFF2-40B4-BE49-F238E27FC236}">
                    <a16:creationId xmlns:a16="http://schemas.microsoft.com/office/drawing/2014/main" id="{8A6E83B1-DA53-4A0F-9718-D6F2278C2250}"/>
                  </a:ext>
                </a:extLst>
              </p:cNvPr>
              <p:cNvSpPr/>
              <p:nvPr/>
            </p:nvSpPr>
            <p:spPr>
              <a:xfrm>
                <a:off x="5536990" y="5606007"/>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09" name="Freeform: Shape 408">
                <a:extLst>
                  <a:ext uri="{FF2B5EF4-FFF2-40B4-BE49-F238E27FC236}">
                    <a16:creationId xmlns:a16="http://schemas.microsoft.com/office/drawing/2014/main" id="{DB630034-B10C-488C-AAA3-E318CA259CAD}"/>
                  </a:ext>
                </a:extLst>
              </p:cNvPr>
              <p:cNvSpPr/>
              <p:nvPr/>
            </p:nvSpPr>
            <p:spPr>
              <a:xfrm>
                <a:off x="5536275" y="5556646"/>
                <a:ext cx="42922" cy="42922"/>
              </a:xfrm>
              <a:custGeom>
                <a:avLst/>
                <a:gdLst>
                  <a:gd name="connsiteX0" fmla="*/ 23893 w 42922"/>
                  <a:gd name="connsiteY0" fmla="*/ 37056 h 42922"/>
                  <a:gd name="connsiteX1" fmla="*/ 37056 w 42922"/>
                  <a:gd name="connsiteY1" fmla="*/ 23893 h 42922"/>
                  <a:gd name="connsiteX2" fmla="*/ 23893 w 42922"/>
                  <a:gd name="connsiteY2" fmla="*/ 10731 h 42922"/>
                  <a:gd name="connsiteX3" fmla="*/ 10731 w 42922"/>
                  <a:gd name="connsiteY3" fmla="*/ 23893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3"/>
                    </a:cubicBezTo>
                    <a:cubicBezTo>
                      <a:pt x="37056" y="16624"/>
                      <a:pt x="31163" y="10731"/>
                      <a:pt x="23893" y="10731"/>
                    </a:cubicBezTo>
                    <a:cubicBezTo>
                      <a:pt x="16624" y="10731"/>
                      <a:pt x="10731" y="16624"/>
                      <a:pt x="10731" y="23893"/>
                    </a:cubicBezTo>
                    <a:cubicBezTo>
                      <a:pt x="10731" y="31163"/>
                      <a:pt x="16624" y="37056"/>
                      <a:pt x="23893" y="3705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10" name="Freeform: Shape 409">
                <a:extLst>
                  <a:ext uri="{FF2B5EF4-FFF2-40B4-BE49-F238E27FC236}">
                    <a16:creationId xmlns:a16="http://schemas.microsoft.com/office/drawing/2014/main" id="{1EFAB110-02A8-46ED-90CA-29D2985C995B}"/>
                  </a:ext>
                </a:extLst>
              </p:cNvPr>
              <p:cNvSpPr/>
              <p:nvPr/>
            </p:nvSpPr>
            <p:spPr>
              <a:xfrm>
                <a:off x="5458585" y="5507089"/>
                <a:ext cx="42922" cy="42922"/>
              </a:xfrm>
              <a:custGeom>
                <a:avLst/>
                <a:gdLst>
                  <a:gd name="connsiteX0" fmla="*/ 24753 w 42922"/>
                  <a:gd name="connsiteY0" fmla="*/ 10784 h 42922"/>
                  <a:gd name="connsiteX1" fmla="*/ 22893 w 42922"/>
                  <a:gd name="connsiteY1" fmla="*/ 10784 h 42922"/>
                  <a:gd name="connsiteX2" fmla="*/ 10732 w 42922"/>
                  <a:gd name="connsiteY2" fmla="*/ 22946 h 42922"/>
                  <a:gd name="connsiteX3" fmla="*/ 10732 w 42922"/>
                  <a:gd name="connsiteY3" fmla="*/ 24663 h 42922"/>
                  <a:gd name="connsiteX4" fmla="*/ 22464 w 42922"/>
                  <a:gd name="connsiteY4" fmla="*/ 36824 h 42922"/>
                  <a:gd name="connsiteX5" fmla="*/ 22464 w 42922"/>
                  <a:gd name="connsiteY5" fmla="*/ 36824 h 42922"/>
                  <a:gd name="connsiteX6" fmla="*/ 34841 w 42922"/>
                  <a:gd name="connsiteY6" fmla="*/ 22920 h 42922"/>
                  <a:gd name="connsiteX7" fmla="*/ 24324 w 42922"/>
                  <a:gd name="connsiteY7" fmla="*/ 1078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4753" y="10784"/>
                    </a:moveTo>
                    <a:cubicBezTo>
                      <a:pt x="24135" y="10713"/>
                      <a:pt x="23511" y="10713"/>
                      <a:pt x="22893" y="10784"/>
                    </a:cubicBezTo>
                    <a:cubicBezTo>
                      <a:pt x="16177" y="10784"/>
                      <a:pt x="10732" y="16230"/>
                      <a:pt x="10732" y="22946"/>
                    </a:cubicBezTo>
                    <a:lnTo>
                      <a:pt x="10732" y="24663"/>
                    </a:lnTo>
                    <a:cubicBezTo>
                      <a:pt x="10651" y="31245"/>
                      <a:pt x="15882" y="36668"/>
                      <a:pt x="22464" y="36824"/>
                    </a:cubicBezTo>
                    <a:lnTo>
                      <a:pt x="22464" y="36824"/>
                    </a:lnTo>
                    <a:cubicBezTo>
                      <a:pt x="29720" y="36402"/>
                      <a:pt x="35263" y="30178"/>
                      <a:pt x="34841" y="22920"/>
                    </a:cubicBezTo>
                    <a:cubicBezTo>
                      <a:pt x="34495" y="16957"/>
                      <a:pt x="30177" y="11975"/>
                      <a:pt x="24324" y="1078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11" name="Freeform: Shape 410">
                <a:extLst>
                  <a:ext uri="{FF2B5EF4-FFF2-40B4-BE49-F238E27FC236}">
                    <a16:creationId xmlns:a16="http://schemas.microsoft.com/office/drawing/2014/main" id="{895E16C8-3BA2-46CC-908D-1CE31DC0F8AE}"/>
                  </a:ext>
                </a:extLst>
              </p:cNvPr>
              <p:cNvSpPr/>
              <p:nvPr/>
            </p:nvSpPr>
            <p:spPr>
              <a:xfrm>
                <a:off x="5855761" y="5657228"/>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12" name="Freeform: Shape 411">
                <a:extLst>
                  <a:ext uri="{FF2B5EF4-FFF2-40B4-BE49-F238E27FC236}">
                    <a16:creationId xmlns:a16="http://schemas.microsoft.com/office/drawing/2014/main" id="{3BA8B947-8633-4526-9E51-2406A53E1FB5}"/>
                  </a:ext>
                </a:extLst>
              </p:cNvPr>
              <p:cNvSpPr/>
              <p:nvPr/>
            </p:nvSpPr>
            <p:spPr>
              <a:xfrm>
                <a:off x="5855761" y="5706875"/>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13" name="Freeform: Shape 412">
                <a:extLst>
                  <a:ext uri="{FF2B5EF4-FFF2-40B4-BE49-F238E27FC236}">
                    <a16:creationId xmlns:a16="http://schemas.microsoft.com/office/drawing/2014/main" id="{0C0723C7-089F-44AF-8BBC-960328874B61}"/>
                  </a:ext>
                </a:extLst>
              </p:cNvPr>
              <p:cNvSpPr/>
              <p:nvPr/>
            </p:nvSpPr>
            <p:spPr>
              <a:xfrm>
                <a:off x="5856190" y="5756664"/>
                <a:ext cx="42922" cy="42922"/>
              </a:xfrm>
              <a:custGeom>
                <a:avLst/>
                <a:gdLst>
                  <a:gd name="connsiteX0" fmla="*/ 22892 w 42922"/>
                  <a:gd name="connsiteY0" fmla="*/ 10732 h 42922"/>
                  <a:gd name="connsiteX1" fmla="*/ 22892 w 42922"/>
                  <a:gd name="connsiteY1" fmla="*/ 10732 h 42922"/>
                  <a:gd name="connsiteX2" fmla="*/ 10731 w 42922"/>
                  <a:gd name="connsiteY2" fmla="*/ 22893 h 42922"/>
                  <a:gd name="connsiteX3" fmla="*/ 22892 w 42922"/>
                  <a:gd name="connsiteY3" fmla="*/ 35054 h 42922"/>
                  <a:gd name="connsiteX4" fmla="*/ 35053 w 42922"/>
                  <a:gd name="connsiteY4" fmla="*/ 22893 h 42922"/>
                  <a:gd name="connsiteX5" fmla="*/ 23180 w 42922"/>
                  <a:gd name="connsiteY5" fmla="*/ 10732 h 42922"/>
                  <a:gd name="connsiteX6" fmla="*/ 22892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2"/>
                    </a:moveTo>
                    <a:lnTo>
                      <a:pt x="22892" y="10732"/>
                    </a:lnTo>
                    <a:cubicBezTo>
                      <a:pt x="16176" y="10732"/>
                      <a:pt x="10731" y="16177"/>
                      <a:pt x="10731" y="22893"/>
                    </a:cubicBezTo>
                    <a:cubicBezTo>
                      <a:pt x="10731" y="29609"/>
                      <a:pt x="16176" y="35054"/>
                      <a:pt x="22892" y="35054"/>
                    </a:cubicBezTo>
                    <a:cubicBezTo>
                      <a:pt x="29608" y="35054"/>
                      <a:pt x="35053" y="29609"/>
                      <a:pt x="35053" y="22893"/>
                    </a:cubicBezTo>
                    <a:cubicBezTo>
                      <a:pt x="35132" y="16256"/>
                      <a:pt x="29817" y="10812"/>
                      <a:pt x="23180" y="10732"/>
                    </a:cubicBezTo>
                    <a:cubicBezTo>
                      <a:pt x="23084" y="10730"/>
                      <a:pt x="22988" y="10730"/>
                      <a:pt x="22892"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14" name="Freeform: Shape 413">
                <a:extLst>
                  <a:ext uri="{FF2B5EF4-FFF2-40B4-BE49-F238E27FC236}">
                    <a16:creationId xmlns:a16="http://schemas.microsoft.com/office/drawing/2014/main" id="{1902AA91-F141-4333-B860-863A2CF414B3}"/>
                  </a:ext>
                </a:extLst>
              </p:cNvPr>
              <p:cNvSpPr/>
              <p:nvPr/>
            </p:nvSpPr>
            <p:spPr>
              <a:xfrm>
                <a:off x="5855761" y="5607295"/>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3321 h 42922"/>
                  <a:gd name="connsiteX4" fmla="*/ 35053 w 42922"/>
                  <a:gd name="connsiteY4" fmla="*/ 23321 h 42922"/>
                  <a:gd name="connsiteX5" fmla="*/ 23328 w 42922"/>
                  <a:gd name="connsiteY5" fmla="*/ 10738 h 42922"/>
                  <a:gd name="connsiteX6" fmla="*/ 22892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1"/>
                    </a:moveTo>
                    <a:cubicBezTo>
                      <a:pt x="16176" y="10731"/>
                      <a:pt x="10731" y="16176"/>
                      <a:pt x="10731" y="22892"/>
                    </a:cubicBezTo>
                    <a:cubicBezTo>
                      <a:pt x="10731" y="29608"/>
                      <a:pt x="16176" y="35053"/>
                      <a:pt x="22892" y="35053"/>
                    </a:cubicBezTo>
                    <a:cubicBezTo>
                      <a:pt x="29475" y="35133"/>
                      <a:pt x="34897" y="29903"/>
                      <a:pt x="35053" y="23321"/>
                    </a:cubicBezTo>
                    <a:lnTo>
                      <a:pt x="35053" y="23321"/>
                    </a:lnTo>
                    <a:cubicBezTo>
                      <a:pt x="35291" y="16610"/>
                      <a:pt x="30041" y="10975"/>
                      <a:pt x="23328" y="10738"/>
                    </a:cubicBezTo>
                    <a:cubicBezTo>
                      <a:pt x="23184" y="10733"/>
                      <a:pt x="23038" y="10731"/>
                      <a:pt x="22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15" name="Freeform: Shape 414">
                <a:extLst>
                  <a:ext uri="{FF2B5EF4-FFF2-40B4-BE49-F238E27FC236}">
                    <a16:creationId xmlns:a16="http://schemas.microsoft.com/office/drawing/2014/main" id="{DEDEEA7B-0DB7-4F64-9D9B-296C41E68319}"/>
                  </a:ext>
                </a:extLst>
              </p:cNvPr>
              <p:cNvSpPr/>
              <p:nvPr/>
            </p:nvSpPr>
            <p:spPr>
              <a:xfrm>
                <a:off x="5614537" y="5654939"/>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16" name="Freeform: Shape 415">
                <a:extLst>
                  <a:ext uri="{FF2B5EF4-FFF2-40B4-BE49-F238E27FC236}">
                    <a16:creationId xmlns:a16="http://schemas.microsoft.com/office/drawing/2014/main" id="{66119188-5C40-488B-AED1-B9748EACBCCC}"/>
                  </a:ext>
                </a:extLst>
              </p:cNvPr>
              <p:cNvSpPr/>
              <p:nvPr/>
            </p:nvSpPr>
            <p:spPr>
              <a:xfrm>
                <a:off x="5855761" y="5557648"/>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17" name="Freeform: Shape 416">
                <a:extLst>
                  <a:ext uri="{FF2B5EF4-FFF2-40B4-BE49-F238E27FC236}">
                    <a16:creationId xmlns:a16="http://schemas.microsoft.com/office/drawing/2014/main" id="{EDDC6836-994E-4C2D-93C7-798618EE0CFC}"/>
                  </a:ext>
                </a:extLst>
              </p:cNvPr>
              <p:cNvSpPr/>
              <p:nvPr/>
            </p:nvSpPr>
            <p:spPr>
              <a:xfrm>
                <a:off x="5614680" y="5604719"/>
                <a:ext cx="42922" cy="42922"/>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18" name="Freeform: Shape 417">
                <a:extLst>
                  <a:ext uri="{FF2B5EF4-FFF2-40B4-BE49-F238E27FC236}">
                    <a16:creationId xmlns:a16="http://schemas.microsoft.com/office/drawing/2014/main" id="{C2C8A7D0-D8A9-4B1D-8F74-01A74416FC6D}"/>
                  </a:ext>
                </a:extLst>
              </p:cNvPr>
              <p:cNvSpPr/>
              <p:nvPr/>
            </p:nvSpPr>
            <p:spPr>
              <a:xfrm>
                <a:off x="5854903" y="5507033"/>
                <a:ext cx="42922" cy="42922"/>
              </a:xfrm>
              <a:custGeom>
                <a:avLst/>
                <a:gdLst>
                  <a:gd name="connsiteX0" fmla="*/ 24609 w 42922"/>
                  <a:gd name="connsiteY0" fmla="*/ 10840 h 42922"/>
                  <a:gd name="connsiteX1" fmla="*/ 22892 w 42922"/>
                  <a:gd name="connsiteY1" fmla="*/ 10840 h 42922"/>
                  <a:gd name="connsiteX2" fmla="*/ 10731 w 42922"/>
                  <a:gd name="connsiteY2" fmla="*/ 23001 h 42922"/>
                  <a:gd name="connsiteX3" fmla="*/ 22892 w 42922"/>
                  <a:gd name="connsiteY3" fmla="*/ 35163 h 42922"/>
                  <a:gd name="connsiteX4" fmla="*/ 35050 w 42922"/>
                  <a:gd name="connsiteY4" fmla="*/ 23577 h 42922"/>
                  <a:gd name="connsiteX5" fmla="*/ 35053 w 42922"/>
                  <a:gd name="connsiteY5" fmla="*/ 23288 h 42922"/>
                  <a:gd name="connsiteX6" fmla="*/ 35053 w 42922"/>
                  <a:gd name="connsiteY6" fmla="*/ 23288 h 42922"/>
                  <a:gd name="connsiteX7" fmla="*/ 35912 w 42922"/>
                  <a:gd name="connsiteY7" fmla="*/ 23288 h 42922"/>
                  <a:gd name="connsiteX8" fmla="*/ 24609 w 42922"/>
                  <a:gd name="connsiteY8" fmla="*/ 1084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22" h="42922">
                    <a:moveTo>
                      <a:pt x="24609" y="10840"/>
                    </a:moveTo>
                    <a:cubicBezTo>
                      <a:pt x="24047" y="10694"/>
                      <a:pt x="23456" y="10694"/>
                      <a:pt x="22892" y="10840"/>
                    </a:cubicBezTo>
                    <a:cubicBezTo>
                      <a:pt x="16176" y="10840"/>
                      <a:pt x="10731" y="16285"/>
                      <a:pt x="10731" y="23001"/>
                    </a:cubicBezTo>
                    <a:cubicBezTo>
                      <a:pt x="10731" y="29717"/>
                      <a:pt x="16176" y="35163"/>
                      <a:pt x="22892" y="35163"/>
                    </a:cubicBezTo>
                    <a:cubicBezTo>
                      <a:pt x="29449" y="35320"/>
                      <a:pt x="34892" y="30134"/>
                      <a:pt x="35050" y="23577"/>
                    </a:cubicBezTo>
                    <a:cubicBezTo>
                      <a:pt x="35052" y="23481"/>
                      <a:pt x="35053" y="23383"/>
                      <a:pt x="35053" y="23288"/>
                    </a:cubicBezTo>
                    <a:lnTo>
                      <a:pt x="35053" y="23288"/>
                    </a:lnTo>
                    <a:lnTo>
                      <a:pt x="35912" y="23288"/>
                    </a:lnTo>
                    <a:cubicBezTo>
                      <a:pt x="36156" y="16755"/>
                      <a:pt x="31135" y="11225"/>
                      <a:pt x="24609" y="1084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19" name="Freeform: Shape 418">
                <a:extLst>
                  <a:ext uri="{FF2B5EF4-FFF2-40B4-BE49-F238E27FC236}">
                    <a16:creationId xmlns:a16="http://schemas.microsoft.com/office/drawing/2014/main" id="{9A7917BE-4CF2-47B0-9B83-648DF2A6E8B1}"/>
                  </a:ext>
                </a:extLst>
              </p:cNvPr>
              <p:cNvSpPr/>
              <p:nvPr/>
            </p:nvSpPr>
            <p:spPr>
              <a:xfrm>
                <a:off x="5775210" y="5705873"/>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20" name="Freeform: Shape 419">
                <a:extLst>
                  <a:ext uri="{FF2B5EF4-FFF2-40B4-BE49-F238E27FC236}">
                    <a16:creationId xmlns:a16="http://schemas.microsoft.com/office/drawing/2014/main" id="{B87B6D21-2A0C-4506-9AAB-989DB89F3BC0}"/>
                  </a:ext>
                </a:extLst>
              </p:cNvPr>
              <p:cNvSpPr/>
              <p:nvPr/>
            </p:nvSpPr>
            <p:spPr>
              <a:xfrm>
                <a:off x="5775210" y="5656226"/>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21" name="Freeform: Shape 420">
                <a:extLst>
                  <a:ext uri="{FF2B5EF4-FFF2-40B4-BE49-F238E27FC236}">
                    <a16:creationId xmlns:a16="http://schemas.microsoft.com/office/drawing/2014/main" id="{4367140B-827C-4847-8A4F-B25D0F07C3BC}"/>
                  </a:ext>
                </a:extLst>
              </p:cNvPr>
              <p:cNvSpPr/>
              <p:nvPr/>
            </p:nvSpPr>
            <p:spPr>
              <a:xfrm>
                <a:off x="5536275" y="5656226"/>
                <a:ext cx="42922" cy="42922"/>
              </a:xfrm>
              <a:custGeom>
                <a:avLst/>
                <a:gdLst>
                  <a:gd name="connsiteX0" fmla="*/ 23893 w 42922"/>
                  <a:gd name="connsiteY0" fmla="*/ 37056 h 42922"/>
                  <a:gd name="connsiteX1" fmla="*/ 37056 w 42922"/>
                  <a:gd name="connsiteY1" fmla="*/ 23893 h 42922"/>
                  <a:gd name="connsiteX2" fmla="*/ 23893 w 42922"/>
                  <a:gd name="connsiteY2" fmla="*/ 10731 h 42922"/>
                  <a:gd name="connsiteX3" fmla="*/ 10731 w 42922"/>
                  <a:gd name="connsiteY3" fmla="*/ 23893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3"/>
                    </a:cubicBezTo>
                    <a:cubicBezTo>
                      <a:pt x="37056" y="16624"/>
                      <a:pt x="31163" y="10731"/>
                      <a:pt x="23893" y="10731"/>
                    </a:cubicBezTo>
                    <a:cubicBezTo>
                      <a:pt x="16624" y="10731"/>
                      <a:pt x="10731" y="16624"/>
                      <a:pt x="10731" y="23893"/>
                    </a:cubicBezTo>
                    <a:cubicBezTo>
                      <a:pt x="10731" y="31163"/>
                      <a:pt x="16624" y="37056"/>
                      <a:pt x="23893" y="3705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22" name="Freeform: Shape 421">
                <a:extLst>
                  <a:ext uri="{FF2B5EF4-FFF2-40B4-BE49-F238E27FC236}">
                    <a16:creationId xmlns:a16="http://schemas.microsoft.com/office/drawing/2014/main" id="{C1249EDA-F9B8-4F25-9FE9-F076F134B30F}"/>
                  </a:ext>
                </a:extLst>
              </p:cNvPr>
              <p:cNvSpPr/>
              <p:nvPr/>
            </p:nvSpPr>
            <p:spPr>
              <a:xfrm>
                <a:off x="5775210" y="5755663"/>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23" name="Freeform: Shape 422">
                <a:extLst>
                  <a:ext uri="{FF2B5EF4-FFF2-40B4-BE49-F238E27FC236}">
                    <a16:creationId xmlns:a16="http://schemas.microsoft.com/office/drawing/2014/main" id="{287232D5-3186-4BA4-96D5-2F3461386EF9}"/>
                  </a:ext>
                </a:extLst>
              </p:cNvPr>
              <p:cNvSpPr/>
              <p:nvPr/>
            </p:nvSpPr>
            <p:spPr>
              <a:xfrm>
                <a:off x="5614394" y="5704729"/>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24" name="Freeform: Shape 423">
                <a:extLst>
                  <a:ext uri="{FF2B5EF4-FFF2-40B4-BE49-F238E27FC236}">
                    <a16:creationId xmlns:a16="http://schemas.microsoft.com/office/drawing/2014/main" id="{D4753B1E-BA72-4973-A0F9-0A9F96ED3C7B}"/>
                  </a:ext>
                </a:extLst>
              </p:cNvPr>
              <p:cNvSpPr/>
              <p:nvPr/>
            </p:nvSpPr>
            <p:spPr>
              <a:xfrm>
                <a:off x="5775210" y="5506856"/>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25" name="Freeform: Shape 424">
                <a:extLst>
                  <a:ext uri="{FF2B5EF4-FFF2-40B4-BE49-F238E27FC236}">
                    <a16:creationId xmlns:a16="http://schemas.microsoft.com/office/drawing/2014/main" id="{4F7B43B3-C8E7-4C71-AA7C-6C1C7D095A19}"/>
                  </a:ext>
                </a:extLst>
              </p:cNvPr>
              <p:cNvSpPr/>
              <p:nvPr/>
            </p:nvSpPr>
            <p:spPr>
              <a:xfrm>
                <a:off x="5775210" y="5606293"/>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26" name="Freeform: Shape 425">
                <a:extLst>
                  <a:ext uri="{FF2B5EF4-FFF2-40B4-BE49-F238E27FC236}">
                    <a16:creationId xmlns:a16="http://schemas.microsoft.com/office/drawing/2014/main" id="{7F6CBF66-E2BB-4367-B14E-799C5487BD8A}"/>
                  </a:ext>
                </a:extLst>
              </p:cNvPr>
              <p:cNvSpPr/>
              <p:nvPr/>
            </p:nvSpPr>
            <p:spPr>
              <a:xfrm>
                <a:off x="5775211" y="5556789"/>
                <a:ext cx="42922" cy="42922"/>
              </a:xfrm>
              <a:custGeom>
                <a:avLst/>
                <a:gdLst>
                  <a:gd name="connsiteX0" fmla="*/ 23892 w 42922"/>
                  <a:gd name="connsiteY0" fmla="*/ 10731 h 42922"/>
                  <a:gd name="connsiteX1" fmla="*/ 10731 w 42922"/>
                  <a:gd name="connsiteY1" fmla="*/ 23895 h 42922"/>
                  <a:gd name="connsiteX2" fmla="*/ 23893 w 42922"/>
                  <a:gd name="connsiteY2" fmla="*/ 37056 h 42922"/>
                  <a:gd name="connsiteX3" fmla="*/ 37056 w 42922"/>
                  <a:gd name="connsiteY3" fmla="*/ 23892 h 42922"/>
                  <a:gd name="connsiteX4" fmla="*/ 37055 w 42922"/>
                  <a:gd name="connsiteY4" fmla="*/ 23750 h 42922"/>
                  <a:gd name="connsiteX5" fmla="*/ 23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2" y="10731"/>
                    </a:moveTo>
                    <a:cubicBezTo>
                      <a:pt x="16622" y="10731"/>
                      <a:pt x="10729" y="16625"/>
                      <a:pt x="10731" y="23895"/>
                    </a:cubicBezTo>
                    <a:cubicBezTo>
                      <a:pt x="10731" y="31165"/>
                      <a:pt x="16624" y="37056"/>
                      <a:pt x="23893" y="37056"/>
                    </a:cubicBezTo>
                    <a:cubicBezTo>
                      <a:pt x="31163" y="37056"/>
                      <a:pt x="37056" y="31162"/>
                      <a:pt x="37056" y="23892"/>
                    </a:cubicBezTo>
                    <a:cubicBezTo>
                      <a:pt x="37056" y="23845"/>
                      <a:pt x="37055" y="23798"/>
                      <a:pt x="37055" y="23750"/>
                    </a:cubicBezTo>
                    <a:cubicBezTo>
                      <a:pt x="36976" y="16537"/>
                      <a:pt x="31106" y="10731"/>
                      <a:pt x="23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27" name="Freeform: Shape 426">
                <a:extLst>
                  <a:ext uri="{FF2B5EF4-FFF2-40B4-BE49-F238E27FC236}">
                    <a16:creationId xmlns:a16="http://schemas.microsoft.com/office/drawing/2014/main" id="{0345E1CF-0DF6-400B-A7D9-8405F50E2FFB}"/>
                  </a:ext>
                </a:extLst>
              </p:cNvPr>
              <p:cNvSpPr/>
              <p:nvPr/>
            </p:nvSpPr>
            <p:spPr>
              <a:xfrm>
                <a:off x="5144285" y="5758860"/>
                <a:ext cx="28615" cy="28615"/>
              </a:xfrm>
              <a:custGeom>
                <a:avLst/>
                <a:gdLst>
                  <a:gd name="connsiteX0" fmla="*/ 10839 w 28614"/>
                  <a:gd name="connsiteY0" fmla="*/ 17836 h 28614"/>
                  <a:gd name="connsiteX1" fmla="*/ 10839 w 28614"/>
                  <a:gd name="connsiteY1" fmla="*/ 20411 h 28614"/>
                  <a:gd name="connsiteX2" fmla="*/ 20392 w 28614"/>
                  <a:gd name="connsiteY2" fmla="*/ 27569 h 28614"/>
                  <a:gd name="connsiteX3" fmla="*/ 20425 w 28614"/>
                  <a:gd name="connsiteY3" fmla="*/ 27565 h 28614"/>
                  <a:gd name="connsiteX4" fmla="*/ 27579 w 28614"/>
                  <a:gd name="connsiteY4" fmla="*/ 20411 h 28614"/>
                  <a:gd name="connsiteX5" fmla="*/ 20425 w 28614"/>
                  <a:gd name="connsiteY5" fmla="*/ 10825 h 28614"/>
                  <a:gd name="connsiteX6" fmla="*/ 10839 w 28614"/>
                  <a:gd name="connsiteY6" fmla="*/ 178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0839" y="17836"/>
                    </a:moveTo>
                    <a:cubicBezTo>
                      <a:pt x="10694" y="18688"/>
                      <a:pt x="10694" y="19558"/>
                      <a:pt x="10839" y="20411"/>
                    </a:cubicBezTo>
                    <a:cubicBezTo>
                      <a:pt x="11500" y="25026"/>
                      <a:pt x="15778" y="28231"/>
                      <a:pt x="20392" y="27569"/>
                    </a:cubicBezTo>
                    <a:cubicBezTo>
                      <a:pt x="20404" y="27567"/>
                      <a:pt x="20414" y="27566"/>
                      <a:pt x="20425" y="27565"/>
                    </a:cubicBezTo>
                    <a:cubicBezTo>
                      <a:pt x="24132" y="27031"/>
                      <a:pt x="27045" y="24118"/>
                      <a:pt x="27579" y="20411"/>
                    </a:cubicBezTo>
                    <a:cubicBezTo>
                      <a:pt x="28180" y="15807"/>
                      <a:pt x="25009" y="11560"/>
                      <a:pt x="20425" y="10825"/>
                    </a:cubicBezTo>
                    <a:cubicBezTo>
                      <a:pt x="15848" y="10140"/>
                      <a:pt x="11573" y="13266"/>
                      <a:pt x="10839" y="1783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28" name="Freeform: Shape 427">
                <a:extLst>
                  <a:ext uri="{FF2B5EF4-FFF2-40B4-BE49-F238E27FC236}">
                    <a16:creationId xmlns:a16="http://schemas.microsoft.com/office/drawing/2014/main" id="{AE51FE46-4799-4D43-AF25-F1742199F9A3}"/>
                  </a:ext>
                </a:extLst>
              </p:cNvPr>
              <p:cNvSpPr/>
              <p:nvPr/>
            </p:nvSpPr>
            <p:spPr>
              <a:xfrm>
                <a:off x="5222226" y="5710595"/>
                <a:ext cx="28615" cy="28615"/>
              </a:xfrm>
              <a:custGeom>
                <a:avLst/>
                <a:gdLst>
                  <a:gd name="connsiteX0" fmla="*/ 20030 w 28614"/>
                  <a:gd name="connsiteY0" fmla="*/ 29330 h 28614"/>
                  <a:gd name="connsiteX1" fmla="*/ 29473 w 28614"/>
                  <a:gd name="connsiteY1" fmla="*/ 19887 h 28614"/>
                  <a:gd name="connsiteX2" fmla="*/ 20030 w 28614"/>
                  <a:gd name="connsiteY2" fmla="*/ 10731 h 28614"/>
                  <a:gd name="connsiteX3" fmla="*/ 10731 w 28614"/>
                  <a:gd name="connsiteY3" fmla="*/ 19887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83" y="29182"/>
                      <a:pt x="29325" y="25040"/>
                      <a:pt x="29473" y="19887"/>
                    </a:cubicBezTo>
                    <a:cubicBezTo>
                      <a:pt x="29319" y="14784"/>
                      <a:pt x="25135" y="10728"/>
                      <a:pt x="20030" y="10731"/>
                    </a:cubicBezTo>
                    <a:cubicBezTo>
                      <a:pt x="14950" y="10731"/>
                      <a:pt x="10809" y="14807"/>
                      <a:pt x="10731" y="19887"/>
                    </a:cubicBezTo>
                    <a:cubicBezTo>
                      <a:pt x="10731" y="25047"/>
                      <a:pt x="14871" y="29252"/>
                      <a:pt x="20030" y="2933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29" name="Freeform: Shape 428">
                <a:extLst>
                  <a:ext uri="{FF2B5EF4-FFF2-40B4-BE49-F238E27FC236}">
                    <a16:creationId xmlns:a16="http://schemas.microsoft.com/office/drawing/2014/main" id="{FDE181CA-623D-48D7-8C88-7E17253E8282}"/>
                  </a:ext>
                </a:extLst>
              </p:cNvPr>
              <p:cNvSpPr/>
              <p:nvPr/>
            </p:nvSpPr>
            <p:spPr>
              <a:xfrm>
                <a:off x="5065843" y="5611730"/>
                <a:ext cx="28615" cy="28615"/>
              </a:xfrm>
              <a:custGeom>
                <a:avLst/>
                <a:gdLst>
                  <a:gd name="connsiteX0" fmla="*/ 18459 w 28614"/>
                  <a:gd name="connsiteY0" fmla="*/ 10731 h 28614"/>
                  <a:gd name="connsiteX1" fmla="*/ 11019 w 28614"/>
                  <a:gd name="connsiteY1" fmla="*/ 18171 h 28614"/>
                  <a:gd name="connsiteX2" fmla="*/ 16129 w 28614"/>
                  <a:gd name="connsiteY2" fmla="*/ 27367 h 28614"/>
                  <a:gd name="connsiteX3" fmla="*/ 25326 w 28614"/>
                  <a:gd name="connsiteY3" fmla="*/ 22258 h 28614"/>
                  <a:gd name="connsiteX4" fmla="*/ 25326 w 28614"/>
                  <a:gd name="connsiteY4" fmla="*/ 18171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1"/>
                    </a:cubicBezTo>
                    <a:cubicBezTo>
                      <a:pt x="9890" y="22121"/>
                      <a:pt x="12178" y="26238"/>
                      <a:pt x="16129" y="27367"/>
                    </a:cubicBezTo>
                    <a:cubicBezTo>
                      <a:pt x="20080" y="28496"/>
                      <a:pt x="24198" y="26208"/>
                      <a:pt x="25326" y="22258"/>
                    </a:cubicBezTo>
                    <a:cubicBezTo>
                      <a:pt x="25708" y="20922"/>
                      <a:pt x="25708" y="19507"/>
                      <a:pt x="25326" y="18171"/>
                    </a:cubicBezTo>
                    <a:cubicBezTo>
                      <a:pt x="25338" y="14275"/>
                      <a:pt x="22342" y="11030"/>
                      <a:pt x="18459"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30" name="Freeform: Shape 429">
                <a:extLst>
                  <a:ext uri="{FF2B5EF4-FFF2-40B4-BE49-F238E27FC236}">
                    <a16:creationId xmlns:a16="http://schemas.microsoft.com/office/drawing/2014/main" id="{0CF64A83-3C25-4D30-A8A7-DBFC081FAD54}"/>
                  </a:ext>
                </a:extLst>
              </p:cNvPr>
              <p:cNvSpPr/>
              <p:nvPr/>
            </p:nvSpPr>
            <p:spPr>
              <a:xfrm>
                <a:off x="5065273" y="5712312"/>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31" name="Freeform: Shape 430">
                <a:extLst>
                  <a:ext uri="{FF2B5EF4-FFF2-40B4-BE49-F238E27FC236}">
                    <a16:creationId xmlns:a16="http://schemas.microsoft.com/office/drawing/2014/main" id="{A9CE402D-84A3-44EC-AE10-3657B26893D7}"/>
                  </a:ext>
                </a:extLst>
              </p:cNvPr>
              <p:cNvSpPr/>
              <p:nvPr/>
            </p:nvSpPr>
            <p:spPr>
              <a:xfrm>
                <a:off x="5222226" y="5659946"/>
                <a:ext cx="28615" cy="28615"/>
              </a:xfrm>
              <a:custGeom>
                <a:avLst/>
                <a:gdLst>
                  <a:gd name="connsiteX0" fmla="*/ 20030 w 28614"/>
                  <a:gd name="connsiteY0" fmla="*/ 29330 h 28614"/>
                  <a:gd name="connsiteX1" fmla="*/ 29473 w 28614"/>
                  <a:gd name="connsiteY1" fmla="*/ 20174 h 28614"/>
                  <a:gd name="connsiteX2" fmla="*/ 20030 w 28614"/>
                  <a:gd name="connsiteY2" fmla="*/ 10731 h 28614"/>
                  <a:gd name="connsiteX3" fmla="*/ 10731 w 28614"/>
                  <a:gd name="connsiteY3" fmla="*/ 20174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35" y="29333"/>
                      <a:pt x="29319" y="25277"/>
                      <a:pt x="29473" y="20174"/>
                    </a:cubicBezTo>
                    <a:cubicBezTo>
                      <a:pt x="29325" y="15021"/>
                      <a:pt x="25183" y="10879"/>
                      <a:pt x="20030" y="10731"/>
                    </a:cubicBezTo>
                    <a:cubicBezTo>
                      <a:pt x="14871" y="10809"/>
                      <a:pt x="10731" y="15014"/>
                      <a:pt x="10731" y="20174"/>
                    </a:cubicBezTo>
                    <a:cubicBezTo>
                      <a:pt x="10809" y="25254"/>
                      <a:pt x="14950" y="29330"/>
                      <a:pt x="20030" y="2933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32" name="Freeform: Shape 431">
                <a:extLst>
                  <a:ext uri="{FF2B5EF4-FFF2-40B4-BE49-F238E27FC236}">
                    <a16:creationId xmlns:a16="http://schemas.microsoft.com/office/drawing/2014/main" id="{D9CFC907-D940-4B08-A38B-C5DE36D141ED}"/>
                  </a:ext>
                </a:extLst>
              </p:cNvPr>
              <p:cNvSpPr/>
              <p:nvPr/>
            </p:nvSpPr>
            <p:spPr>
              <a:xfrm>
                <a:off x="5222226" y="5561225"/>
                <a:ext cx="28615" cy="28615"/>
              </a:xfrm>
              <a:custGeom>
                <a:avLst/>
                <a:gdLst>
                  <a:gd name="connsiteX0" fmla="*/ 20030 w 28614"/>
                  <a:gd name="connsiteY0" fmla="*/ 10731 h 28614"/>
                  <a:gd name="connsiteX1" fmla="*/ 10731 w 28614"/>
                  <a:gd name="connsiteY1" fmla="*/ 20174 h 28614"/>
                  <a:gd name="connsiteX2" fmla="*/ 19886 w 28614"/>
                  <a:gd name="connsiteY2" fmla="*/ 29332 h 28614"/>
                  <a:gd name="connsiteX3" fmla="*/ 20030 w 28614"/>
                  <a:gd name="connsiteY3" fmla="*/ 29330 h 28614"/>
                  <a:gd name="connsiteX4" fmla="*/ 29473 w 28614"/>
                  <a:gd name="connsiteY4" fmla="*/ 20174 h 28614"/>
                  <a:gd name="connsiteX5" fmla="*/ 20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0" y="10731"/>
                    </a:moveTo>
                    <a:cubicBezTo>
                      <a:pt x="14871" y="10809"/>
                      <a:pt x="10731" y="15014"/>
                      <a:pt x="10731" y="20174"/>
                    </a:cubicBezTo>
                    <a:cubicBezTo>
                      <a:pt x="10731" y="25231"/>
                      <a:pt x="14830" y="29330"/>
                      <a:pt x="19886" y="29332"/>
                    </a:cubicBezTo>
                    <a:cubicBezTo>
                      <a:pt x="19935" y="29332"/>
                      <a:pt x="19982" y="29332"/>
                      <a:pt x="20030" y="29330"/>
                    </a:cubicBezTo>
                    <a:cubicBezTo>
                      <a:pt x="25135" y="29333"/>
                      <a:pt x="29319" y="25277"/>
                      <a:pt x="29473" y="20174"/>
                    </a:cubicBezTo>
                    <a:cubicBezTo>
                      <a:pt x="29325" y="15021"/>
                      <a:pt x="25183" y="10879"/>
                      <a:pt x="20030"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33" name="Freeform: Shape 432">
                <a:extLst>
                  <a:ext uri="{FF2B5EF4-FFF2-40B4-BE49-F238E27FC236}">
                    <a16:creationId xmlns:a16="http://schemas.microsoft.com/office/drawing/2014/main" id="{B3476A49-4D7C-48D0-80C0-7026B6DA4F73}"/>
                  </a:ext>
                </a:extLst>
              </p:cNvPr>
              <p:cNvSpPr/>
              <p:nvPr/>
            </p:nvSpPr>
            <p:spPr>
              <a:xfrm>
                <a:off x="5223084" y="5609870"/>
                <a:ext cx="28615" cy="28615"/>
              </a:xfrm>
              <a:custGeom>
                <a:avLst/>
                <a:gdLst>
                  <a:gd name="connsiteX0" fmla="*/ 10731 w 28614"/>
                  <a:gd name="connsiteY0" fmla="*/ 20030 h 28614"/>
                  <a:gd name="connsiteX1" fmla="*/ 19887 w 28614"/>
                  <a:gd name="connsiteY1" fmla="*/ 29473 h 28614"/>
                  <a:gd name="connsiteX2" fmla="*/ 29330 w 28614"/>
                  <a:gd name="connsiteY2" fmla="*/ 20030 h 28614"/>
                  <a:gd name="connsiteX3" fmla="*/ 19887 w 28614"/>
                  <a:gd name="connsiteY3" fmla="*/ 10731 h 28614"/>
                  <a:gd name="connsiteX4" fmla="*/ 10731 w 28614"/>
                  <a:gd name="connsiteY4" fmla="*/ 200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0731" y="20030"/>
                    </a:moveTo>
                    <a:cubicBezTo>
                      <a:pt x="10728" y="25135"/>
                      <a:pt x="14784" y="29319"/>
                      <a:pt x="19887" y="29473"/>
                    </a:cubicBezTo>
                    <a:cubicBezTo>
                      <a:pt x="25071" y="29396"/>
                      <a:pt x="29253" y="25214"/>
                      <a:pt x="29330" y="20030"/>
                    </a:cubicBezTo>
                    <a:cubicBezTo>
                      <a:pt x="29252" y="14871"/>
                      <a:pt x="25047" y="10731"/>
                      <a:pt x="19887" y="10731"/>
                    </a:cubicBezTo>
                    <a:cubicBezTo>
                      <a:pt x="14807" y="10809"/>
                      <a:pt x="10731" y="14950"/>
                      <a:pt x="10731" y="2003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34" name="Freeform: Shape 433">
                <a:extLst>
                  <a:ext uri="{FF2B5EF4-FFF2-40B4-BE49-F238E27FC236}">
                    <a16:creationId xmlns:a16="http://schemas.microsoft.com/office/drawing/2014/main" id="{B8948C55-EF62-43DB-B60E-9A407338C27B}"/>
                  </a:ext>
                </a:extLst>
              </p:cNvPr>
              <p:cNvSpPr/>
              <p:nvPr/>
            </p:nvSpPr>
            <p:spPr>
              <a:xfrm>
                <a:off x="5222937" y="5758523"/>
                <a:ext cx="28615" cy="28615"/>
              </a:xfrm>
              <a:custGeom>
                <a:avLst/>
                <a:gdLst>
                  <a:gd name="connsiteX0" fmla="*/ 19892 w 28614"/>
                  <a:gd name="connsiteY0" fmla="*/ 30333 h 28614"/>
                  <a:gd name="connsiteX1" fmla="*/ 29764 w 28614"/>
                  <a:gd name="connsiteY1" fmla="*/ 20461 h 28614"/>
                  <a:gd name="connsiteX2" fmla="*/ 20036 w 28614"/>
                  <a:gd name="connsiteY2" fmla="*/ 10731 h 28614"/>
                  <a:gd name="connsiteX3" fmla="*/ 19892 w 28614"/>
                  <a:gd name="connsiteY3" fmla="*/ 10732 h 28614"/>
                  <a:gd name="connsiteX4" fmla="*/ 10735 w 28614"/>
                  <a:gd name="connsiteY4" fmla="*/ 19600 h 28614"/>
                  <a:gd name="connsiteX5" fmla="*/ 10735 w 28614"/>
                  <a:gd name="connsiteY5" fmla="*/ 19889 h 28614"/>
                  <a:gd name="connsiteX6" fmla="*/ 10735 w 28614"/>
                  <a:gd name="connsiteY6" fmla="*/ 19889 h 28614"/>
                  <a:gd name="connsiteX7" fmla="*/ 10735 w 28614"/>
                  <a:gd name="connsiteY7" fmla="*/ 20890 h 28614"/>
                  <a:gd name="connsiteX8" fmla="*/ 19601 w 28614"/>
                  <a:gd name="connsiteY8" fmla="*/ 30329 h 28614"/>
                  <a:gd name="connsiteX9" fmla="*/ 19892 w 28614"/>
                  <a:gd name="connsiteY9" fmla="*/ 30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19892" y="30333"/>
                    </a:moveTo>
                    <a:cubicBezTo>
                      <a:pt x="25345" y="30333"/>
                      <a:pt x="29764" y="25914"/>
                      <a:pt x="29764" y="20461"/>
                    </a:cubicBezTo>
                    <a:cubicBezTo>
                      <a:pt x="29764" y="15087"/>
                      <a:pt x="25409" y="10732"/>
                      <a:pt x="20036" y="10731"/>
                    </a:cubicBezTo>
                    <a:cubicBezTo>
                      <a:pt x="19988" y="10731"/>
                      <a:pt x="19941" y="10731"/>
                      <a:pt x="19892" y="10732"/>
                    </a:cubicBezTo>
                    <a:cubicBezTo>
                      <a:pt x="14914" y="10652"/>
                      <a:pt x="10815" y="14622"/>
                      <a:pt x="10735" y="19600"/>
                    </a:cubicBezTo>
                    <a:cubicBezTo>
                      <a:pt x="10734" y="19697"/>
                      <a:pt x="10734" y="19793"/>
                      <a:pt x="10735" y="19889"/>
                    </a:cubicBezTo>
                    <a:lnTo>
                      <a:pt x="10735" y="19889"/>
                    </a:lnTo>
                    <a:lnTo>
                      <a:pt x="10735" y="20890"/>
                    </a:lnTo>
                    <a:cubicBezTo>
                      <a:pt x="10578" y="25945"/>
                      <a:pt x="14547" y="30170"/>
                      <a:pt x="19601" y="30329"/>
                    </a:cubicBezTo>
                    <a:cubicBezTo>
                      <a:pt x="19699" y="30332"/>
                      <a:pt x="19795" y="30333"/>
                      <a:pt x="19892" y="3033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35" name="Freeform: Shape 434">
                <a:extLst>
                  <a:ext uri="{FF2B5EF4-FFF2-40B4-BE49-F238E27FC236}">
                    <a16:creationId xmlns:a16="http://schemas.microsoft.com/office/drawing/2014/main" id="{E231D28D-1AA9-4F57-A71C-38126CBDC6C2}"/>
                  </a:ext>
                </a:extLst>
              </p:cNvPr>
              <p:cNvSpPr/>
              <p:nvPr/>
            </p:nvSpPr>
            <p:spPr>
              <a:xfrm>
                <a:off x="5458585" y="5607008"/>
                <a:ext cx="42922" cy="42922"/>
              </a:xfrm>
              <a:custGeom>
                <a:avLst/>
                <a:gdLst>
                  <a:gd name="connsiteX0" fmla="*/ 22893 w 42922"/>
                  <a:gd name="connsiteY0" fmla="*/ 10731 h 42922"/>
                  <a:gd name="connsiteX1" fmla="*/ 10732 w 42922"/>
                  <a:gd name="connsiteY1" fmla="*/ 22892 h 42922"/>
                  <a:gd name="connsiteX2" fmla="*/ 22464 w 42922"/>
                  <a:gd name="connsiteY2" fmla="*/ 35053 h 42922"/>
                  <a:gd name="connsiteX3" fmla="*/ 22464 w 42922"/>
                  <a:gd name="connsiteY3" fmla="*/ 35053 h 42922"/>
                  <a:gd name="connsiteX4" fmla="*/ 34625 w 42922"/>
                  <a:gd name="connsiteY4" fmla="*/ 22892 h 42922"/>
                  <a:gd name="connsiteX5" fmla="*/ 22464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10731"/>
                    </a:moveTo>
                    <a:cubicBezTo>
                      <a:pt x="16177" y="10731"/>
                      <a:pt x="10732" y="16176"/>
                      <a:pt x="10732" y="22892"/>
                    </a:cubicBezTo>
                    <a:cubicBezTo>
                      <a:pt x="10651" y="29475"/>
                      <a:pt x="15882" y="34897"/>
                      <a:pt x="22464" y="35053"/>
                    </a:cubicBezTo>
                    <a:lnTo>
                      <a:pt x="22464" y="35053"/>
                    </a:lnTo>
                    <a:cubicBezTo>
                      <a:pt x="29180" y="35053"/>
                      <a:pt x="34625" y="29608"/>
                      <a:pt x="34625" y="22892"/>
                    </a:cubicBezTo>
                    <a:cubicBezTo>
                      <a:pt x="34625" y="16176"/>
                      <a:pt x="29180" y="10731"/>
                      <a:pt x="22464"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36" name="Freeform: Shape 435">
                <a:extLst>
                  <a:ext uri="{FF2B5EF4-FFF2-40B4-BE49-F238E27FC236}">
                    <a16:creationId xmlns:a16="http://schemas.microsoft.com/office/drawing/2014/main" id="{810C3E86-E128-4FBC-9650-4D8636CD69C7}"/>
                  </a:ext>
                </a:extLst>
              </p:cNvPr>
              <p:cNvSpPr/>
              <p:nvPr/>
            </p:nvSpPr>
            <p:spPr>
              <a:xfrm>
                <a:off x="5067314" y="5563513"/>
                <a:ext cx="28615" cy="28615"/>
              </a:xfrm>
              <a:custGeom>
                <a:avLst/>
                <a:gdLst>
                  <a:gd name="connsiteX0" fmla="*/ 16129 w 28614"/>
                  <a:gd name="connsiteY0" fmla="*/ 25325 h 28614"/>
                  <a:gd name="connsiteX1" fmla="*/ 25326 w 28614"/>
                  <a:gd name="connsiteY1" fmla="*/ 20214 h 28614"/>
                  <a:gd name="connsiteX2" fmla="*/ 20216 w 28614"/>
                  <a:gd name="connsiteY2" fmla="*/ 11017 h 28614"/>
                  <a:gd name="connsiteX3" fmla="*/ 16129 w 28614"/>
                  <a:gd name="connsiteY3" fmla="*/ 11017 h 28614"/>
                  <a:gd name="connsiteX4" fmla="*/ 11019 w 28614"/>
                  <a:gd name="connsiteY4" fmla="*/ 20214 h 28614"/>
                  <a:gd name="connsiteX5" fmla="*/ 16129 w 28614"/>
                  <a:gd name="connsiteY5"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6129" y="25325"/>
                    </a:moveTo>
                    <a:cubicBezTo>
                      <a:pt x="20080" y="26453"/>
                      <a:pt x="24198" y="24166"/>
                      <a:pt x="25326" y="20214"/>
                    </a:cubicBezTo>
                    <a:cubicBezTo>
                      <a:pt x="26455" y="16264"/>
                      <a:pt x="24167" y="12146"/>
                      <a:pt x="20216" y="11017"/>
                    </a:cubicBezTo>
                    <a:cubicBezTo>
                      <a:pt x="18880" y="10635"/>
                      <a:pt x="17464" y="10635"/>
                      <a:pt x="16129" y="11017"/>
                    </a:cubicBezTo>
                    <a:cubicBezTo>
                      <a:pt x="12178" y="12146"/>
                      <a:pt x="9890" y="16264"/>
                      <a:pt x="11019" y="20214"/>
                    </a:cubicBezTo>
                    <a:cubicBezTo>
                      <a:pt x="11725" y="22686"/>
                      <a:pt x="13657" y="24618"/>
                      <a:pt x="16129" y="2532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37" name="Freeform: Shape 436">
                <a:extLst>
                  <a:ext uri="{FF2B5EF4-FFF2-40B4-BE49-F238E27FC236}">
                    <a16:creationId xmlns:a16="http://schemas.microsoft.com/office/drawing/2014/main" id="{C79B3055-9161-4111-A57A-DD1584757B31}"/>
                  </a:ext>
                </a:extLst>
              </p:cNvPr>
              <p:cNvSpPr/>
              <p:nvPr/>
            </p:nvSpPr>
            <p:spPr>
              <a:xfrm>
                <a:off x="5067314" y="5662522"/>
                <a:ext cx="28615" cy="28615"/>
              </a:xfrm>
              <a:custGeom>
                <a:avLst/>
                <a:gdLst>
                  <a:gd name="connsiteX0" fmla="*/ 16129 w 28614"/>
                  <a:gd name="connsiteY0" fmla="*/ 25038 h 28614"/>
                  <a:gd name="connsiteX1" fmla="*/ 21239 w 28614"/>
                  <a:gd name="connsiteY1" fmla="*/ 15841 h 28614"/>
                  <a:gd name="connsiteX2" fmla="*/ 16129 w 28614"/>
                  <a:gd name="connsiteY2" fmla="*/ 10731 h 28614"/>
                  <a:gd name="connsiteX3" fmla="*/ 11019 w 28614"/>
                  <a:gd name="connsiteY3" fmla="*/ 19927 h 28614"/>
                  <a:gd name="connsiteX4" fmla="*/ 16129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6129" y="25038"/>
                    </a:moveTo>
                    <a:cubicBezTo>
                      <a:pt x="20080" y="23909"/>
                      <a:pt x="22368" y="19792"/>
                      <a:pt x="21239" y="15841"/>
                    </a:cubicBezTo>
                    <a:cubicBezTo>
                      <a:pt x="20533" y="13369"/>
                      <a:pt x="18601" y="11437"/>
                      <a:pt x="16129" y="10731"/>
                    </a:cubicBezTo>
                    <a:cubicBezTo>
                      <a:pt x="12178" y="11859"/>
                      <a:pt x="9890" y="15977"/>
                      <a:pt x="11019" y="19927"/>
                    </a:cubicBezTo>
                    <a:cubicBezTo>
                      <a:pt x="11725" y="22400"/>
                      <a:pt x="13657" y="24331"/>
                      <a:pt x="16129" y="2503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38" name="Freeform: Shape 437">
                <a:extLst>
                  <a:ext uri="{FF2B5EF4-FFF2-40B4-BE49-F238E27FC236}">
                    <a16:creationId xmlns:a16="http://schemas.microsoft.com/office/drawing/2014/main" id="{3DEA5024-F9B5-477E-B45B-4AE3A9DB1A5C}"/>
                  </a:ext>
                </a:extLst>
              </p:cNvPr>
              <p:cNvSpPr/>
              <p:nvPr/>
            </p:nvSpPr>
            <p:spPr>
              <a:xfrm>
                <a:off x="5143712" y="5561787"/>
                <a:ext cx="28615" cy="28615"/>
              </a:xfrm>
              <a:custGeom>
                <a:avLst/>
                <a:gdLst>
                  <a:gd name="connsiteX0" fmla="*/ 20425 w 28614"/>
                  <a:gd name="connsiteY0" fmla="*/ 26622 h 28614"/>
                  <a:gd name="connsiteX1" fmla="*/ 27436 w 28614"/>
                  <a:gd name="connsiteY1" fmla="*/ 19611 h 28614"/>
                  <a:gd name="connsiteX2" fmla="*/ 19445 w 28614"/>
                  <a:gd name="connsiteY2" fmla="*/ 10742 h 28614"/>
                  <a:gd name="connsiteX3" fmla="*/ 10839 w 28614"/>
                  <a:gd name="connsiteY3" fmla="*/ 17036 h 28614"/>
                  <a:gd name="connsiteX4" fmla="*/ 10839 w 28614"/>
                  <a:gd name="connsiteY4" fmla="*/ 19611 h 28614"/>
                  <a:gd name="connsiteX5" fmla="*/ 20425 w 28614"/>
                  <a:gd name="connsiteY5" fmla="*/ 2662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425" y="26622"/>
                    </a:moveTo>
                    <a:cubicBezTo>
                      <a:pt x="24078" y="26137"/>
                      <a:pt x="26951" y="23264"/>
                      <a:pt x="27436" y="19611"/>
                    </a:cubicBezTo>
                    <a:cubicBezTo>
                      <a:pt x="27679" y="14956"/>
                      <a:pt x="24101" y="10985"/>
                      <a:pt x="19445" y="10742"/>
                    </a:cubicBezTo>
                    <a:cubicBezTo>
                      <a:pt x="15447" y="10533"/>
                      <a:pt x="11852" y="13163"/>
                      <a:pt x="10839" y="17036"/>
                    </a:cubicBezTo>
                    <a:cubicBezTo>
                      <a:pt x="10694" y="17889"/>
                      <a:pt x="10694" y="18759"/>
                      <a:pt x="10839" y="19611"/>
                    </a:cubicBezTo>
                    <a:cubicBezTo>
                      <a:pt x="11573" y="24181"/>
                      <a:pt x="15848" y="27307"/>
                      <a:pt x="20425" y="2662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39" name="Freeform: Shape 438">
                <a:extLst>
                  <a:ext uri="{FF2B5EF4-FFF2-40B4-BE49-F238E27FC236}">
                    <a16:creationId xmlns:a16="http://schemas.microsoft.com/office/drawing/2014/main" id="{D4B75600-B97E-4B86-9621-61975228C43F}"/>
                  </a:ext>
                </a:extLst>
              </p:cNvPr>
              <p:cNvSpPr/>
              <p:nvPr/>
            </p:nvSpPr>
            <p:spPr>
              <a:xfrm>
                <a:off x="5144244" y="5711596"/>
                <a:ext cx="28615" cy="28615"/>
              </a:xfrm>
              <a:custGeom>
                <a:avLst/>
                <a:gdLst>
                  <a:gd name="connsiteX0" fmla="*/ 18463 w 28614"/>
                  <a:gd name="connsiteY0" fmla="*/ 27613 h 28614"/>
                  <a:gd name="connsiteX1" fmla="*/ 27190 w 28614"/>
                  <a:gd name="connsiteY1" fmla="*/ 19315 h 28614"/>
                  <a:gd name="connsiteX2" fmla="*/ 19182 w 28614"/>
                  <a:gd name="connsiteY2" fmla="*/ 10735 h 28614"/>
                  <a:gd name="connsiteX3" fmla="*/ 18892 w 28614"/>
                  <a:gd name="connsiteY3" fmla="*/ 10731 h 28614"/>
                  <a:gd name="connsiteX4" fmla="*/ 18892 w 28614"/>
                  <a:gd name="connsiteY4" fmla="*/ 10731 h 28614"/>
                  <a:gd name="connsiteX5" fmla="*/ 10737 w 28614"/>
                  <a:gd name="connsiteY5" fmla="*/ 18886 h 28614"/>
                  <a:gd name="connsiteX6" fmla="*/ 18463 w 28614"/>
                  <a:gd name="connsiteY6" fmla="*/ 2761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63" y="27613"/>
                    </a:moveTo>
                    <a:cubicBezTo>
                      <a:pt x="23150" y="27694"/>
                      <a:pt x="27034" y="24001"/>
                      <a:pt x="27190" y="19315"/>
                    </a:cubicBezTo>
                    <a:cubicBezTo>
                      <a:pt x="27348" y="14735"/>
                      <a:pt x="23764" y="10894"/>
                      <a:pt x="19182" y="10735"/>
                    </a:cubicBezTo>
                    <a:cubicBezTo>
                      <a:pt x="19086" y="10732"/>
                      <a:pt x="18989" y="10731"/>
                      <a:pt x="18892" y="10731"/>
                    </a:cubicBezTo>
                    <a:lnTo>
                      <a:pt x="18892" y="10731"/>
                    </a:lnTo>
                    <a:cubicBezTo>
                      <a:pt x="14388" y="10731"/>
                      <a:pt x="10737" y="14382"/>
                      <a:pt x="10737" y="18886"/>
                    </a:cubicBezTo>
                    <a:cubicBezTo>
                      <a:pt x="10568" y="23391"/>
                      <a:pt x="13970" y="27234"/>
                      <a:pt x="18463" y="2761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40" name="Freeform: Shape 439">
                <a:extLst>
                  <a:ext uri="{FF2B5EF4-FFF2-40B4-BE49-F238E27FC236}">
                    <a16:creationId xmlns:a16="http://schemas.microsoft.com/office/drawing/2014/main" id="{CD47287E-2D65-478C-86D3-0583CB709A20}"/>
                  </a:ext>
                </a:extLst>
              </p:cNvPr>
              <p:cNvSpPr/>
              <p:nvPr/>
            </p:nvSpPr>
            <p:spPr>
              <a:xfrm>
                <a:off x="5143712" y="5660508"/>
                <a:ext cx="28615" cy="28615"/>
              </a:xfrm>
              <a:custGeom>
                <a:avLst/>
                <a:gdLst>
                  <a:gd name="connsiteX0" fmla="*/ 20425 w 28614"/>
                  <a:gd name="connsiteY0" fmla="*/ 26622 h 28614"/>
                  <a:gd name="connsiteX1" fmla="*/ 27436 w 28614"/>
                  <a:gd name="connsiteY1" fmla="*/ 19611 h 28614"/>
                  <a:gd name="connsiteX2" fmla="*/ 19445 w 28614"/>
                  <a:gd name="connsiteY2" fmla="*/ 10742 h 28614"/>
                  <a:gd name="connsiteX3" fmla="*/ 10839 w 28614"/>
                  <a:gd name="connsiteY3" fmla="*/ 17036 h 28614"/>
                  <a:gd name="connsiteX4" fmla="*/ 10839 w 28614"/>
                  <a:gd name="connsiteY4" fmla="*/ 19611 h 28614"/>
                  <a:gd name="connsiteX5" fmla="*/ 20425 w 28614"/>
                  <a:gd name="connsiteY5" fmla="*/ 2662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425" y="26622"/>
                    </a:moveTo>
                    <a:cubicBezTo>
                      <a:pt x="24078" y="26137"/>
                      <a:pt x="26951" y="23264"/>
                      <a:pt x="27436" y="19611"/>
                    </a:cubicBezTo>
                    <a:cubicBezTo>
                      <a:pt x="27679" y="14956"/>
                      <a:pt x="24101" y="10984"/>
                      <a:pt x="19445" y="10742"/>
                    </a:cubicBezTo>
                    <a:cubicBezTo>
                      <a:pt x="15447" y="10533"/>
                      <a:pt x="11852" y="13163"/>
                      <a:pt x="10839" y="17036"/>
                    </a:cubicBezTo>
                    <a:cubicBezTo>
                      <a:pt x="10694" y="17889"/>
                      <a:pt x="10694" y="18759"/>
                      <a:pt x="10839" y="19611"/>
                    </a:cubicBezTo>
                    <a:cubicBezTo>
                      <a:pt x="11573" y="24181"/>
                      <a:pt x="15848" y="27307"/>
                      <a:pt x="20425" y="2662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41" name="Freeform: Shape 440">
                <a:extLst>
                  <a:ext uri="{FF2B5EF4-FFF2-40B4-BE49-F238E27FC236}">
                    <a16:creationId xmlns:a16="http://schemas.microsoft.com/office/drawing/2014/main" id="{34538DFD-C138-4CE4-B57D-1247974A228D}"/>
                  </a:ext>
                </a:extLst>
              </p:cNvPr>
              <p:cNvSpPr/>
              <p:nvPr/>
            </p:nvSpPr>
            <p:spPr>
              <a:xfrm>
                <a:off x="5614537" y="5555358"/>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42" name="Freeform: Shape 441">
                <a:extLst>
                  <a:ext uri="{FF2B5EF4-FFF2-40B4-BE49-F238E27FC236}">
                    <a16:creationId xmlns:a16="http://schemas.microsoft.com/office/drawing/2014/main" id="{302B2FCF-EC03-41B4-9C02-6DF461F8C90F}"/>
                  </a:ext>
                </a:extLst>
              </p:cNvPr>
              <p:cNvSpPr/>
              <p:nvPr/>
            </p:nvSpPr>
            <p:spPr>
              <a:xfrm>
                <a:off x="5144965" y="5610872"/>
                <a:ext cx="28615" cy="28615"/>
              </a:xfrm>
              <a:custGeom>
                <a:avLst/>
                <a:gdLst>
                  <a:gd name="connsiteX0" fmla="*/ 19029 w 28614"/>
                  <a:gd name="connsiteY0" fmla="*/ 10731 h 28614"/>
                  <a:gd name="connsiteX1" fmla="*/ 19029 w 28614"/>
                  <a:gd name="connsiteY1" fmla="*/ 10731 h 28614"/>
                  <a:gd name="connsiteX2" fmla="*/ 10731 w 28614"/>
                  <a:gd name="connsiteY2" fmla="*/ 19029 h 28614"/>
                  <a:gd name="connsiteX3" fmla="*/ 19029 w 28614"/>
                  <a:gd name="connsiteY3" fmla="*/ 27613 h 28614"/>
                  <a:gd name="connsiteX4" fmla="*/ 27470 w 28614"/>
                  <a:gd name="connsiteY4" fmla="*/ 19172 h 28614"/>
                  <a:gd name="connsiteX5" fmla="*/ 1902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29" y="10731"/>
                    </a:moveTo>
                    <a:lnTo>
                      <a:pt x="19029" y="10731"/>
                    </a:lnTo>
                    <a:cubicBezTo>
                      <a:pt x="14446" y="10731"/>
                      <a:pt x="10731" y="14446"/>
                      <a:pt x="10731" y="19029"/>
                    </a:cubicBezTo>
                    <a:cubicBezTo>
                      <a:pt x="10728" y="23660"/>
                      <a:pt x="14400" y="27459"/>
                      <a:pt x="19029" y="27613"/>
                    </a:cubicBezTo>
                    <a:cubicBezTo>
                      <a:pt x="23690" y="27613"/>
                      <a:pt x="27470" y="23833"/>
                      <a:pt x="27470" y="19172"/>
                    </a:cubicBezTo>
                    <a:cubicBezTo>
                      <a:pt x="27470" y="14511"/>
                      <a:pt x="23690" y="10731"/>
                      <a:pt x="19029"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43" name="Freeform: Shape 442">
                <a:extLst>
                  <a:ext uri="{FF2B5EF4-FFF2-40B4-BE49-F238E27FC236}">
                    <a16:creationId xmlns:a16="http://schemas.microsoft.com/office/drawing/2014/main" id="{8F2AAC64-0B99-4EFC-8A05-6DD743A9ADEA}"/>
                  </a:ext>
                </a:extLst>
              </p:cNvPr>
              <p:cNvSpPr/>
              <p:nvPr/>
            </p:nvSpPr>
            <p:spPr>
              <a:xfrm>
                <a:off x="5065845" y="5511291"/>
                <a:ext cx="28615" cy="28615"/>
              </a:xfrm>
              <a:custGeom>
                <a:avLst/>
                <a:gdLst>
                  <a:gd name="connsiteX0" fmla="*/ 18171 w 28614"/>
                  <a:gd name="connsiteY0" fmla="*/ 25325 h 28614"/>
                  <a:gd name="connsiteX1" fmla="*/ 27368 w 28614"/>
                  <a:gd name="connsiteY1" fmla="*/ 20214 h 28614"/>
                  <a:gd name="connsiteX2" fmla="*/ 22258 w 28614"/>
                  <a:gd name="connsiteY2" fmla="*/ 11017 h 28614"/>
                  <a:gd name="connsiteX3" fmla="*/ 18171 w 28614"/>
                  <a:gd name="connsiteY3" fmla="*/ 11017 h 28614"/>
                  <a:gd name="connsiteX4" fmla="*/ 18171 w 28614"/>
                  <a:gd name="connsiteY4" fmla="*/ 11017 h 28614"/>
                  <a:gd name="connsiteX5" fmla="*/ 10732 w 28614"/>
                  <a:gd name="connsiteY5" fmla="*/ 18169 h 28614"/>
                  <a:gd name="connsiteX6" fmla="*/ 10731 w 28614"/>
                  <a:gd name="connsiteY6" fmla="*/ 18314 h 28614"/>
                  <a:gd name="connsiteX7" fmla="*/ 18171 w 28614"/>
                  <a:gd name="connsiteY7"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8171" y="25325"/>
                    </a:moveTo>
                    <a:cubicBezTo>
                      <a:pt x="22121" y="26453"/>
                      <a:pt x="26239" y="24166"/>
                      <a:pt x="27368" y="20214"/>
                    </a:cubicBezTo>
                    <a:cubicBezTo>
                      <a:pt x="28496" y="16264"/>
                      <a:pt x="26208" y="12146"/>
                      <a:pt x="22258" y="11017"/>
                    </a:cubicBezTo>
                    <a:cubicBezTo>
                      <a:pt x="20922" y="10635"/>
                      <a:pt x="19506" y="10635"/>
                      <a:pt x="18171" y="11017"/>
                    </a:cubicBezTo>
                    <a:lnTo>
                      <a:pt x="18171" y="11017"/>
                    </a:lnTo>
                    <a:cubicBezTo>
                      <a:pt x="14141" y="10938"/>
                      <a:pt x="10811" y="14140"/>
                      <a:pt x="10732" y="18169"/>
                    </a:cubicBezTo>
                    <a:cubicBezTo>
                      <a:pt x="10731" y="18218"/>
                      <a:pt x="10731" y="18265"/>
                      <a:pt x="10731" y="18314"/>
                    </a:cubicBezTo>
                    <a:cubicBezTo>
                      <a:pt x="10958" y="22254"/>
                      <a:pt x="14223" y="25332"/>
                      <a:pt x="18171" y="2532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44" name="Freeform: Shape 443">
                <a:extLst>
                  <a:ext uri="{FF2B5EF4-FFF2-40B4-BE49-F238E27FC236}">
                    <a16:creationId xmlns:a16="http://schemas.microsoft.com/office/drawing/2014/main" id="{34EF2106-DAE8-42DC-B5A1-D626E104D6EA}"/>
                  </a:ext>
                </a:extLst>
              </p:cNvPr>
              <p:cNvSpPr/>
              <p:nvPr/>
            </p:nvSpPr>
            <p:spPr>
              <a:xfrm>
                <a:off x="5065845" y="5760385"/>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45" name="Freeform: Shape 444">
                <a:extLst>
                  <a:ext uri="{FF2B5EF4-FFF2-40B4-BE49-F238E27FC236}">
                    <a16:creationId xmlns:a16="http://schemas.microsoft.com/office/drawing/2014/main" id="{314E4A36-15E7-4802-98C2-1C151FA9397D}"/>
                  </a:ext>
                </a:extLst>
              </p:cNvPr>
              <p:cNvSpPr/>
              <p:nvPr/>
            </p:nvSpPr>
            <p:spPr>
              <a:xfrm>
                <a:off x="5300774" y="5570667"/>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cubicBezTo>
                      <a:pt x="10731" y="10731"/>
                      <a:pt x="10731" y="10731"/>
                      <a:pt x="10731"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46" name="Freeform: Shape 445">
                <a:extLst>
                  <a:ext uri="{FF2B5EF4-FFF2-40B4-BE49-F238E27FC236}">
                    <a16:creationId xmlns:a16="http://schemas.microsoft.com/office/drawing/2014/main" id="{2D8291C7-061F-429A-B77E-296385AB740D}"/>
                  </a:ext>
                </a:extLst>
              </p:cNvPr>
              <p:cNvSpPr/>
              <p:nvPr/>
            </p:nvSpPr>
            <p:spPr>
              <a:xfrm>
                <a:off x="5379604" y="5707875"/>
                <a:ext cx="42922" cy="42922"/>
              </a:xfrm>
              <a:custGeom>
                <a:avLst/>
                <a:gdLst>
                  <a:gd name="connsiteX0" fmla="*/ 21608 w 42922"/>
                  <a:gd name="connsiteY0" fmla="*/ 33480 h 42922"/>
                  <a:gd name="connsiteX1" fmla="*/ 33197 w 42922"/>
                  <a:gd name="connsiteY1" fmla="*/ 22321 h 42922"/>
                  <a:gd name="connsiteX2" fmla="*/ 22185 w 42922"/>
                  <a:gd name="connsiteY2" fmla="*/ 10734 h 42922"/>
                  <a:gd name="connsiteX3" fmla="*/ 22037 w 42922"/>
                  <a:gd name="connsiteY3" fmla="*/ 10732 h 42922"/>
                  <a:gd name="connsiteX4" fmla="*/ 22037 w 42922"/>
                  <a:gd name="connsiteY4" fmla="*/ 10732 h 42922"/>
                  <a:gd name="connsiteX5" fmla="*/ 10736 w 42922"/>
                  <a:gd name="connsiteY5" fmla="*/ 21747 h 42922"/>
                  <a:gd name="connsiteX6" fmla="*/ 10735 w 42922"/>
                  <a:gd name="connsiteY6" fmla="*/ 21891 h 42922"/>
                  <a:gd name="connsiteX7" fmla="*/ 21608 w 42922"/>
                  <a:gd name="connsiteY7" fmla="*/ 334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1608" y="33480"/>
                    </a:moveTo>
                    <a:cubicBezTo>
                      <a:pt x="27875" y="33561"/>
                      <a:pt x="33041" y="28586"/>
                      <a:pt x="33197" y="22321"/>
                    </a:cubicBezTo>
                    <a:cubicBezTo>
                      <a:pt x="33356" y="16080"/>
                      <a:pt x="28426" y="10893"/>
                      <a:pt x="22185" y="10734"/>
                    </a:cubicBezTo>
                    <a:cubicBezTo>
                      <a:pt x="22136" y="10733"/>
                      <a:pt x="22086" y="10732"/>
                      <a:pt x="22037" y="10732"/>
                    </a:cubicBezTo>
                    <a:lnTo>
                      <a:pt x="22037" y="10732"/>
                    </a:lnTo>
                    <a:cubicBezTo>
                      <a:pt x="15875" y="10653"/>
                      <a:pt x="10815" y="15585"/>
                      <a:pt x="10736" y="21747"/>
                    </a:cubicBezTo>
                    <a:cubicBezTo>
                      <a:pt x="10735" y="21796"/>
                      <a:pt x="10735" y="21843"/>
                      <a:pt x="10735" y="21891"/>
                    </a:cubicBezTo>
                    <a:cubicBezTo>
                      <a:pt x="10573" y="28081"/>
                      <a:pt x="15422" y="33247"/>
                      <a:pt x="21608" y="3348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47" name="Freeform: Shape 446">
                <a:extLst>
                  <a:ext uri="{FF2B5EF4-FFF2-40B4-BE49-F238E27FC236}">
                    <a16:creationId xmlns:a16="http://schemas.microsoft.com/office/drawing/2014/main" id="{3FD1F9BA-51A1-4B01-B632-C02D58141BEC}"/>
                  </a:ext>
                </a:extLst>
              </p:cNvPr>
              <p:cNvSpPr/>
              <p:nvPr/>
            </p:nvSpPr>
            <p:spPr>
              <a:xfrm>
                <a:off x="5379780" y="5758984"/>
                <a:ext cx="42922" cy="42922"/>
              </a:xfrm>
              <a:custGeom>
                <a:avLst/>
                <a:gdLst>
                  <a:gd name="connsiteX0" fmla="*/ 20574 w 42922"/>
                  <a:gd name="connsiteY0" fmla="*/ 10843 h 42922"/>
                  <a:gd name="connsiteX1" fmla="*/ 10845 w 42922"/>
                  <a:gd name="connsiteY1" fmla="*/ 20572 h 42922"/>
                  <a:gd name="connsiteX2" fmla="*/ 20574 w 42922"/>
                  <a:gd name="connsiteY2" fmla="*/ 33509 h 42922"/>
                  <a:gd name="connsiteX3" fmla="*/ 33511 w 42922"/>
                  <a:gd name="connsiteY3" fmla="*/ 23780 h 42922"/>
                  <a:gd name="connsiteX4" fmla="*/ 23782 w 42922"/>
                  <a:gd name="connsiteY4" fmla="*/ 10843 h 42922"/>
                  <a:gd name="connsiteX5" fmla="*/ 20574 w 42922"/>
                  <a:gd name="connsiteY5" fmla="*/ 1084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74" y="10843"/>
                    </a:moveTo>
                    <a:cubicBezTo>
                      <a:pt x="15526" y="11557"/>
                      <a:pt x="11559" y="15525"/>
                      <a:pt x="10845" y="20572"/>
                    </a:cubicBezTo>
                    <a:cubicBezTo>
                      <a:pt x="9959" y="26832"/>
                      <a:pt x="14314" y="32624"/>
                      <a:pt x="20574" y="33509"/>
                    </a:cubicBezTo>
                    <a:cubicBezTo>
                      <a:pt x="26834" y="34395"/>
                      <a:pt x="32625" y="30040"/>
                      <a:pt x="33511" y="23780"/>
                    </a:cubicBezTo>
                    <a:cubicBezTo>
                      <a:pt x="34396" y="17521"/>
                      <a:pt x="30041" y="11729"/>
                      <a:pt x="23782" y="10843"/>
                    </a:cubicBezTo>
                    <a:cubicBezTo>
                      <a:pt x="22717" y="10693"/>
                      <a:pt x="21638" y="10693"/>
                      <a:pt x="20574" y="1084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48" name="Freeform: Shape 447">
                <a:extLst>
                  <a:ext uri="{FF2B5EF4-FFF2-40B4-BE49-F238E27FC236}">
                    <a16:creationId xmlns:a16="http://schemas.microsoft.com/office/drawing/2014/main" id="{78CE876B-05BB-47B0-BC51-60F3CB66D3C6}"/>
                  </a:ext>
                </a:extLst>
              </p:cNvPr>
              <p:cNvSpPr/>
              <p:nvPr/>
            </p:nvSpPr>
            <p:spPr>
              <a:xfrm>
                <a:off x="5300917" y="5560079"/>
                <a:ext cx="42922" cy="28615"/>
              </a:xfrm>
              <a:custGeom>
                <a:avLst/>
                <a:gdLst>
                  <a:gd name="connsiteX0" fmla="*/ 26469 w 42922"/>
                  <a:gd name="connsiteY0" fmla="*/ 11161 h 28614"/>
                  <a:gd name="connsiteX1" fmla="*/ 20746 w 42922"/>
                  <a:gd name="connsiteY1" fmla="*/ 11161 h 28614"/>
                  <a:gd name="connsiteX2" fmla="*/ 10731 w 42922"/>
                  <a:gd name="connsiteY2" fmla="*/ 20890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25" y="11158"/>
                      <a:pt x="10885" y="15470"/>
                      <a:pt x="10731" y="20890"/>
                    </a:cubicBezTo>
                    <a:cubicBezTo>
                      <a:pt x="10884" y="26333"/>
                      <a:pt x="15300" y="30688"/>
                      <a:pt x="20746" y="30762"/>
                    </a:cubicBezTo>
                    <a:cubicBezTo>
                      <a:pt x="26158" y="32343"/>
                      <a:pt x="31827" y="29236"/>
                      <a:pt x="33408" y="23823"/>
                    </a:cubicBezTo>
                    <a:cubicBezTo>
                      <a:pt x="34989" y="18411"/>
                      <a:pt x="31881" y="12742"/>
                      <a:pt x="26469" y="1116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49" name="Freeform: Shape 448">
                <a:extLst>
                  <a:ext uri="{FF2B5EF4-FFF2-40B4-BE49-F238E27FC236}">
                    <a16:creationId xmlns:a16="http://schemas.microsoft.com/office/drawing/2014/main" id="{6CDDD264-DA56-4790-BDE4-674ED95F78A5}"/>
                  </a:ext>
                </a:extLst>
              </p:cNvPr>
              <p:cNvSpPr/>
              <p:nvPr/>
            </p:nvSpPr>
            <p:spPr>
              <a:xfrm>
                <a:off x="5379274" y="5656607"/>
                <a:ext cx="42922" cy="42922"/>
              </a:xfrm>
              <a:custGeom>
                <a:avLst/>
                <a:gdLst>
                  <a:gd name="connsiteX0" fmla="*/ 23512 w 42922"/>
                  <a:gd name="connsiteY0" fmla="*/ 33241 h 42922"/>
                  <a:gd name="connsiteX1" fmla="*/ 33241 w 42922"/>
                  <a:gd name="connsiteY1" fmla="*/ 23512 h 42922"/>
                  <a:gd name="connsiteX2" fmla="*/ 23512 w 42922"/>
                  <a:gd name="connsiteY2" fmla="*/ 10829 h 42922"/>
                  <a:gd name="connsiteX3" fmla="*/ 10829 w 42922"/>
                  <a:gd name="connsiteY3" fmla="*/ 20558 h 42922"/>
                  <a:gd name="connsiteX4" fmla="*/ 20558 w 42922"/>
                  <a:gd name="connsiteY4" fmla="*/ 33241 h 42922"/>
                  <a:gd name="connsiteX5" fmla="*/ 23512 w 42922"/>
                  <a:gd name="connsiteY5" fmla="*/ 3324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512" y="33241"/>
                    </a:moveTo>
                    <a:cubicBezTo>
                      <a:pt x="28607" y="32621"/>
                      <a:pt x="32620" y="28607"/>
                      <a:pt x="33241" y="23512"/>
                    </a:cubicBezTo>
                    <a:cubicBezTo>
                      <a:pt x="34057" y="17323"/>
                      <a:pt x="29702" y="11646"/>
                      <a:pt x="23512" y="10829"/>
                    </a:cubicBezTo>
                    <a:cubicBezTo>
                      <a:pt x="17323" y="10013"/>
                      <a:pt x="11646" y="14370"/>
                      <a:pt x="10829" y="20558"/>
                    </a:cubicBezTo>
                    <a:cubicBezTo>
                      <a:pt x="10013" y="26747"/>
                      <a:pt x="14370" y="32426"/>
                      <a:pt x="20558" y="33241"/>
                    </a:cubicBezTo>
                    <a:cubicBezTo>
                      <a:pt x="21539" y="33370"/>
                      <a:pt x="22532" y="33370"/>
                      <a:pt x="23512" y="3324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50" name="Freeform: Shape 449">
                <a:extLst>
                  <a:ext uri="{FF2B5EF4-FFF2-40B4-BE49-F238E27FC236}">
                    <a16:creationId xmlns:a16="http://schemas.microsoft.com/office/drawing/2014/main" id="{84489584-AC37-4A49-9FA4-CFFB72A258B2}"/>
                  </a:ext>
                </a:extLst>
              </p:cNvPr>
              <p:cNvSpPr/>
              <p:nvPr/>
            </p:nvSpPr>
            <p:spPr>
              <a:xfrm>
                <a:off x="5379893" y="5508375"/>
                <a:ext cx="42922" cy="42922"/>
              </a:xfrm>
              <a:custGeom>
                <a:avLst/>
                <a:gdLst>
                  <a:gd name="connsiteX0" fmla="*/ 22178 w 42922"/>
                  <a:gd name="connsiteY0" fmla="*/ 10786 h 42922"/>
                  <a:gd name="connsiteX1" fmla="*/ 22178 w 42922"/>
                  <a:gd name="connsiteY1" fmla="*/ 10786 h 42922"/>
                  <a:gd name="connsiteX2" fmla="*/ 10732 w 42922"/>
                  <a:gd name="connsiteY2" fmla="*/ 22089 h 42922"/>
                  <a:gd name="connsiteX3" fmla="*/ 21890 w 42922"/>
                  <a:gd name="connsiteY3" fmla="*/ 33535 h 42922"/>
                  <a:gd name="connsiteX4" fmla="*/ 21891 w 42922"/>
                  <a:gd name="connsiteY4" fmla="*/ 33535 h 42922"/>
                  <a:gd name="connsiteX5" fmla="*/ 34662 w 42922"/>
                  <a:gd name="connsiteY5" fmla="*/ 23590 h 42922"/>
                  <a:gd name="connsiteX6" fmla="*/ 24717 w 42922"/>
                  <a:gd name="connsiteY6" fmla="*/ 10817 h 42922"/>
                  <a:gd name="connsiteX7" fmla="*/ 22178 w 42922"/>
                  <a:gd name="connsiteY7" fmla="*/ 1078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2178" y="10786"/>
                    </a:moveTo>
                    <a:lnTo>
                      <a:pt x="22178" y="10786"/>
                    </a:lnTo>
                    <a:cubicBezTo>
                      <a:pt x="15911" y="10786"/>
                      <a:pt x="10810" y="15824"/>
                      <a:pt x="10732" y="22089"/>
                    </a:cubicBezTo>
                    <a:cubicBezTo>
                      <a:pt x="10651" y="28331"/>
                      <a:pt x="15648" y="33455"/>
                      <a:pt x="21890" y="33535"/>
                    </a:cubicBezTo>
                    <a:cubicBezTo>
                      <a:pt x="21890" y="33535"/>
                      <a:pt x="21891" y="33535"/>
                      <a:pt x="21891" y="33535"/>
                    </a:cubicBezTo>
                    <a:cubicBezTo>
                      <a:pt x="28164" y="34315"/>
                      <a:pt x="33882" y="29862"/>
                      <a:pt x="34662" y="23590"/>
                    </a:cubicBezTo>
                    <a:cubicBezTo>
                      <a:pt x="35442" y="17316"/>
                      <a:pt x="30990" y="11599"/>
                      <a:pt x="24717" y="10817"/>
                    </a:cubicBezTo>
                    <a:cubicBezTo>
                      <a:pt x="23874" y="10713"/>
                      <a:pt x="23023" y="10703"/>
                      <a:pt x="22178" y="1078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51" name="Freeform: Shape 450">
                <a:extLst>
                  <a:ext uri="{FF2B5EF4-FFF2-40B4-BE49-F238E27FC236}">
                    <a16:creationId xmlns:a16="http://schemas.microsoft.com/office/drawing/2014/main" id="{F23CA988-E800-4F6E-893D-3512A7B10240}"/>
                  </a:ext>
                </a:extLst>
              </p:cNvPr>
              <p:cNvSpPr/>
              <p:nvPr/>
            </p:nvSpPr>
            <p:spPr>
              <a:xfrm>
                <a:off x="5381171" y="5608579"/>
                <a:ext cx="42922" cy="42922"/>
              </a:xfrm>
              <a:custGeom>
                <a:avLst/>
                <a:gdLst>
                  <a:gd name="connsiteX0" fmla="*/ 20900 w 42922"/>
                  <a:gd name="connsiteY0" fmla="*/ 10734 h 42922"/>
                  <a:gd name="connsiteX1" fmla="*/ 20900 w 42922"/>
                  <a:gd name="connsiteY1" fmla="*/ 10734 h 42922"/>
                  <a:gd name="connsiteX2" fmla="*/ 10803 w 42922"/>
                  <a:gd name="connsiteY2" fmla="*/ 23386 h 42922"/>
                  <a:gd name="connsiteX3" fmla="*/ 20900 w 42922"/>
                  <a:gd name="connsiteY3" fmla="*/ 33483 h 42922"/>
                  <a:gd name="connsiteX4" fmla="*/ 32489 w 42922"/>
                  <a:gd name="connsiteY4" fmla="*/ 22180 h 42922"/>
                  <a:gd name="connsiteX5" fmla="*/ 21333 w 42922"/>
                  <a:gd name="connsiteY5" fmla="*/ 10731 h 42922"/>
                  <a:gd name="connsiteX6" fmla="*/ 20900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0900" y="10734"/>
                    </a:moveTo>
                    <a:lnTo>
                      <a:pt x="20900" y="10734"/>
                    </a:lnTo>
                    <a:cubicBezTo>
                      <a:pt x="14617" y="11440"/>
                      <a:pt x="10098" y="17104"/>
                      <a:pt x="10803" y="23386"/>
                    </a:cubicBezTo>
                    <a:cubicBezTo>
                      <a:pt x="11400" y="28696"/>
                      <a:pt x="15590" y="32887"/>
                      <a:pt x="20900" y="33483"/>
                    </a:cubicBezTo>
                    <a:cubicBezTo>
                      <a:pt x="27191" y="33485"/>
                      <a:pt x="32333" y="28468"/>
                      <a:pt x="32489" y="22180"/>
                    </a:cubicBezTo>
                    <a:cubicBezTo>
                      <a:pt x="32571" y="15938"/>
                      <a:pt x="27576" y="10813"/>
                      <a:pt x="21333" y="10731"/>
                    </a:cubicBezTo>
                    <a:cubicBezTo>
                      <a:pt x="21189" y="10730"/>
                      <a:pt x="21044" y="10730"/>
                      <a:pt x="20900" y="1073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52" name="Freeform: Shape 451">
                <a:extLst>
                  <a:ext uri="{FF2B5EF4-FFF2-40B4-BE49-F238E27FC236}">
                    <a16:creationId xmlns:a16="http://schemas.microsoft.com/office/drawing/2014/main" id="{A91931B2-02C0-46C1-8DA7-CC3A2BBA3CA9}"/>
                  </a:ext>
                </a:extLst>
              </p:cNvPr>
              <p:cNvSpPr/>
              <p:nvPr/>
            </p:nvSpPr>
            <p:spPr>
              <a:xfrm>
                <a:off x="5379322" y="5560311"/>
                <a:ext cx="28615" cy="28615"/>
              </a:xfrm>
              <a:custGeom>
                <a:avLst/>
                <a:gdLst>
                  <a:gd name="connsiteX0" fmla="*/ 23464 w 28614"/>
                  <a:gd name="connsiteY0" fmla="*/ 30387 h 28614"/>
                  <a:gd name="connsiteX1" fmla="*/ 30382 w 28614"/>
                  <a:gd name="connsiteY1" fmla="*/ 18027 h 28614"/>
                  <a:gd name="connsiteX2" fmla="*/ 18022 w 28614"/>
                  <a:gd name="connsiteY2" fmla="*/ 11110 h 28614"/>
                  <a:gd name="connsiteX3" fmla="*/ 10731 w 28614"/>
                  <a:gd name="connsiteY3" fmla="*/ 20515 h 28614"/>
                  <a:gd name="connsiteX4" fmla="*/ 23284 w 28614"/>
                  <a:gd name="connsiteY4" fmla="*/ 30410 h 28614"/>
                  <a:gd name="connsiteX5" fmla="*/ 23464 w 28614"/>
                  <a:gd name="connsiteY5" fmla="*/ 3038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464" y="30387"/>
                    </a:moveTo>
                    <a:cubicBezTo>
                      <a:pt x="28788" y="28884"/>
                      <a:pt x="31884" y="23350"/>
                      <a:pt x="30382" y="18027"/>
                    </a:cubicBezTo>
                    <a:cubicBezTo>
                      <a:pt x="28878" y="12704"/>
                      <a:pt x="23346" y="9607"/>
                      <a:pt x="18022" y="11110"/>
                    </a:cubicBezTo>
                    <a:cubicBezTo>
                      <a:pt x="13791" y="12305"/>
                      <a:pt x="10834" y="16119"/>
                      <a:pt x="10731" y="20515"/>
                    </a:cubicBezTo>
                    <a:cubicBezTo>
                      <a:pt x="11465" y="26714"/>
                      <a:pt x="17086" y="31144"/>
                      <a:pt x="23284" y="30410"/>
                    </a:cubicBezTo>
                    <a:cubicBezTo>
                      <a:pt x="23344" y="30402"/>
                      <a:pt x="23404" y="30395"/>
                      <a:pt x="23464" y="3038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53" name="Freeform: Shape 452">
                <a:extLst>
                  <a:ext uri="{FF2B5EF4-FFF2-40B4-BE49-F238E27FC236}">
                    <a16:creationId xmlns:a16="http://schemas.microsoft.com/office/drawing/2014/main" id="{47943539-6B7F-4F7C-AA82-839C61C809DF}"/>
                  </a:ext>
                </a:extLst>
              </p:cNvPr>
              <p:cNvSpPr/>
              <p:nvPr/>
            </p:nvSpPr>
            <p:spPr>
              <a:xfrm>
                <a:off x="5300774" y="5658945"/>
                <a:ext cx="28615" cy="28615"/>
              </a:xfrm>
              <a:custGeom>
                <a:avLst/>
                <a:gdLst>
                  <a:gd name="connsiteX0" fmla="*/ 10731 w 28614"/>
                  <a:gd name="connsiteY0" fmla="*/ 21175 h 28614"/>
                  <a:gd name="connsiteX1" fmla="*/ 21032 w 28614"/>
                  <a:gd name="connsiteY1" fmla="*/ 31476 h 28614"/>
                  <a:gd name="connsiteX2" fmla="*/ 31333 w 28614"/>
                  <a:gd name="connsiteY2" fmla="*/ 21175 h 28614"/>
                  <a:gd name="connsiteX3" fmla="*/ 31333 w 28614"/>
                  <a:gd name="connsiteY3" fmla="*/ 21175 h 28614"/>
                  <a:gd name="connsiteX4" fmla="*/ 20889 w 28614"/>
                  <a:gd name="connsiteY4" fmla="*/ 10731 h 28614"/>
                  <a:gd name="connsiteX5" fmla="*/ 10731 w 28614"/>
                  <a:gd name="connsiteY5" fmla="*/ 2088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731" y="21175"/>
                    </a:moveTo>
                    <a:cubicBezTo>
                      <a:pt x="10731" y="26864"/>
                      <a:pt x="15343" y="31476"/>
                      <a:pt x="21032" y="31476"/>
                    </a:cubicBezTo>
                    <a:cubicBezTo>
                      <a:pt x="26721" y="31476"/>
                      <a:pt x="31333" y="26864"/>
                      <a:pt x="31333" y="21175"/>
                    </a:cubicBezTo>
                    <a:lnTo>
                      <a:pt x="31333" y="21175"/>
                    </a:lnTo>
                    <a:cubicBezTo>
                      <a:pt x="31333" y="15406"/>
                      <a:pt x="26658" y="10731"/>
                      <a:pt x="20889" y="10731"/>
                    </a:cubicBezTo>
                    <a:cubicBezTo>
                      <a:pt x="15279" y="10731"/>
                      <a:pt x="10731" y="15279"/>
                      <a:pt x="10731" y="2088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54" name="Freeform: Shape 453">
                <a:extLst>
                  <a:ext uri="{FF2B5EF4-FFF2-40B4-BE49-F238E27FC236}">
                    <a16:creationId xmlns:a16="http://schemas.microsoft.com/office/drawing/2014/main" id="{E327FCEC-0096-466F-8AE5-F158F736E5F4}"/>
                  </a:ext>
                </a:extLst>
              </p:cNvPr>
              <p:cNvSpPr/>
              <p:nvPr/>
            </p:nvSpPr>
            <p:spPr>
              <a:xfrm>
                <a:off x="5144965" y="5510004"/>
                <a:ext cx="28615" cy="28615"/>
              </a:xfrm>
              <a:custGeom>
                <a:avLst/>
                <a:gdLst>
                  <a:gd name="connsiteX0" fmla="*/ 19029 w 28614"/>
                  <a:gd name="connsiteY0" fmla="*/ 10731 h 28614"/>
                  <a:gd name="connsiteX1" fmla="*/ 19029 w 28614"/>
                  <a:gd name="connsiteY1" fmla="*/ 10731 h 28614"/>
                  <a:gd name="connsiteX2" fmla="*/ 10731 w 28614"/>
                  <a:gd name="connsiteY2" fmla="*/ 19029 h 28614"/>
                  <a:gd name="connsiteX3" fmla="*/ 19029 w 28614"/>
                  <a:gd name="connsiteY3" fmla="*/ 27613 h 28614"/>
                  <a:gd name="connsiteX4" fmla="*/ 27470 w 28614"/>
                  <a:gd name="connsiteY4" fmla="*/ 19172 h 28614"/>
                  <a:gd name="connsiteX5" fmla="*/ 1902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29" y="10731"/>
                    </a:moveTo>
                    <a:lnTo>
                      <a:pt x="19029" y="10731"/>
                    </a:lnTo>
                    <a:cubicBezTo>
                      <a:pt x="14446" y="10731"/>
                      <a:pt x="10731" y="14446"/>
                      <a:pt x="10731" y="19029"/>
                    </a:cubicBezTo>
                    <a:cubicBezTo>
                      <a:pt x="10728" y="23660"/>
                      <a:pt x="14400" y="27459"/>
                      <a:pt x="19029" y="27613"/>
                    </a:cubicBezTo>
                    <a:cubicBezTo>
                      <a:pt x="23690" y="27613"/>
                      <a:pt x="27470" y="23833"/>
                      <a:pt x="27470" y="19172"/>
                    </a:cubicBezTo>
                    <a:cubicBezTo>
                      <a:pt x="27470" y="14511"/>
                      <a:pt x="23690" y="10731"/>
                      <a:pt x="19029"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55" name="Freeform: Shape 454">
                <a:extLst>
                  <a:ext uri="{FF2B5EF4-FFF2-40B4-BE49-F238E27FC236}">
                    <a16:creationId xmlns:a16="http://schemas.microsoft.com/office/drawing/2014/main" id="{E0362B7D-AB4C-44BC-AFB9-D76F44280C7C}"/>
                  </a:ext>
                </a:extLst>
              </p:cNvPr>
              <p:cNvSpPr/>
              <p:nvPr/>
            </p:nvSpPr>
            <p:spPr>
              <a:xfrm>
                <a:off x="5300917" y="5709163"/>
                <a:ext cx="42922" cy="28615"/>
              </a:xfrm>
              <a:custGeom>
                <a:avLst/>
                <a:gdLst>
                  <a:gd name="connsiteX0" fmla="*/ 26469 w 42922"/>
                  <a:gd name="connsiteY0" fmla="*/ 11161 h 28614"/>
                  <a:gd name="connsiteX1" fmla="*/ 20746 w 42922"/>
                  <a:gd name="connsiteY1" fmla="*/ 11161 h 28614"/>
                  <a:gd name="connsiteX2" fmla="*/ 10731 w 42922"/>
                  <a:gd name="connsiteY2" fmla="*/ 21033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00" y="11235"/>
                      <a:pt x="10884" y="15590"/>
                      <a:pt x="10731" y="21033"/>
                    </a:cubicBezTo>
                    <a:cubicBezTo>
                      <a:pt x="10885" y="26453"/>
                      <a:pt x="15325" y="30765"/>
                      <a:pt x="20746" y="30762"/>
                    </a:cubicBezTo>
                    <a:cubicBezTo>
                      <a:pt x="26158" y="32343"/>
                      <a:pt x="31827" y="29236"/>
                      <a:pt x="33408" y="23823"/>
                    </a:cubicBezTo>
                    <a:cubicBezTo>
                      <a:pt x="34989" y="18410"/>
                      <a:pt x="31881" y="12742"/>
                      <a:pt x="26469" y="1116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56" name="Freeform: Shape 455">
                <a:extLst>
                  <a:ext uri="{FF2B5EF4-FFF2-40B4-BE49-F238E27FC236}">
                    <a16:creationId xmlns:a16="http://schemas.microsoft.com/office/drawing/2014/main" id="{09943549-37C6-435B-92A2-289251FB5BB8}"/>
                  </a:ext>
                </a:extLst>
              </p:cNvPr>
              <p:cNvSpPr/>
              <p:nvPr/>
            </p:nvSpPr>
            <p:spPr>
              <a:xfrm>
                <a:off x="5301485" y="5608868"/>
                <a:ext cx="28615" cy="28615"/>
              </a:xfrm>
              <a:custGeom>
                <a:avLst/>
                <a:gdLst>
                  <a:gd name="connsiteX0" fmla="*/ 20750 w 28614"/>
                  <a:gd name="connsiteY0" fmla="*/ 31333 h 28614"/>
                  <a:gd name="connsiteX1" fmla="*/ 20750 w 28614"/>
                  <a:gd name="connsiteY1" fmla="*/ 31333 h 28614"/>
                  <a:gd name="connsiteX2" fmla="*/ 31194 w 28614"/>
                  <a:gd name="connsiteY2" fmla="*/ 21032 h 28614"/>
                  <a:gd name="connsiteX3" fmla="*/ 20893 w 28614"/>
                  <a:gd name="connsiteY3" fmla="*/ 10731 h 28614"/>
                  <a:gd name="connsiteX4" fmla="*/ 20893 w 28614"/>
                  <a:gd name="connsiteY4" fmla="*/ 10731 h 28614"/>
                  <a:gd name="connsiteX5" fmla="*/ 10733 w 28614"/>
                  <a:gd name="connsiteY5" fmla="*/ 20887 h 28614"/>
                  <a:gd name="connsiteX6" fmla="*/ 10735 w 28614"/>
                  <a:gd name="connsiteY6" fmla="*/ 21032 h 28614"/>
                  <a:gd name="connsiteX7" fmla="*/ 20460 w 28614"/>
                  <a:gd name="connsiteY7" fmla="*/ 31329 h 28614"/>
                  <a:gd name="connsiteX8" fmla="*/ 20750 w 28614"/>
                  <a:gd name="connsiteY8"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750" y="31333"/>
                    </a:moveTo>
                    <a:lnTo>
                      <a:pt x="20750" y="31333"/>
                    </a:lnTo>
                    <a:cubicBezTo>
                      <a:pt x="26463" y="31333"/>
                      <a:pt x="31116" y="26745"/>
                      <a:pt x="31194" y="21032"/>
                    </a:cubicBezTo>
                    <a:cubicBezTo>
                      <a:pt x="31194" y="15343"/>
                      <a:pt x="26582" y="10731"/>
                      <a:pt x="20893" y="10731"/>
                    </a:cubicBezTo>
                    <a:lnTo>
                      <a:pt x="20893" y="10731"/>
                    </a:lnTo>
                    <a:cubicBezTo>
                      <a:pt x="15283" y="10731"/>
                      <a:pt x="10735" y="15278"/>
                      <a:pt x="10733" y="20887"/>
                    </a:cubicBezTo>
                    <a:cubicBezTo>
                      <a:pt x="10733" y="20936"/>
                      <a:pt x="10735" y="20983"/>
                      <a:pt x="10735" y="21032"/>
                    </a:cubicBezTo>
                    <a:cubicBezTo>
                      <a:pt x="10577" y="26560"/>
                      <a:pt x="14931" y="31172"/>
                      <a:pt x="20460" y="31329"/>
                    </a:cubicBezTo>
                    <a:cubicBezTo>
                      <a:pt x="20557" y="31332"/>
                      <a:pt x="20653" y="31333"/>
                      <a:pt x="20750" y="3133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57" name="Freeform: Shape 456">
                <a:extLst>
                  <a:ext uri="{FF2B5EF4-FFF2-40B4-BE49-F238E27FC236}">
                    <a16:creationId xmlns:a16="http://schemas.microsoft.com/office/drawing/2014/main" id="{9C5AD7B5-D649-442E-B1C7-7B566B40D77A}"/>
                  </a:ext>
                </a:extLst>
              </p:cNvPr>
              <p:cNvSpPr/>
              <p:nvPr/>
            </p:nvSpPr>
            <p:spPr>
              <a:xfrm>
                <a:off x="5223080" y="5508430"/>
                <a:ext cx="28615" cy="28615"/>
              </a:xfrm>
              <a:custGeom>
                <a:avLst/>
                <a:gdLst>
                  <a:gd name="connsiteX0" fmla="*/ 19892 w 28614"/>
                  <a:gd name="connsiteY0" fmla="*/ 10731 h 28614"/>
                  <a:gd name="connsiteX1" fmla="*/ 10735 w 28614"/>
                  <a:gd name="connsiteY1" fmla="*/ 20030 h 28614"/>
                  <a:gd name="connsiteX2" fmla="*/ 10735 w 28614"/>
                  <a:gd name="connsiteY2" fmla="*/ 21032 h 28614"/>
                  <a:gd name="connsiteX3" fmla="*/ 19458 w 28614"/>
                  <a:gd name="connsiteY3" fmla="*/ 30328 h 28614"/>
                  <a:gd name="connsiteX4" fmla="*/ 19749 w 28614"/>
                  <a:gd name="connsiteY4" fmla="*/ 30332 h 28614"/>
                  <a:gd name="connsiteX5" fmla="*/ 19749 w 28614"/>
                  <a:gd name="connsiteY5" fmla="*/ 30332 h 28614"/>
                  <a:gd name="connsiteX6" fmla="*/ 29620 w 28614"/>
                  <a:gd name="connsiteY6" fmla="*/ 20747 h 28614"/>
                  <a:gd name="connsiteX7" fmla="*/ 29621 w 28614"/>
                  <a:gd name="connsiteY7" fmla="*/ 20603 h 28614"/>
                  <a:gd name="connsiteX8" fmla="*/ 19892 w 28614"/>
                  <a:gd name="connsiteY8"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19892" y="10731"/>
                    </a:moveTo>
                    <a:cubicBezTo>
                      <a:pt x="14811" y="10809"/>
                      <a:pt x="10735" y="14950"/>
                      <a:pt x="10735" y="20030"/>
                    </a:cubicBezTo>
                    <a:lnTo>
                      <a:pt x="10735" y="21032"/>
                    </a:lnTo>
                    <a:cubicBezTo>
                      <a:pt x="10578" y="26008"/>
                      <a:pt x="14482" y="30169"/>
                      <a:pt x="19458" y="30328"/>
                    </a:cubicBezTo>
                    <a:cubicBezTo>
                      <a:pt x="19556" y="30330"/>
                      <a:pt x="19652" y="30332"/>
                      <a:pt x="19749" y="30332"/>
                    </a:cubicBezTo>
                    <a:lnTo>
                      <a:pt x="19749" y="30332"/>
                    </a:lnTo>
                    <a:cubicBezTo>
                      <a:pt x="25121" y="30411"/>
                      <a:pt x="29541" y="26120"/>
                      <a:pt x="29620" y="20747"/>
                    </a:cubicBezTo>
                    <a:cubicBezTo>
                      <a:pt x="29621" y="20699"/>
                      <a:pt x="29621" y="20651"/>
                      <a:pt x="29621" y="20603"/>
                    </a:cubicBezTo>
                    <a:cubicBezTo>
                      <a:pt x="29621" y="15206"/>
                      <a:pt x="25289" y="10809"/>
                      <a:pt x="19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58" name="Freeform: Shape 457">
                <a:extLst>
                  <a:ext uri="{FF2B5EF4-FFF2-40B4-BE49-F238E27FC236}">
                    <a16:creationId xmlns:a16="http://schemas.microsoft.com/office/drawing/2014/main" id="{B9B3243B-DB62-43B1-A95E-91312A9CFBC8}"/>
                  </a:ext>
                </a:extLst>
              </p:cNvPr>
              <p:cNvSpPr/>
              <p:nvPr/>
            </p:nvSpPr>
            <p:spPr>
              <a:xfrm>
                <a:off x="5300774" y="5719751"/>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lnTo>
                      <a:pt x="10731" y="10731"/>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59" name="Freeform: Shape 458">
                <a:extLst>
                  <a:ext uri="{FF2B5EF4-FFF2-40B4-BE49-F238E27FC236}">
                    <a16:creationId xmlns:a16="http://schemas.microsoft.com/office/drawing/2014/main" id="{F0E1C9B0-FDDC-44B1-AF68-82930186F850}"/>
                  </a:ext>
                </a:extLst>
              </p:cNvPr>
              <p:cNvSpPr/>
              <p:nvPr/>
            </p:nvSpPr>
            <p:spPr>
              <a:xfrm>
                <a:off x="5301346" y="5758524"/>
                <a:ext cx="28615" cy="28615"/>
              </a:xfrm>
              <a:custGeom>
                <a:avLst/>
                <a:gdLst>
                  <a:gd name="connsiteX0" fmla="*/ 21032 w 28614"/>
                  <a:gd name="connsiteY0" fmla="*/ 10732 h 28614"/>
                  <a:gd name="connsiteX1" fmla="*/ 10732 w 28614"/>
                  <a:gd name="connsiteY1" fmla="*/ 20745 h 28614"/>
                  <a:gd name="connsiteX2" fmla="*/ 10731 w 28614"/>
                  <a:gd name="connsiteY2" fmla="*/ 20890 h 28614"/>
                  <a:gd name="connsiteX3" fmla="*/ 10731 w 28614"/>
                  <a:gd name="connsiteY3" fmla="*/ 20890 h 28614"/>
                  <a:gd name="connsiteX4" fmla="*/ 21032 w 28614"/>
                  <a:gd name="connsiteY4" fmla="*/ 31191 h 28614"/>
                  <a:gd name="connsiteX5" fmla="*/ 31333 w 28614"/>
                  <a:gd name="connsiteY5" fmla="*/ 20890 h 28614"/>
                  <a:gd name="connsiteX6" fmla="*/ 31333 w 28614"/>
                  <a:gd name="connsiteY6" fmla="*/ 20890 h 28614"/>
                  <a:gd name="connsiteX7" fmla="*/ 21032 w 28614"/>
                  <a:gd name="connsiteY7"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2"/>
                    </a:moveTo>
                    <a:cubicBezTo>
                      <a:pt x="15422" y="10653"/>
                      <a:pt x="10811" y="15135"/>
                      <a:pt x="10732" y="20745"/>
                    </a:cubicBezTo>
                    <a:cubicBezTo>
                      <a:pt x="10731" y="20794"/>
                      <a:pt x="10731" y="20841"/>
                      <a:pt x="10731" y="20890"/>
                    </a:cubicBezTo>
                    <a:lnTo>
                      <a:pt x="10731" y="20890"/>
                    </a:lnTo>
                    <a:cubicBezTo>
                      <a:pt x="10731" y="26579"/>
                      <a:pt x="15343" y="31191"/>
                      <a:pt x="21032" y="31191"/>
                    </a:cubicBezTo>
                    <a:cubicBezTo>
                      <a:pt x="26721" y="31191"/>
                      <a:pt x="31333" y="26579"/>
                      <a:pt x="31333" y="20890"/>
                    </a:cubicBezTo>
                    <a:lnTo>
                      <a:pt x="31333" y="20890"/>
                    </a:lnTo>
                    <a:cubicBezTo>
                      <a:pt x="31255" y="15257"/>
                      <a:pt x="26666" y="10732"/>
                      <a:pt x="21032"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60" name="Freeform: Shape 459">
                <a:extLst>
                  <a:ext uri="{FF2B5EF4-FFF2-40B4-BE49-F238E27FC236}">
                    <a16:creationId xmlns:a16="http://schemas.microsoft.com/office/drawing/2014/main" id="{661B6229-DF7F-4E8A-AB91-075C6DA4DAC9}"/>
                  </a:ext>
                </a:extLst>
              </p:cNvPr>
              <p:cNvSpPr/>
              <p:nvPr/>
            </p:nvSpPr>
            <p:spPr>
              <a:xfrm>
                <a:off x="5301346" y="5509002"/>
                <a:ext cx="28615" cy="28615"/>
              </a:xfrm>
              <a:custGeom>
                <a:avLst/>
                <a:gdLst>
                  <a:gd name="connsiteX0" fmla="*/ 20889 w 28614"/>
                  <a:gd name="connsiteY0" fmla="*/ 31333 h 28614"/>
                  <a:gd name="connsiteX1" fmla="*/ 20889 w 28614"/>
                  <a:gd name="connsiteY1" fmla="*/ 31333 h 28614"/>
                  <a:gd name="connsiteX2" fmla="*/ 31333 w 28614"/>
                  <a:gd name="connsiteY2" fmla="*/ 21032 h 28614"/>
                  <a:gd name="connsiteX3" fmla="*/ 21032 w 28614"/>
                  <a:gd name="connsiteY3" fmla="*/ 10731 h 28614"/>
                  <a:gd name="connsiteX4" fmla="*/ 21032 w 28614"/>
                  <a:gd name="connsiteY4" fmla="*/ 10731 h 28614"/>
                  <a:gd name="connsiteX5" fmla="*/ 10731 w 28614"/>
                  <a:gd name="connsiteY5" fmla="*/ 21032 h 28614"/>
                  <a:gd name="connsiteX6" fmla="*/ 21032 w 28614"/>
                  <a:gd name="connsiteY6"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889" y="31333"/>
                    </a:moveTo>
                    <a:lnTo>
                      <a:pt x="20889" y="31333"/>
                    </a:lnTo>
                    <a:cubicBezTo>
                      <a:pt x="26602" y="31333"/>
                      <a:pt x="31255" y="26745"/>
                      <a:pt x="31333" y="21032"/>
                    </a:cubicBezTo>
                    <a:cubicBezTo>
                      <a:pt x="31333" y="15343"/>
                      <a:pt x="26721" y="10731"/>
                      <a:pt x="21032" y="10731"/>
                    </a:cubicBezTo>
                    <a:lnTo>
                      <a:pt x="21032" y="10731"/>
                    </a:lnTo>
                    <a:cubicBezTo>
                      <a:pt x="15343" y="10731"/>
                      <a:pt x="10731" y="15343"/>
                      <a:pt x="10731" y="21032"/>
                    </a:cubicBezTo>
                    <a:cubicBezTo>
                      <a:pt x="10731" y="26721"/>
                      <a:pt x="15343" y="31333"/>
                      <a:pt x="21032" y="3133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61" name="Freeform: Shape 460">
                <a:extLst>
                  <a:ext uri="{FF2B5EF4-FFF2-40B4-BE49-F238E27FC236}">
                    <a16:creationId xmlns:a16="http://schemas.microsoft.com/office/drawing/2014/main" id="{A1E87B1C-AA30-4CE6-8388-1FC05D2793CC}"/>
                  </a:ext>
                </a:extLst>
              </p:cNvPr>
              <p:cNvSpPr/>
              <p:nvPr/>
            </p:nvSpPr>
            <p:spPr>
              <a:xfrm>
                <a:off x="6016434" y="5659517"/>
                <a:ext cx="28615" cy="28615"/>
              </a:xfrm>
              <a:custGeom>
                <a:avLst/>
                <a:gdLst>
                  <a:gd name="connsiteX0" fmla="*/ 21175 w 28614"/>
                  <a:gd name="connsiteY0" fmla="*/ 31333 h 28614"/>
                  <a:gd name="connsiteX1" fmla="*/ 31476 w 28614"/>
                  <a:gd name="connsiteY1" fmla="*/ 21032 h 28614"/>
                  <a:gd name="connsiteX2" fmla="*/ 21175 w 28614"/>
                  <a:gd name="connsiteY2" fmla="*/ 10731 h 28614"/>
                  <a:gd name="connsiteX3" fmla="*/ 21175 w 28614"/>
                  <a:gd name="connsiteY3" fmla="*/ 10731 h 28614"/>
                  <a:gd name="connsiteX4" fmla="*/ 10731 w 28614"/>
                  <a:gd name="connsiteY4" fmla="*/ 21175 h 28614"/>
                  <a:gd name="connsiteX5" fmla="*/ 20889 w 28614"/>
                  <a:gd name="connsiteY5"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1175" y="31333"/>
                    </a:moveTo>
                    <a:cubicBezTo>
                      <a:pt x="26864" y="31333"/>
                      <a:pt x="31476" y="26721"/>
                      <a:pt x="31476" y="21032"/>
                    </a:cubicBezTo>
                    <a:cubicBezTo>
                      <a:pt x="31476" y="15343"/>
                      <a:pt x="26864" y="10731"/>
                      <a:pt x="21175" y="10731"/>
                    </a:cubicBezTo>
                    <a:lnTo>
                      <a:pt x="21175" y="10731"/>
                    </a:lnTo>
                    <a:cubicBezTo>
                      <a:pt x="15406" y="10731"/>
                      <a:pt x="10731" y="15406"/>
                      <a:pt x="10731" y="21175"/>
                    </a:cubicBezTo>
                    <a:cubicBezTo>
                      <a:pt x="10731" y="26785"/>
                      <a:pt x="15279" y="31333"/>
                      <a:pt x="20889" y="3133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62" name="Freeform: Shape 461">
                <a:extLst>
                  <a:ext uri="{FF2B5EF4-FFF2-40B4-BE49-F238E27FC236}">
                    <a16:creationId xmlns:a16="http://schemas.microsoft.com/office/drawing/2014/main" id="{4470D882-24D0-4388-A847-5C593C13184E}"/>
                  </a:ext>
                </a:extLst>
              </p:cNvPr>
              <p:cNvSpPr/>
              <p:nvPr/>
            </p:nvSpPr>
            <p:spPr>
              <a:xfrm>
                <a:off x="6016434" y="5609297"/>
                <a:ext cx="28615" cy="28615"/>
              </a:xfrm>
              <a:custGeom>
                <a:avLst/>
                <a:gdLst>
                  <a:gd name="connsiteX0" fmla="*/ 21175 w 28614"/>
                  <a:gd name="connsiteY0" fmla="*/ 10732 h 28614"/>
                  <a:gd name="connsiteX1" fmla="*/ 10731 w 28614"/>
                  <a:gd name="connsiteY1" fmla="*/ 20747 h 28614"/>
                  <a:gd name="connsiteX2" fmla="*/ 10731 w 28614"/>
                  <a:gd name="connsiteY2" fmla="*/ 20747 h 28614"/>
                  <a:gd name="connsiteX3" fmla="*/ 21175 w 28614"/>
                  <a:gd name="connsiteY3" fmla="*/ 31191 h 28614"/>
                  <a:gd name="connsiteX4" fmla="*/ 31333 w 28614"/>
                  <a:gd name="connsiteY4" fmla="*/ 21033 h 28614"/>
                  <a:gd name="connsiteX5" fmla="*/ 31333 w 28614"/>
                  <a:gd name="connsiteY5" fmla="*/ 21033 h 28614"/>
                  <a:gd name="connsiteX6" fmla="*/ 21320 w 28614"/>
                  <a:gd name="connsiteY6" fmla="*/ 10733 h 28614"/>
                  <a:gd name="connsiteX7" fmla="*/ 21175 w 28614"/>
                  <a:gd name="connsiteY7"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175" y="10732"/>
                    </a:moveTo>
                    <a:cubicBezTo>
                      <a:pt x="15541" y="10652"/>
                      <a:pt x="10886" y="15114"/>
                      <a:pt x="10731" y="20747"/>
                    </a:cubicBezTo>
                    <a:lnTo>
                      <a:pt x="10731" y="20747"/>
                    </a:lnTo>
                    <a:cubicBezTo>
                      <a:pt x="10731" y="26516"/>
                      <a:pt x="15406" y="31191"/>
                      <a:pt x="21175" y="31191"/>
                    </a:cubicBezTo>
                    <a:cubicBezTo>
                      <a:pt x="26785" y="31191"/>
                      <a:pt x="31333" y="26643"/>
                      <a:pt x="31333" y="21033"/>
                    </a:cubicBezTo>
                    <a:lnTo>
                      <a:pt x="31333" y="21033"/>
                    </a:lnTo>
                    <a:cubicBezTo>
                      <a:pt x="31412" y="15423"/>
                      <a:pt x="26929" y="10812"/>
                      <a:pt x="21320" y="10733"/>
                    </a:cubicBezTo>
                    <a:cubicBezTo>
                      <a:pt x="21271" y="10732"/>
                      <a:pt x="21224" y="10732"/>
                      <a:pt x="21175"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63" name="Freeform: Shape 462">
                <a:extLst>
                  <a:ext uri="{FF2B5EF4-FFF2-40B4-BE49-F238E27FC236}">
                    <a16:creationId xmlns:a16="http://schemas.microsoft.com/office/drawing/2014/main" id="{AE6F4458-2EDE-4807-8D2B-D2B8A5A168BD}"/>
                  </a:ext>
                </a:extLst>
              </p:cNvPr>
              <p:cNvSpPr/>
              <p:nvPr/>
            </p:nvSpPr>
            <p:spPr>
              <a:xfrm>
                <a:off x="6177102" y="5660662"/>
                <a:ext cx="28615" cy="28615"/>
              </a:xfrm>
              <a:custGeom>
                <a:avLst/>
                <a:gdLst>
                  <a:gd name="connsiteX0" fmla="*/ 19463 w 28614"/>
                  <a:gd name="connsiteY0" fmla="*/ 10731 h 28614"/>
                  <a:gd name="connsiteX1" fmla="*/ 10736 w 28614"/>
                  <a:gd name="connsiteY1" fmla="*/ 19029 h 28614"/>
                  <a:gd name="connsiteX2" fmla="*/ 18744 w 28614"/>
                  <a:gd name="connsiteY2" fmla="*/ 27609 h 28614"/>
                  <a:gd name="connsiteX3" fmla="*/ 19034 w 28614"/>
                  <a:gd name="connsiteY3" fmla="*/ 27613 h 28614"/>
                  <a:gd name="connsiteX4" fmla="*/ 19034 w 28614"/>
                  <a:gd name="connsiteY4" fmla="*/ 27613 h 28614"/>
                  <a:gd name="connsiteX5" fmla="*/ 27189 w 28614"/>
                  <a:gd name="connsiteY5" fmla="*/ 19747 h 28614"/>
                  <a:gd name="connsiteX6" fmla="*/ 27189 w 28614"/>
                  <a:gd name="connsiteY6" fmla="*/ 19458 h 28614"/>
                  <a:gd name="connsiteX7" fmla="*/ 19463 w 28614"/>
                  <a:gd name="connsiteY7"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63" y="10731"/>
                    </a:moveTo>
                    <a:cubicBezTo>
                      <a:pt x="14806" y="10725"/>
                      <a:pt x="10965" y="14378"/>
                      <a:pt x="10736" y="19029"/>
                    </a:cubicBezTo>
                    <a:cubicBezTo>
                      <a:pt x="10578" y="23609"/>
                      <a:pt x="14162" y="27450"/>
                      <a:pt x="18744" y="27609"/>
                    </a:cubicBezTo>
                    <a:cubicBezTo>
                      <a:pt x="18839" y="27612"/>
                      <a:pt x="18937" y="27613"/>
                      <a:pt x="19034" y="27613"/>
                    </a:cubicBezTo>
                    <a:lnTo>
                      <a:pt x="19034" y="27613"/>
                    </a:lnTo>
                    <a:cubicBezTo>
                      <a:pt x="23458" y="27694"/>
                      <a:pt x="27109" y="24171"/>
                      <a:pt x="27189" y="19747"/>
                    </a:cubicBezTo>
                    <a:cubicBezTo>
                      <a:pt x="27191" y="19651"/>
                      <a:pt x="27191" y="19554"/>
                      <a:pt x="27189" y="19458"/>
                    </a:cubicBezTo>
                    <a:cubicBezTo>
                      <a:pt x="27358" y="14953"/>
                      <a:pt x="23956" y="11110"/>
                      <a:pt x="1946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64" name="Freeform: Shape 463">
                <a:extLst>
                  <a:ext uri="{FF2B5EF4-FFF2-40B4-BE49-F238E27FC236}">
                    <a16:creationId xmlns:a16="http://schemas.microsoft.com/office/drawing/2014/main" id="{79582F2E-8BA8-4830-B653-1F8101CF9C5A}"/>
                  </a:ext>
                </a:extLst>
              </p:cNvPr>
              <p:cNvSpPr/>
              <p:nvPr/>
            </p:nvSpPr>
            <p:spPr>
              <a:xfrm>
                <a:off x="6177058" y="5612351"/>
                <a:ext cx="28615" cy="28615"/>
              </a:xfrm>
              <a:custGeom>
                <a:avLst/>
                <a:gdLst>
                  <a:gd name="connsiteX0" fmla="*/ 18077 w 28614"/>
                  <a:gd name="connsiteY0" fmla="*/ 10825 h 28614"/>
                  <a:gd name="connsiteX1" fmla="*/ 10803 w 28614"/>
                  <a:gd name="connsiteY1" fmla="*/ 20291 h 28614"/>
                  <a:gd name="connsiteX2" fmla="*/ 18077 w 28614"/>
                  <a:gd name="connsiteY2" fmla="*/ 27565 h 28614"/>
                  <a:gd name="connsiteX3" fmla="*/ 27659 w 28614"/>
                  <a:gd name="connsiteY3" fmla="*/ 20444 h 28614"/>
                  <a:gd name="connsiteX4" fmla="*/ 27663 w 28614"/>
                  <a:gd name="connsiteY4" fmla="*/ 20411 h 28614"/>
                  <a:gd name="connsiteX5" fmla="*/ 27663 w 28614"/>
                  <a:gd name="connsiteY5" fmla="*/ 17835 h 28614"/>
                  <a:gd name="connsiteX6" fmla="*/ 18077 w 28614"/>
                  <a:gd name="connsiteY6"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077" y="10825"/>
                    </a:moveTo>
                    <a:cubicBezTo>
                      <a:pt x="13454" y="11430"/>
                      <a:pt x="10198" y="15669"/>
                      <a:pt x="10803" y="20291"/>
                    </a:cubicBezTo>
                    <a:cubicBezTo>
                      <a:pt x="11301" y="24084"/>
                      <a:pt x="14285" y="27068"/>
                      <a:pt x="18077" y="27565"/>
                    </a:cubicBezTo>
                    <a:cubicBezTo>
                      <a:pt x="22690" y="28244"/>
                      <a:pt x="26979" y="25055"/>
                      <a:pt x="27659" y="20444"/>
                    </a:cubicBezTo>
                    <a:cubicBezTo>
                      <a:pt x="27660" y="20432"/>
                      <a:pt x="27661" y="20422"/>
                      <a:pt x="27663" y="20411"/>
                    </a:cubicBezTo>
                    <a:cubicBezTo>
                      <a:pt x="27807" y="19558"/>
                      <a:pt x="27807" y="18688"/>
                      <a:pt x="27663" y="17835"/>
                    </a:cubicBezTo>
                    <a:cubicBezTo>
                      <a:pt x="26929" y="13266"/>
                      <a:pt x="22654" y="10139"/>
                      <a:pt x="18077" y="1082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65" name="Freeform: Shape 464">
                <a:extLst>
                  <a:ext uri="{FF2B5EF4-FFF2-40B4-BE49-F238E27FC236}">
                    <a16:creationId xmlns:a16="http://schemas.microsoft.com/office/drawing/2014/main" id="{4AE4AB53-7728-4EAE-B45B-A83532E36BC3}"/>
                  </a:ext>
                </a:extLst>
              </p:cNvPr>
              <p:cNvSpPr/>
              <p:nvPr/>
            </p:nvSpPr>
            <p:spPr>
              <a:xfrm>
                <a:off x="6177106" y="5761238"/>
                <a:ext cx="28615" cy="28615"/>
              </a:xfrm>
              <a:custGeom>
                <a:avLst/>
                <a:gdLst>
                  <a:gd name="connsiteX0" fmla="*/ 19459 w 28614"/>
                  <a:gd name="connsiteY0" fmla="*/ 10736 h 28614"/>
                  <a:gd name="connsiteX1" fmla="*/ 10732 w 28614"/>
                  <a:gd name="connsiteY1" fmla="*/ 18881 h 28614"/>
                  <a:gd name="connsiteX2" fmla="*/ 10732 w 28614"/>
                  <a:gd name="connsiteY2" fmla="*/ 18891 h 28614"/>
                  <a:gd name="connsiteX3" fmla="*/ 19030 w 28614"/>
                  <a:gd name="connsiteY3" fmla="*/ 27619 h 28614"/>
                  <a:gd name="connsiteX4" fmla="*/ 19030 w 28614"/>
                  <a:gd name="connsiteY4" fmla="*/ 27619 h 28614"/>
                  <a:gd name="connsiteX5" fmla="*/ 27187 w 28614"/>
                  <a:gd name="connsiteY5" fmla="*/ 19465 h 28614"/>
                  <a:gd name="connsiteX6" fmla="*/ 27186 w 28614"/>
                  <a:gd name="connsiteY6" fmla="*/ 19320 h 28614"/>
                  <a:gd name="connsiteX7" fmla="*/ 19459 w 28614"/>
                  <a:gd name="connsiteY7" fmla="*/ 107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59" y="10736"/>
                    </a:moveTo>
                    <a:cubicBezTo>
                      <a:pt x="14800" y="10575"/>
                      <a:pt x="10894" y="14222"/>
                      <a:pt x="10732" y="18881"/>
                    </a:cubicBezTo>
                    <a:cubicBezTo>
                      <a:pt x="10732" y="18884"/>
                      <a:pt x="10732" y="18888"/>
                      <a:pt x="10732" y="18891"/>
                    </a:cubicBezTo>
                    <a:cubicBezTo>
                      <a:pt x="10652" y="23578"/>
                      <a:pt x="14345" y="27463"/>
                      <a:pt x="19030" y="27619"/>
                    </a:cubicBezTo>
                    <a:lnTo>
                      <a:pt x="19030" y="27619"/>
                    </a:lnTo>
                    <a:cubicBezTo>
                      <a:pt x="23534" y="27619"/>
                      <a:pt x="27186" y="23969"/>
                      <a:pt x="27187" y="19465"/>
                    </a:cubicBezTo>
                    <a:cubicBezTo>
                      <a:pt x="27187" y="19416"/>
                      <a:pt x="27187" y="19369"/>
                      <a:pt x="27186" y="19320"/>
                    </a:cubicBezTo>
                    <a:cubicBezTo>
                      <a:pt x="27277" y="14869"/>
                      <a:pt x="23896" y="11112"/>
                      <a:pt x="19459" y="1073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66" name="Freeform: Shape 465">
                <a:extLst>
                  <a:ext uri="{FF2B5EF4-FFF2-40B4-BE49-F238E27FC236}">
                    <a16:creationId xmlns:a16="http://schemas.microsoft.com/office/drawing/2014/main" id="{207CB126-F64A-440F-9E85-8E89D9A8D04C}"/>
                  </a:ext>
                </a:extLst>
              </p:cNvPr>
              <p:cNvSpPr/>
              <p:nvPr/>
            </p:nvSpPr>
            <p:spPr>
              <a:xfrm>
                <a:off x="6177197" y="5711073"/>
                <a:ext cx="28615" cy="28615"/>
              </a:xfrm>
              <a:custGeom>
                <a:avLst/>
                <a:gdLst>
                  <a:gd name="connsiteX0" fmla="*/ 17938 w 28614"/>
                  <a:gd name="connsiteY0" fmla="*/ 10825 h 28614"/>
                  <a:gd name="connsiteX1" fmla="*/ 10823 w 28614"/>
                  <a:gd name="connsiteY1" fmla="*/ 20411 h 28614"/>
                  <a:gd name="connsiteX2" fmla="*/ 20409 w 28614"/>
                  <a:gd name="connsiteY2" fmla="*/ 27526 h 28614"/>
                  <a:gd name="connsiteX3" fmla="*/ 27524 w 28614"/>
                  <a:gd name="connsiteY3" fmla="*/ 20411 h 28614"/>
                  <a:gd name="connsiteX4" fmla="*/ 27524 w 28614"/>
                  <a:gd name="connsiteY4" fmla="*/ 17836 h 28614"/>
                  <a:gd name="connsiteX5" fmla="*/ 17938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938" y="10825"/>
                    </a:moveTo>
                    <a:cubicBezTo>
                      <a:pt x="13326" y="11507"/>
                      <a:pt x="10140" y="15800"/>
                      <a:pt x="10823" y="20411"/>
                    </a:cubicBezTo>
                    <a:cubicBezTo>
                      <a:pt x="11505" y="25022"/>
                      <a:pt x="15797" y="28208"/>
                      <a:pt x="20409" y="27526"/>
                    </a:cubicBezTo>
                    <a:cubicBezTo>
                      <a:pt x="24089" y="26981"/>
                      <a:pt x="26979" y="24091"/>
                      <a:pt x="27524" y="20411"/>
                    </a:cubicBezTo>
                    <a:cubicBezTo>
                      <a:pt x="27668" y="19558"/>
                      <a:pt x="27668" y="18688"/>
                      <a:pt x="27524" y="17836"/>
                    </a:cubicBezTo>
                    <a:cubicBezTo>
                      <a:pt x="26790" y="13266"/>
                      <a:pt x="22515" y="10140"/>
                      <a:pt x="17938" y="1082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67" name="Freeform: Shape 466">
                <a:extLst>
                  <a:ext uri="{FF2B5EF4-FFF2-40B4-BE49-F238E27FC236}">
                    <a16:creationId xmlns:a16="http://schemas.microsoft.com/office/drawing/2014/main" id="{E1BEA0BC-5405-4143-A038-C8F5930EDFB3}"/>
                  </a:ext>
                </a:extLst>
              </p:cNvPr>
              <p:cNvSpPr/>
              <p:nvPr/>
            </p:nvSpPr>
            <p:spPr>
              <a:xfrm>
                <a:off x="6257658" y="5561654"/>
                <a:ext cx="28615" cy="28615"/>
              </a:xfrm>
              <a:custGeom>
                <a:avLst/>
                <a:gdLst>
                  <a:gd name="connsiteX0" fmla="*/ 25610 w 28614"/>
                  <a:gd name="connsiteY0" fmla="*/ 18170 h 28614"/>
                  <a:gd name="connsiteX1" fmla="*/ 18170 w 28614"/>
                  <a:gd name="connsiteY1" fmla="*/ 25610 h 28614"/>
                  <a:gd name="connsiteX2" fmla="*/ 10731 w 28614"/>
                  <a:gd name="connsiteY2" fmla="*/ 18170 h 28614"/>
                  <a:gd name="connsiteX3" fmla="*/ 18170 w 28614"/>
                  <a:gd name="connsiteY3" fmla="*/ 10731 h 28614"/>
                  <a:gd name="connsiteX4" fmla="*/ 25610 w 28614"/>
                  <a:gd name="connsiteY4" fmla="*/ 1817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0"/>
                    </a:moveTo>
                    <a:cubicBezTo>
                      <a:pt x="25610" y="22279"/>
                      <a:pt x="22279" y="25610"/>
                      <a:pt x="18170" y="25610"/>
                    </a:cubicBezTo>
                    <a:cubicBezTo>
                      <a:pt x="14062" y="25610"/>
                      <a:pt x="10731" y="22279"/>
                      <a:pt x="10731" y="18170"/>
                    </a:cubicBezTo>
                    <a:cubicBezTo>
                      <a:pt x="10731" y="14062"/>
                      <a:pt x="14062" y="10731"/>
                      <a:pt x="18170" y="10731"/>
                    </a:cubicBezTo>
                    <a:cubicBezTo>
                      <a:pt x="22279" y="10731"/>
                      <a:pt x="25610" y="14062"/>
                      <a:pt x="25610" y="1817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68" name="Freeform: Shape 467">
                <a:extLst>
                  <a:ext uri="{FF2B5EF4-FFF2-40B4-BE49-F238E27FC236}">
                    <a16:creationId xmlns:a16="http://schemas.microsoft.com/office/drawing/2014/main" id="{E65EE116-0872-42F3-AE59-E1ED29407AF4}"/>
                  </a:ext>
                </a:extLst>
              </p:cNvPr>
              <p:cNvSpPr/>
              <p:nvPr/>
            </p:nvSpPr>
            <p:spPr>
              <a:xfrm>
                <a:off x="6256657" y="5512581"/>
                <a:ext cx="28615" cy="28615"/>
              </a:xfrm>
              <a:custGeom>
                <a:avLst/>
                <a:gdLst>
                  <a:gd name="connsiteX0" fmla="*/ 18170 w 28614"/>
                  <a:gd name="connsiteY0" fmla="*/ 25895 h 28614"/>
                  <a:gd name="connsiteX1" fmla="*/ 25895 w 28614"/>
                  <a:gd name="connsiteY1" fmla="*/ 18457 h 28614"/>
                  <a:gd name="connsiteX2" fmla="*/ 18457 w 28614"/>
                  <a:gd name="connsiteY2" fmla="*/ 10732 h 28614"/>
                  <a:gd name="connsiteX3" fmla="*/ 10732 w 28614"/>
                  <a:gd name="connsiteY3" fmla="*/ 18170 h 28614"/>
                  <a:gd name="connsiteX4" fmla="*/ 10731 w 28614"/>
                  <a:gd name="connsiteY4" fmla="*/ 18312 h 28614"/>
                  <a:gd name="connsiteX5" fmla="*/ 18170 w 28614"/>
                  <a:gd name="connsiteY5" fmla="*/ 2589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170" y="25895"/>
                    </a:moveTo>
                    <a:cubicBezTo>
                      <a:pt x="22358" y="25974"/>
                      <a:pt x="25816" y="22644"/>
                      <a:pt x="25895" y="18457"/>
                    </a:cubicBezTo>
                    <a:cubicBezTo>
                      <a:pt x="25974" y="14269"/>
                      <a:pt x="22644" y="10811"/>
                      <a:pt x="18457" y="10732"/>
                    </a:cubicBezTo>
                    <a:cubicBezTo>
                      <a:pt x="14269" y="10653"/>
                      <a:pt x="10811" y="13983"/>
                      <a:pt x="10732" y="18170"/>
                    </a:cubicBezTo>
                    <a:cubicBezTo>
                      <a:pt x="10731" y="18218"/>
                      <a:pt x="10731" y="18265"/>
                      <a:pt x="10731" y="18312"/>
                    </a:cubicBezTo>
                    <a:cubicBezTo>
                      <a:pt x="10729" y="22444"/>
                      <a:pt x="14038" y="25816"/>
                      <a:pt x="18170" y="2589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69" name="Freeform: Shape 468">
                <a:extLst>
                  <a:ext uri="{FF2B5EF4-FFF2-40B4-BE49-F238E27FC236}">
                    <a16:creationId xmlns:a16="http://schemas.microsoft.com/office/drawing/2014/main" id="{A42BE729-C567-4A2D-9887-EF0F916920FD}"/>
                  </a:ext>
                </a:extLst>
              </p:cNvPr>
              <p:cNvSpPr/>
              <p:nvPr/>
            </p:nvSpPr>
            <p:spPr>
              <a:xfrm>
                <a:off x="6177106" y="5560504"/>
                <a:ext cx="28615" cy="28615"/>
              </a:xfrm>
              <a:custGeom>
                <a:avLst/>
                <a:gdLst>
                  <a:gd name="connsiteX0" fmla="*/ 19459 w 28614"/>
                  <a:gd name="connsiteY0" fmla="*/ 10736 h 28614"/>
                  <a:gd name="connsiteX1" fmla="*/ 10732 w 28614"/>
                  <a:gd name="connsiteY1" fmla="*/ 18881 h 28614"/>
                  <a:gd name="connsiteX2" fmla="*/ 10732 w 28614"/>
                  <a:gd name="connsiteY2" fmla="*/ 18891 h 28614"/>
                  <a:gd name="connsiteX3" fmla="*/ 19030 w 28614"/>
                  <a:gd name="connsiteY3" fmla="*/ 27619 h 28614"/>
                  <a:gd name="connsiteX4" fmla="*/ 19030 w 28614"/>
                  <a:gd name="connsiteY4" fmla="*/ 27619 h 28614"/>
                  <a:gd name="connsiteX5" fmla="*/ 27472 w 28614"/>
                  <a:gd name="connsiteY5" fmla="*/ 19177 h 28614"/>
                  <a:gd name="connsiteX6" fmla="*/ 19030 w 28614"/>
                  <a:gd name="connsiteY6" fmla="*/ 107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459" y="10736"/>
                    </a:moveTo>
                    <a:cubicBezTo>
                      <a:pt x="14800" y="10575"/>
                      <a:pt x="10894" y="14222"/>
                      <a:pt x="10732" y="18881"/>
                    </a:cubicBezTo>
                    <a:cubicBezTo>
                      <a:pt x="10732" y="18884"/>
                      <a:pt x="10732" y="18888"/>
                      <a:pt x="10732" y="18891"/>
                    </a:cubicBezTo>
                    <a:cubicBezTo>
                      <a:pt x="10652" y="23578"/>
                      <a:pt x="14345" y="27463"/>
                      <a:pt x="19030" y="27619"/>
                    </a:cubicBezTo>
                    <a:lnTo>
                      <a:pt x="19030" y="27619"/>
                    </a:lnTo>
                    <a:cubicBezTo>
                      <a:pt x="23693" y="27619"/>
                      <a:pt x="27472" y="23838"/>
                      <a:pt x="27472" y="19177"/>
                    </a:cubicBezTo>
                    <a:cubicBezTo>
                      <a:pt x="27472" y="14516"/>
                      <a:pt x="23692" y="10736"/>
                      <a:pt x="19030" y="1073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70" name="Freeform: Shape 469">
                <a:extLst>
                  <a:ext uri="{FF2B5EF4-FFF2-40B4-BE49-F238E27FC236}">
                    <a16:creationId xmlns:a16="http://schemas.microsoft.com/office/drawing/2014/main" id="{71FB4A50-2566-4B6D-88C7-E14817489CC8}"/>
                  </a:ext>
                </a:extLst>
              </p:cNvPr>
              <p:cNvSpPr/>
              <p:nvPr/>
            </p:nvSpPr>
            <p:spPr>
              <a:xfrm>
                <a:off x="6016576" y="5758525"/>
                <a:ext cx="28615" cy="28615"/>
              </a:xfrm>
              <a:custGeom>
                <a:avLst/>
                <a:gdLst>
                  <a:gd name="connsiteX0" fmla="*/ 21176 w 28614"/>
                  <a:gd name="connsiteY0" fmla="*/ 10731 h 28614"/>
                  <a:gd name="connsiteX1" fmla="*/ 21176 w 28614"/>
                  <a:gd name="connsiteY1" fmla="*/ 10731 h 28614"/>
                  <a:gd name="connsiteX2" fmla="*/ 10732 w 28614"/>
                  <a:gd name="connsiteY2" fmla="*/ 21032 h 28614"/>
                  <a:gd name="connsiteX3" fmla="*/ 20746 w 28614"/>
                  <a:gd name="connsiteY3" fmla="*/ 31332 h 28614"/>
                  <a:gd name="connsiteX4" fmla="*/ 20890 w 28614"/>
                  <a:gd name="connsiteY4" fmla="*/ 31333 h 28614"/>
                  <a:gd name="connsiteX5" fmla="*/ 20890 w 28614"/>
                  <a:gd name="connsiteY5" fmla="*/ 31333 h 28614"/>
                  <a:gd name="connsiteX6" fmla="*/ 31050 w 28614"/>
                  <a:gd name="connsiteY6" fmla="*/ 21176 h 28614"/>
                  <a:gd name="connsiteX7" fmla="*/ 31048 w 28614"/>
                  <a:gd name="connsiteY7" fmla="*/ 21032 h 28614"/>
                  <a:gd name="connsiteX8" fmla="*/ 21325 w 28614"/>
                  <a:gd name="connsiteY8" fmla="*/ 10734 h 28614"/>
                  <a:gd name="connsiteX9" fmla="*/ 21176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176" y="10731"/>
                    </a:moveTo>
                    <a:lnTo>
                      <a:pt x="21176" y="10731"/>
                    </a:lnTo>
                    <a:cubicBezTo>
                      <a:pt x="15463" y="10731"/>
                      <a:pt x="10810" y="15319"/>
                      <a:pt x="10732" y="21032"/>
                    </a:cubicBezTo>
                    <a:cubicBezTo>
                      <a:pt x="10653" y="26642"/>
                      <a:pt x="15135" y="31253"/>
                      <a:pt x="20746" y="31332"/>
                    </a:cubicBezTo>
                    <a:cubicBezTo>
                      <a:pt x="20794" y="31333"/>
                      <a:pt x="20841" y="31333"/>
                      <a:pt x="20890" y="31333"/>
                    </a:cubicBezTo>
                    <a:lnTo>
                      <a:pt x="20890" y="31333"/>
                    </a:lnTo>
                    <a:cubicBezTo>
                      <a:pt x="26500" y="31333"/>
                      <a:pt x="31048" y="26786"/>
                      <a:pt x="31050" y="21176"/>
                    </a:cubicBezTo>
                    <a:cubicBezTo>
                      <a:pt x="31050" y="21128"/>
                      <a:pt x="31048" y="21081"/>
                      <a:pt x="31048" y="21032"/>
                    </a:cubicBezTo>
                    <a:cubicBezTo>
                      <a:pt x="31207" y="15504"/>
                      <a:pt x="26853" y="10892"/>
                      <a:pt x="21325" y="10734"/>
                    </a:cubicBezTo>
                    <a:cubicBezTo>
                      <a:pt x="21275" y="10732"/>
                      <a:pt x="21226" y="10731"/>
                      <a:pt x="21176"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71" name="Freeform: Shape 470">
                <a:extLst>
                  <a:ext uri="{FF2B5EF4-FFF2-40B4-BE49-F238E27FC236}">
                    <a16:creationId xmlns:a16="http://schemas.microsoft.com/office/drawing/2014/main" id="{30DEC92A-BCEA-45CD-A5B4-E67288021B1C}"/>
                  </a:ext>
                </a:extLst>
              </p:cNvPr>
              <p:cNvSpPr/>
              <p:nvPr/>
            </p:nvSpPr>
            <p:spPr>
              <a:xfrm>
                <a:off x="6095698" y="5510004"/>
                <a:ext cx="28615" cy="28615"/>
              </a:xfrm>
              <a:custGeom>
                <a:avLst/>
                <a:gdLst>
                  <a:gd name="connsiteX0" fmla="*/ 20603 w 28614"/>
                  <a:gd name="connsiteY0" fmla="*/ 30332 h 28614"/>
                  <a:gd name="connsiteX1" fmla="*/ 29759 w 28614"/>
                  <a:gd name="connsiteY1" fmla="*/ 21175 h 28614"/>
                  <a:gd name="connsiteX2" fmla="*/ 29759 w 28614"/>
                  <a:gd name="connsiteY2" fmla="*/ 20030 h 28614"/>
                  <a:gd name="connsiteX3" fmla="*/ 20603 w 28614"/>
                  <a:gd name="connsiteY3" fmla="*/ 10731 h 28614"/>
                  <a:gd name="connsiteX4" fmla="*/ 10731 w 28614"/>
                  <a:gd name="connsiteY4" fmla="*/ 20603 h 28614"/>
                  <a:gd name="connsiteX5" fmla="*/ 20458 w 28614"/>
                  <a:gd name="connsiteY5" fmla="*/ 30333 h 28614"/>
                  <a:gd name="connsiteX6" fmla="*/ 20603 w 28614"/>
                  <a:gd name="connsiteY6" fmla="*/ 30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603" y="30332"/>
                    </a:moveTo>
                    <a:cubicBezTo>
                      <a:pt x="25660" y="30332"/>
                      <a:pt x="29759" y="26233"/>
                      <a:pt x="29759" y="21175"/>
                    </a:cubicBezTo>
                    <a:lnTo>
                      <a:pt x="29759" y="20030"/>
                    </a:lnTo>
                    <a:cubicBezTo>
                      <a:pt x="29759" y="14950"/>
                      <a:pt x="25683" y="10809"/>
                      <a:pt x="20603" y="10731"/>
                    </a:cubicBezTo>
                    <a:cubicBezTo>
                      <a:pt x="15150" y="10731"/>
                      <a:pt x="10731" y="15150"/>
                      <a:pt x="10731" y="20603"/>
                    </a:cubicBezTo>
                    <a:cubicBezTo>
                      <a:pt x="10731" y="25977"/>
                      <a:pt x="15086" y="30332"/>
                      <a:pt x="20458" y="30333"/>
                    </a:cubicBezTo>
                    <a:cubicBezTo>
                      <a:pt x="20507" y="30333"/>
                      <a:pt x="20554" y="30332"/>
                      <a:pt x="20603" y="303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72" name="Freeform: Shape 471">
                <a:extLst>
                  <a:ext uri="{FF2B5EF4-FFF2-40B4-BE49-F238E27FC236}">
                    <a16:creationId xmlns:a16="http://schemas.microsoft.com/office/drawing/2014/main" id="{B1172413-51DA-42A0-85DC-98A9E64F2F2B}"/>
                  </a:ext>
                </a:extLst>
              </p:cNvPr>
              <p:cNvSpPr/>
              <p:nvPr/>
            </p:nvSpPr>
            <p:spPr>
              <a:xfrm>
                <a:off x="6176342" y="5513057"/>
                <a:ext cx="28615" cy="28615"/>
              </a:xfrm>
              <a:custGeom>
                <a:avLst/>
                <a:gdLst>
                  <a:gd name="connsiteX0" fmla="*/ 18077 w 28614"/>
                  <a:gd name="connsiteY0" fmla="*/ 27565 h 28614"/>
                  <a:gd name="connsiteX1" fmla="*/ 27659 w 28614"/>
                  <a:gd name="connsiteY1" fmla="*/ 20444 h 28614"/>
                  <a:gd name="connsiteX2" fmla="*/ 27663 w 28614"/>
                  <a:gd name="connsiteY2" fmla="*/ 20411 h 28614"/>
                  <a:gd name="connsiteX3" fmla="*/ 27663 w 28614"/>
                  <a:gd name="connsiteY3" fmla="*/ 17835 h 28614"/>
                  <a:gd name="connsiteX4" fmla="*/ 18077 w 28614"/>
                  <a:gd name="connsiteY4" fmla="*/ 10825 h 28614"/>
                  <a:gd name="connsiteX5" fmla="*/ 10803 w 28614"/>
                  <a:gd name="connsiteY5" fmla="*/ 20291 h 28614"/>
                  <a:gd name="connsiteX6" fmla="*/ 18077 w 28614"/>
                  <a:gd name="connsiteY6" fmla="*/ 2756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077" y="27565"/>
                    </a:moveTo>
                    <a:cubicBezTo>
                      <a:pt x="22690" y="28244"/>
                      <a:pt x="26979" y="25055"/>
                      <a:pt x="27659" y="20444"/>
                    </a:cubicBezTo>
                    <a:cubicBezTo>
                      <a:pt x="27660" y="20432"/>
                      <a:pt x="27661" y="20422"/>
                      <a:pt x="27663" y="20411"/>
                    </a:cubicBezTo>
                    <a:cubicBezTo>
                      <a:pt x="27807" y="19558"/>
                      <a:pt x="27807" y="18688"/>
                      <a:pt x="27663" y="17835"/>
                    </a:cubicBezTo>
                    <a:cubicBezTo>
                      <a:pt x="26929" y="13266"/>
                      <a:pt x="22654" y="10140"/>
                      <a:pt x="18077" y="10825"/>
                    </a:cubicBezTo>
                    <a:cubicBezTo>
                      <a:pt x="13454" y="11430"/>
                      <a:pt x="10198" y="15669"/>
                      <a:pt x="10803" y="20291"/>
                    </a:cubicBezTo>
                    <a:cubicBezTo>
                      <a:pt x="11301" y="24084"/>
                      <a:pt x="14285" y="27068"/>
                      <a:pt x="18077" y="2756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73" name="Freeform: Shape 472">
                <a:extLst>
                  <a:ext uri="{FF2B5EF4-FFF2-40B4-BE49-F238E27FC236}">
                    <a16:creationId xmlns:a16="http://schemas.microsoft.com/office/drawing/2014/main" id="{607562BB-9CFC-40F7-B122-8C923AB161A6}"/>
                  </a:ext>
                </a:extLst>
              </p:cNvPr>
              <p:cNvSpPr/>
              <p:nvPr/>
            </p:nvSpPr>
            <p:spPr>
              <a:xfrm>
                <a:off x="6015718" y="5509144"/>
                <a:ext cx="28615" cy="28615"/>
              </a:xfrm>
              <a:custGeom>
                <a:avLst/>
                <a:gdLst>
                  <a:gd name="connsiteX0" fmla="*/ 21033 w 28614"/>
                  <a:gd name="connsiteY0" fmla="*/ 31191 h 28614"/>
                  <a:gd name="connsiteX1" fmla="*/ 31333 w 28614"/>
                  <a:gd name="connsiteY1" fmla="*/ 21178 h 28614"/>
                  <a:gd name="connsiteX2" fmla="*/ 31334 w 28614"/>
                  <a:gd name="connsiteY2" fmla="*/ 21033 h 28614"/>
                  <a:gd name="connsiteX3" fmla="*/ 31334 w 28614"/>
                  <a:gd name="connsiteY3" fmla="*/ 21033 h 28614"/>
                  <a:gd name="connsiteX4" fmla="*/ 21033 w 28614"/>
                  <a:gd name="connsiteY4" fmla="*/ 10732 h 28614"/>
                  <a:gd name="connsiteX5" fmla="*/ 10732 w 28614"/>
                  <a:gd name="connsiteY5" fmla="*/ 20745 h 28614"/>
                  <a:gd name="connsiteX6" fmla="*/ 10732 w 28614"/>
                  <a:gd name="connsiteY6" fmla="*/ 20747 h 28614"/>
                  <a:gd name="connsiteX7" fmla="*/ 10732 w 28614"/>
                  <a:gd name="connsiteY7" fmla="*/ 20747 h 28614"/>
                  <a:gd name="connsiteX8" fmla="*/ 20888 w 28614"/>
                  <a:gd name="connsiteY8" fmla="*/ 31190 h 28614"/>
                  <a:gd name="connsiteX9" fmla="*/ 21033 w 28614"/>
                  <a:gd name="connsiteY9" fmla="*/ 3119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033" y="31191"/>
                    </a:moveTo>
                    <a:cubicBezTo>
                      <a:pt x="26643" y="31270"/>
                      <a:pt x="31254" y="26788"/>
                      <a:pt x="31333" y="21178"/>
                    </a:cubicBezTo>
                    <a:cubicBezTo>
                      <a:pt x="31334" y="21129"/>
                      <a:pt x="31334" y="21082"/>
                      <a:pt x="31334" y="21033"/>
                    </a:cubicBezTo>
                    <a:lnTo>
                      <a:pt x="31334" y="21033"/>
                    </a:lnTo>
                    <a:cubicBezTo>
                      <a:pt x="31334" y="15344"/>
                      <a:pt x="26722" y="10732"/>
                      <a:pt x="21033" y="10732"/>
                    </a:cubicBezTo>
                    <a:cubicBezTo>
                      <a:pt x="15423" y="10652"/>
                      <a:pt x="10812" y="15136"/>
                      <a:pt x="10732" y="20745"/>
                    </a:cubicBezTo>
                    <a:cubicBezTo>
                      <a:pt x="10732" y="20745"/>
                      <a:pt x="10732" y="20747"/>
                      <a:pt x="10732" y="20747"/>
                    </a:cubicBezTo>
                    <a:lnTo>
                      <a:pt x="10732" y="20747"/>
                    </a:lnTo>
                    <a:cubicBezTo>
                      <a:pt x="10653" y="26436"/>
                      <a:pt x="15200" y="31111"/>
                      <a:pt x="20888" y="31190"/>
                    </a:cubicBezTo>
                    <a:cubicBezTo>
                      <a:pt x="20937" y="31191"/>
                      <a:pt x="20984" y="31191"/>
                      <a:pt x="21033" y="3119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74" name="Freeform: Shape 473">
                <a:extLst>
                  <a:ext uri="{FF2B5EF4-FFF2-40B4-BE49-F238E27FC236}">
                    <a16:creationId xmlns:a16="http://schemas.microsoft.com/office/drawing/2014/main" id="{4DA25D42-5464-4E95-989F-AA9D45D120B5}"/>
                  </a:ext>
                </a:extLst>
              </p:cNvPr>
              <p:cNvSpPr/>
              <p:nvPr/>
            </p:nvSpPr>
            <p:spPr>
              <a:xfrm>
                <a:off x="6097271" y="5708735"/>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80" y="25040"/>
                      <a:pt x="15021" y="29182"/>
                      <a:pt x="20174" y="29330"/>
                    </a:cubicBezTo>
                    <a:cubicBezTo>
                      <a:pt x="25333" y="29252"/>
                      <a:pt x="29473" y="25047"/>
                      <a:pt x="29473" y="19887"/>
                    </a:cubicBezTo>
                    <a:cubicBezTo>
                      <a:pt x="29395" y="14807"/>
                      <a:pt x="25254" y="10731"/>
                      <a:pt x="20174"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75" name="Freeform: Shape 474">
                <a:extLst>
                  <a:ext uri="{FF2B5EF4-FFF2-40B4-BE49-F238E27FC236}">
                    <a16:creationId xmlns:a16="http://schemas.microsoft.com/office/drawing/2014/main" id="{F5299FC2-F942-4347-8C37-4D03E6FD7665}"/>
                  </a:ext>
                </a:extLst>
              </p:cNvPr>
              <p:cNvSpPr/>
              <p:nvPr/>
            </p:nvSpPr>
            <p:spPr>
              <a:xfrm>
                <a:off x="6097271" y="5659946"/>
                <a:ext cx="28615" cy="28615"/>
              </a:xfrm>
              <a:custGeom>
                <a:avLst/>
                <a:gdLst>
                  <a:gd name="connsiteX0" fmla="*/ 20174 w 28614"/>
                  <a:gd name="connsiteY0" fmla="*/ 10731 h 28614"/>
                  <a:gd name="connsiteX1" fmla="*/ 10731 w 28614"/>
                  <a:gd name="connsiteY1" fmla="*/ 20174 h 28614"/>
                  <a:gd name="connsiteX2" fmla="*/ 20174 w 28614"/>
                  <a:gd name="connsiteY2" fmla="*/ 29330 h 28614"/>
                  <a:gd name="connsiteX3" fmla="*/ 29473 w 28614"/>
                  <a:gd name="connsiteY3" fmla="*/ 20174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21" y="10879"/>
                      <a:pt x="10880" y="15021"/>
                      <a:pt x="10731" y="20174"/>
                    </a:cubicBezTo>
                    <a:cubicBezTo>
                      <a:pt x="10885" y="25277"/>
                      <a:pt x="15069" y="29333"/>
                      <a:pt x="20174" y="29330"/>
                    </a:cubicBezTo>
                    <a:cubicBezTo>
                      <a:pt x="25254" y="29330"/>
                      <a:pt x="29395" y="25254"/>
                      <a:pt x="29473" y="20174"/>
                    </a:cubicBezTo>
                    <a:cubicBezTo>
                      <a:pt x="29473" y="15014"/>
                      <a:pt x="25333" y="10809"/>
                      <a:pt x="20174"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76" name="Freeform: Shape 475">
                <a:extLst>
                  <a:ext uri="{FF2B5EF4-FFF2-40B4-BE49-F238E27FC236}">
                    <a16:creationId xmlns:a16="http://schemas.microsoft.com/office/drawing/2014/main" id="{EAF57247-FAB7-4D25-BF0B-FDC7136835C4}"/>
                  </a:ext>
                </a:extLst>
              </p:cNvPr>
              <p:cNvSpPr/>
              <p:nvPr/>
            </p:nvSpPr>
            <p:spPr>
              <a:xfrm>
                <a:off x="5614924" y="5506713"/>
                <a:ext cx="42922" cy="42922"/>
              </a:xfrm>
              <a:custGeom>
                <a:avLst/>
                <a:gdLst>
                  <a:gd name="connsiteX0" fmla="*/ 23506 w 42922"/>
                  <a:gd name="connsiteY0" fmla="*/ 39346 h 42922"/>
                  <a:gd name="connsiteX1" fmla="*/ 38958 w 42922"/>
                  <a:gd name="connsiteY1" fmla="*/ 26183 h 42922"/>
                  <a:gd name="connsiteX2" fmla="*/ 25795 w 42922"/>
                  <a:gd name="connsiteY2" fmla="*/ 10731 h 42922"/>
                  <a:gd name="connsiteX3" fmla="*/ 25795 w 42922"/>
                  <a:gd name="connsiteY3" fmla="*/ 10731 h 42922"/>
                  <a:gd name="connsiteX4" fmla="*/ 11488 w 42922"/>
                  <a:gd name="connsiteY4" fmla="*/ 25038 h 42922"/>
                  <a:gd name="connsiteX5" fmla="*/ 10772 w 42922"/>
                  <a:gd name="connsiteY5" fmla="*/ 24037 h 42922"/>
                  <a:gd name="connsiteX6" fmla="*/ 23506 w 42922"/>
                  <a:gd name="connsiteY6"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3506" y="39346"/>
                    </a:moveTo>
                    <a:cubicBezTo>
                      <a:pt x="31408" y="39978"/>
                      <a:pt x="38326" y="34085"/>
                      <a:pt x="38958" y="26183"/>
                    </a:cubicBezTo>
                    <a:cubicBezTo>
                      <a:pt x="39590" y="18281"/>
                      <a:pt x="33697" y="11363"/>
                      <a:pt x="25795" y="10731"/>
                    </a:cubicBezTo>
                    <a:lnTo>
                      <a:pt x="25795" y="10731"/>
                    </a:lnTo>
                    <a:cubicBezTo>
                      <a:pt x="17893" y="10731"/>
                      <a:pt x="11488" y="17136"/>
                      <a:pt x="11488" y="25038"/>
                    </a:cubicBezTo>
                    <a:lnTo>
                      <a:pt x="10772" y="24037"/>
                    </a:lnTo>
                    <a:cubicBezTo>
                      <a:pt x="10187" y="31741"/>
                      <a:pt x="15824" y="38517"/>
                      <a:pt x="23506" y="3934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77" name="Freeform: Shape 476">
                <a:extLst>
                  <a:ext uri="{FF2B5EF4-FFF2-40B4-BE49-F238E27FC236}">
                    <a16:creationId xmlns:a16="http://schemas.microsoft.com/office/drawing/2014/main" id="{BDEE832E-ED9D-405B-B705-EC1729F6C98F}"/>
                  </a:ext>
                </a:extLst>
              </p:cNvPr>
              <p:cNvSpPr/>
              <p:nvPr/>
            </p:nvSpPr>
            <p:spPr>
              <a:xfrm>
                <a:off x="6097271" y="5559651"/>
                <a:ext cx="28615" cy="28615"/>
              </a:xfrm>
              <a:custGeom>
                <a:avLst/>
                <a:gdLst>
                  <a:gd name="connsiteX0" fmla="*/ 20174 w 28614"/>
                  <a:gd name="connsiteY0" fmla="*/ 10731 h 28614"/>
                  <a:gd name="connsiteX1" fmla="*/ 10731 w 28614"/>
                  <a:gd name="connsiteY1" fmla="*/ 20174 h 28614"/>
                  <a:gd name="connsiteX2" fmla="*/ 20174 w 28614"/>
                  <a:gd name="connsiteY2" fmla="*/ 29330 h 28614"/>
                  <a:gd name="connsiteX3" fmla="*/ 29472 w 28614"/>
                  <a:gd name="connsiteY3" fmla="*/ 20318 h 28614"/>
                  <a:gd name="connsiteX4" fmla="*/ 29473 w 28614"/>
                  <a:gd name="connsiteY4" fmla="*/ 20174 h 28614"/>
                  <a:gd name="connsiteX5" fmla="*/ 20174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174" y="10731"/>
                    </a:moveTo>
                    <a:cubicBezTo>
                      <a:pt x="15021" y="10879"/>
                      <a:pt x="10880" y="15021"/>
                      <a:pt x="10731" y="20174"/>
                    </a:cubicBezTo>
                    <a:cubicBezTo>
                      <a:pt x="10885" y="25277"/>
                      <a:pt x="15069" y="29333"/>
                      <a:pt x="20174" y="29330"/>
                    </a:cubicBezTo>
                    <a:cubicBezTo>
                      <a:pt x="25230" y="29409"/>
                      <a:pt x="29393" y="25374"/>
                      <a:pt x="29472" y="20318"/>
                    </a:cubicBezTo>
                    <a:cubicBezTo>
                      <a:pt x="29473" y="20269"/>
                      <a:pt x="29473" y="20222"/>
                      <a:pt x="29473" y="20174"/>
                    </a:cubicBezTo>
                    <a:cubicBezTo>
                      <a:pt x="29473" y="15014"/>
                      <a:pt x="25333" y="10809"/>
                      <a:pt x="20174"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78" name="Freeform: Shape 477">
                <a:extLst>
                  <a:ext uri="{FF2B5EF4-FFF2-40B4-BE49-F238E27FC236}">
                    <a16:creationId xmlns:a16="http://schemas.microsoft.com/office/drawing/2014/main" id="{68F813E4-10F4-4479-80A7-82E0C2F9130C}"/>
                  </a:ext>
                </a:extLst>
              </p:cNvPr>
              <p:cNvSpPr/>
              <p:nvPr/>
            </p:nvSpPr>
            <p:spPr>
              <a:xfrm>
                <a:off x="6013459" y="5708478"/>
                <a:ext cx="42922" cy="28615"/>
              </a:xfrm>
              <a:custGeom>
                <a:avLst/>
                <a:gdLst>
                  <a:gd name="connsiteX0" fmla="*/ 18141 w 42922"/>
                  <a:gd name="connsiteY0" fmla="*/ 30731 h 28614"/>
                  <a:gd name="connsiteX1" fmla="*/ 23721 w 42922"/>
                  <a:gd name="connsiteY1" fmla="*/ 30731 h 28614"/>
                  <a:gd name="connsiteX2" fmla="*/ 33879 w 42922"/>
                  <a:gd name="connsiteY2" fmla="*/ 20859 h 28614"/>
                  <a:gd name="connsiteX3" fmla="*/ 23721 w 42922"/>
                  <a:gd name="connsiteY3" fmla="*/ 11130 h 28614"/>
                  <a:gd name="connsiteX4" fmla="*/ 11147 w 42922"/>
                  <a:gd name="connsiteY4" fmla="*/ 18079 h 28614"/>
                  <a:gd name="connsiteX5" fmla="*/ 11130 w 42922"/>
                  <a:gd name="connsiteY5" fmla="*/ 18141 h 28614"/>
                  <a:gd name="connsiteX6" fmla="*/ 18079 w 42922"/>
                  <a:gd name="connsiteY6" fmla="*/ 30714 h 28614"/>
                  <a:gd name="connsiteX7" fmla="*/ 18141 w 42922"/>
                  <a:gd name="connsiteY7" fmla="*/ 3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28614">
                    <a:moveTo>
                      <a:pt x="18141" y="30731"/>
                    </a:moveTo>
                    <a:cubicBezTo>
                      <a:pt x="19976" y="31159"/>
                      <a:pt x="21885" y="31159"/>
                      <a:pt x="23721" y="30731"/>
                    </a:cubicBezTo>
                    <a:cubicBezTo>
                      <a:pt x="29190" y="30660"/>
                      <a:pt x="33651" y="26325"/>
                      <a:pt x="33879" y="20859"/>
                    </a:cubicBezTo>
                    <a:cubicBezTo>
                      <a:pt x="33649" y="15417"/>
                      <a:pt x="29167" y="11126"/>
                      <a:pt x="23721" y="11130"/>
                    </a:cubicBezTo>
                    <a:cubicBezTo>
                      <a:pt x="18329" y="9578"/>
                      <a:pt x="12701" y="12688"/>
                      <a:pt x="11147" y="18079"/>
                    </a:cubicBezTo>
                    <a:cubicBezTo>
                      <a:pt x="11141" y="18101"/>
                      <a:pt x="11136" y="18121"/>
                      <a:pt x="11130" y="18141"/>
                    </a:cubicBezTo>
                    <a:cubicBezTo>
                      <a:pt x="9578" y="23532"/>
                      <a:pt x="12688" y="29162"/>
                      <a:pt x="18079" y="30714"/>
                    </a:cubicBezTo>
                    <a:cubicBezTo>
                      <a:pt x="18101" y="30720"/>
                      <a:pt x="18121" y="30726"/>
                      <a:pt x="18141" y="3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79" name="Freeform: Shape 478">
                <a:extLst>
                  <a:ext uri="{FF2B5EF4-FFF2-40B4-BE49-F238E27FC236}">
                    <a16:creationId xmlns:a16="http://schemas.microsoft.com/office/drawing/2014/main" id="{9499F67A-E0AD-4FF6-A184-C91BB71828D5}"/>
                  </a:ext>
                </a:extLst>
              </p:cNvPr>
              <p:cNvSpPr/>
              <p:nvPr/>
            </p:nvSpPr>
            <p:spPr>
              <a:xfrm>
                <a:off x="5935740" y="5558359"/>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3336 w 42922"/>
                  <a:gd name="connsiteY5" fmla="*/ 22180 h 42922"/>
                  <a:gd name="connsiteX6" fmla="*/ 22467 w 42922"/>
                  <a:gd name="connsiteY6" fmla="*/ 10737 h 42922"/>
                  <a:gd name="connsiteX7" fmla="*/ 22320 w 42922"/>
                  <a:gd name="connsiteY7"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276" y="33483"/>
                      <a:pt x="33336" y="28423"/>
                      <a:pt x="33336" y="22180"/>
                    </a:cubicBezTo>
                    <a:cubicBezTo>
                      <a:pt x="33495" y="16020"/>
                      <a:pt x="28629" y="10896"/>
                      <a:pt x="22467" y="10737"/>
                    </a:cubicBezTo>
                    <a:cubicBezTo>
                      <a:pt x="22418" y="10736"/>
                      <a:pt x="22368" y="10734"/>
                      <a:pt x="22320" y="1073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80" name="Freeform: Shape 479">
                <a:extLst>
                  <a:ext uri="{FF2B5EF4-FFF2-40B4-BE49-F238E27FC236}">
                    <a16:creationId xmlns:a16="http://schemas.microsoft.com/office/drawing/2014/main" id="{DFB2DC47-A1F5-4F19-A9E3-E60456FB167F}"/>
                  </a:ext>
                </a:extLst>
              </p:cNvPr>
              <p:cNvSpPr/>
              <p:nvPr/>
            </p:nvSpPr>
            <p:spPr>
              <a:xfrm>
                <a:off x="6096842" y="5759383"/>
                <a:ext cx="28615" cy="28615"/>
              </a:xfrm>
              <a:custGeom>
                <a:avLst/>
                <a:gdLst>
                  <a:gd name="connsiteX0" fmla="*/ 20603 w 28614"/>
                  <a:gd name="connsiteY0" fmla="*/ 10731 h 28614"/>
                  <a:gd name="connsiteX1" fmla="*/ 20603 w 28614"/>
                  <a:gd name="connsiteY1" fmla="*/ 10731 h 28614"/>
                  <a:gd name="connsiteX2" fmla="*/ 10731 w 28614"/>
                  <a:gd name="connsiteY2" fmla="*/ 20603 h 28614"/>
                  <a:gd name="connsiteX3" fmla="*/ 20603 w 28614"/>
                  <a:gd name="connsiteY3" fmla="*/ 30475 h 28614"/>
                  <a:gd name="connsiteX4" fmla="*/ 29903 w 28614"/>
                  <a:gd name="connsiteY4" fmla="*/ 21175 h 28614"/>
                  <a:gd name="connsiteX5" fmla="*/ 29903 w 28614"/>
                  <a:gd name="connsiteY5" fmla="*/ 20174 h 28614"/>
                  <a:gd name="connsiteX6" fmla="*/ 20603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603" y="10731"/>
                    </a:moveTo>
                    <a:lnTo>
                      <a:pt x="20603" y="10731"/>
                    </a:lnTo>
                    <a:cubicBezTo>
                      <a:pt x="15150" y="10731"/>
                      <a:pt x="10731" y="15150"/>
                      <a:pt x="10731" y="20603"/>
                    </a:cubicBezTo>
                    <a:cubicBezTo>
                      <a:pt x="10731" y="26055"/>
                      <a:pt x="15150" y="30475"/>
                      <a:pt x="20603" y="30475"/>
                    </a:cubicBezTo>
                    <a:cubicBezTo>
                      <a:pt x="25739" y="30475"/>
                      <a:pt x="29903" y="26311"/>
                      <a:pt x="29903" y="21175"/>
                    </a:cubicBezTo>
                    <a:lnTo>
                      <a:pt x="29903" y="20174"/>
                    </a:lnTo>
                    <a:cubicBezTo>
                      <a:pt x="29903" y="15014"/>
                      <a:pt x="25762" y="10809"/>
                      <a:pt x="2060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81" name="Freeform: Shape 480">
                <a:extLst>
                  <a:ext uri="{FF2B5EF4-FFF2-40B4-BE49-F238E27FC236}">
                    <a16:creationId xmlns:a16="http://schemas.microsoft.com/office/drawing/2014/main" id="{81B58B62-AD06-4D7B-9BA5-E2272BDD1615}"/>
                  </a:ext>
                </a:extLst>
              </p:cNvPr>
              <p:cNvSpPr/>
              <p:nvPr/>
            </p:nvSpPr>
            <p:spPr>
              <a:xfrm>
                <a:off x="6037037" y="5569094"/>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82" name="Freeform: Shape 481">
                <a:extLst>
                  <a:ext uri="{FF2B5EF4-FFF2-40B4-BE49-F238E27FC236}">
                    <a16:creationId xmlns:a16="http://schemas.microsoft.com/office/drawing/2014/main" id="{30FDBFFD-1E91-40DA-9DB0-A6B616DBD6E0}"/>
                  </a:ext>
                </a:extLst>
              </p:cNvPr>
              <p:cNvSpPr/>
              <p:nvPr/>
            </p:nvSpPr>
            <p:spPr>
              <a:xfrm>
                <a:off x="6013467" y="5559974"/>
                <a:ext cx="42922" cy="28615"/>
              </a:xfrm>
              <a:custGeom>
                <a:avLst/>
                <a:gdLst>
                  <a:gd name="connsiteX0" fmla="*/ 18133 w 42922"/>
                  <a:gd name="connsiteY0" fmla="*/ 30724 h 28614"/>
                  <a:gd name="connsiteX1" fmla="*/ 23713 w 42922"/>
                  <a:gd name="connsiteY1" fmla="*/ 30724 h 28614"/>
                  <a:gd name="connsiteX2" fmla="*/ 33871 w 42922"/>
                  <a:gd name="connsiteY2" fmla="*/ 20995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60" y="30728"/>
                      <a:pt x="33641" y="26437"/>
                      <a:pt x="33871" y="20995"/>
                    </a:cubicBezTo>
                    <a:cubicBezTo>
                      <a:pt x="33644" y="15529"/>
                      <a:pt x="29183" y="11194"/>
                      <a:pt x="23713" y="11123"/>
                    </a:cubicBezTo>
                    <a:cubicBezTo>
                      <a:pt x="18301" y="9582"/>
                      <a:pt x="12664" y="12721"/>
                      <a:pt x="11123" y="18133"/>
                    </a:cubicBezTo>
                    <a:cubicBezTo>
                      <a:pt x="9582" y="23546"/>
                      <a:pt x="12721" y="29183"/>
                      <a:pt x="18133" y="3072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83" name="Freeform: Shape 482">
                <a:extLst>
                  <a:ext uri="{FF2B5EF4-FFF2-40B4-BE49-F238E27FC236}">
                    <a16:creationId xmlns:a16="http://schemas.microsoft.com/office/drawing/2014/main" id="{4FDC357A-64C9-4B97-B766-5280BE3A9940}"/>
                  </a:ext>
                </a:extLst>
              </p:cNvPr>
              <p:cNvSpPr/>
              <p:nvPr/>
            </p:nvSpPr>
            <p:spPr>
              <a:xfrm>
                <a:off x="6037037" y="5718178"/>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84" name="Freeform: Shape 483">
                <a:extLst>
                  <a:ext uri="{FF2B5EF4-FFF2-40B4-BE49-F238E27FC236}">
                    <a16:creationId xmlns:a16="http://schemas.microsoft.com/office/drawing/2014/main" id="{53CB6BF1-4529-4533-A6DF-54AEAED6E40D}"/>
                  </a:ext>
                </a:extLst>
              </p:cNvPr>
              <p:cNvSpPr/>
              <p:nvPr/>
            </p:nvSpPr>
            <p:spPr>
              <a:xfrm>
                <a:off x="6257370" y="5710738"/>
                <a:ext cx="28615" cy="28615"/>
              </a:xfrm>
              <a:custGeom>
                <a:avLst/>
                <a:gdLst>
                  <a:gd name="connsiteX0" fmla="*/ 18459 w 28614"/>
                  <a:gd name="connsiteY0" fmla="*/ 10731 h 28614"/>
                  <a:gd name="connsiteX1" fmla="*/ 11019 w 28614"/>
                  <a:gd name="connsiteY1" fmla="*/ 18171 h 28614"/>
                  <a:gd name="connsiteX2" fmla="*/ 16129 w 28614"/>
                  <a:gd name="connsiteY2" fmla="*/ 27367 h 28614"/>
                  <a:gd name="connsiteX3" fmla="*/ 25326 w 28614"/>
                  <a:gd name="connsiteY3" fmla="*/ 22258 h 28614"/>
                  <a:gd name="connsiteX4" fmla="*/ 25326 w 28614"/>
                  <a:gd name="connsiteY4" fmla="*/ 18171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1"/>
                    </a:cubicBezTo>
                    <a:cubicBezTo>
                      <a:pt x="9890" y="22121"/>
                      <a:pt x="12178" y="26238"/>
                      <a:pt x="16129" y="27367"/>
                    </a:cubicBezTo>
                    <a:cubicBezTo>
                      <a:pt x="20080" y="28496"/>
                      <a:pt x="24197" y="26208"/>
                      <a:pt x="25326" y="22258"/>
                    </a:cubicBezTo>
                    <a:cubicBezTo>
                      <a:pt x="25708" y="20922"/>
                      <a:pt x="25708" y="19507"/>
                      <a:pt x="25326" y="18171"/>
                    </a:cubicBezTo>
                    <a:cubicBezTo>
                      <a:pt x="25338" y="14275"/>
                      <a:pt x="22343" y="11030"/>
                      <a:pt x="18459"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85" name="Freeform: Shape 484">
                <a:extLst>
                  <a:ext uri="{FF2B5EF4-FFF2-40B4-BE49-F238E27FC236}">
                    <a16:creationId xmlns:a16="http://schemas.microsoft.com/office/drawing/2014/main" id="{7FEF9CD3-2BA8-46CB-8EEB-9FCAE68973C8}"/>
                  </a:ext>
                </a:extLst>
              </p:cNvPr>
              <p:cNvSpPr/>
              <p:nvPr/>
            </p:nvSpPr>
            <p:spPr>
              <a:xfrm>
                <a:off x="6097271" y="5610299"/>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08" y="25071"/>
                      <a:pt x="14990" y="29253"/>
                      <a:pt x="20174" y="29330"/>
                    </a:cubicBezTo>
                    <a:cubicBezTo>
                      <a:pt x="25333" y="29252"/>
                      <a:pt x="29473" y="25047"/>
                      <a:pt x="29473" y="19887"/>
                    </a:cubicBezTo>
                    <a:cubicBezTo>
                      <a:pt x="29395" y="14807"/>
                      <a:pt x="25254" y="10731"/>
                      <a:pt x="20174"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86" name="Freeform: Shape 485">
                <a:extLst>
                  <a:ext uri="{FF2B5EF4-FFF2-40B4-BE49-F238E27FC236}">
                    <a16:creationId xmlns:a16="http://schemas.microsoft.com/office/drawing/2014/main" id="{0E37EABD-FA59-453A-A1E9-FEC1207BAB18}"/>
                  </a:ext>
                </a:extLst>
              </p:cNvPr>
              <p:cNvSpPr/>
              <p:nvPr/>
            </p:nvSpPr>
            <p:spPr>
              <a:xfrm>
                <a:off x="6257658" y="5762388"/>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87" name="Freeform: Shape 486">
                <a:extLst>
                  <a:ext uri="{FF2B5EF4-FFF2-40B4-BE49-F238E27FC236}">
                    <a16:creationId xmlns:a16="http://schemas.microsoft.com/office/drawing/2014/main" id="{33DC6C05-3D74-45C6-888E-CB4D2324962A}"/>
                  </a:ext>
                </a:extLst>
              </p:cNvPr>
              <p:cNvSpPr/>
              <p:nvPr/>
            </p:nvSpPr>
            <p:spPr>
              <a:xfrm>
                <a:off x="5935740" y="5657796"/>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88" name="Freeform: Shape 487">
                <a:extLst>
                  <a:ext uri="{FF2B5EF4-FFF2-40B4-BE49-F238E27FC236}">
                    <a16:creationId xmlns:a16="http://schemas.microsoft.com/office/drawing/2014/main" id="{F110B0D5-EBCC-462E-96AB-E1AC4B94DFDE}"/>
                  </a:ext>
                </a:extLst>
              </p:cNvPr>
              <p:cNvSpPr/>
              <p:nvPr/>
            </p:nvSpPr>
            <p:spPr>
              <a:xfrm>
                <a:off x="5934604" y="5757164"/>
                <a:ext cx="42922" cy="42922"/>
              </a:xfrm>
              <a:custGeom>
                <a:avLst/>
                <a:gdLst>
                  <a:gd name="connsiteX0" fmla="*/ 23455 w 42922"/>
                  <a:gd name="connsiteY0" fmla="*/ 10803 h 42922"/>
                  <a:gd name="connsiteX1" fmla="*/ 10803 w 42922"/>
                  <a:gd name="connsiteY1" fmla="*/ 20900 h 42922"/>
                  <a:gd name="connsiteX2" fmla="*/ 20900 w 42922"/>
                  <a:gd name="connsiteY2" fmla="*/ 33552 h 42922"/>
                  <a:gd name="connsiteX3" fmla="*/ 23455 w 42922"/>
                  <a:gd name="connsiteY3" fmla="*/ 33552 h 42922"/>
                  <a:gd name="connsiteX4" fmla="*/ 23455 w 42922"/>
                  <a:gd name="connsiteY4" fmla="*/ 33552 h 42922"/>
                  <a:gd name="connsiteX5" fmla="*/ 34757 w 42922"/>
                  <a:gd name="connsiteY5" fmla="*/ 22537 h 42922"/>
                  <a:gd name="connsiteX6" fmla="*/ 34758 w 42922"/>
                  <a:gd name="connsiteY6" fmla="*/ 22392 h 42922"/>
                  <a:gd name="connsiteX7" fmla="*/ 23744 w 42922"/>
                  <a:gd name="connsiteY7" fmla="*/ 10807 h 42922"/>
                  <a:gd name="connsiteX8" fmla="*/ 23455 w 42922"/>
                  <a:gd name="connsiteY8" fmla="*/ 1080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22" h="42922">
                    <a:moveTo>
                      <a:pt x="23455" y="10803"/>
                    </a:moveTo>
                    <a:cubicBezTo>
                      <a:pt x="17173" y="10098"/>
                      <a:pt x="11509" y="14618"/>
                      <a:pt x="10803" y="20900"/>
                    </a:cubicBezTo>
                    <a:cubicBezTo>
                      <a:pt x="10098" y="27182"/>
                      <a:pt x="14618" y="32847"/>
                      <a:pt x="20900" y="33552"/>
                    </a:cubicBezTo>
                    <a:cubicBezTo>
                      <a:pt x="21748" y="33648"/>
                      <a:pt x="22607" y="33648"/>
                      <a:pt x="23455" y="33552"/>
                    </a:cubicBezTo>
                    <a:lnTo>
                      <a:pt x="23455" y="33552"/>
                    </a:lnTo>
                    <a:cubicBezTo>
                      <a:pt x="29618" y="33631"/>
                      <a:pt x="34678" y="28699"/>
                      <a:pt x="34757" y="22537"/>
                    </a:cubicBezTo>
                    <a:cubicBezTo>
                      <a:pt x="34758" y="22488"/>
                      <a:pt x="34758" y="22441"/>
                      <a:pt x="34758" y="22392"/>
                    </a:cubicBezTo>
                    <a:cubicBezTo>
                      <a:pt x="34916" y="16151"/>
                      <a:pt x="29985" y="10965"/>
                      <a:pt x="23744" y="10807"/>
                    </a:cubicBezTo>
                    <a:cubicBezTo>
                      <a:pt x="23648" y="10805"/>
                      <a:pt x="23551" y="10803"/>
                      <a:pt x="23455" y="1080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89" name="Freeform: Shape 488">
                <a:extLst>
                  <a:ext uri="{FF2B5EF4-FFF2-40B4-BE49-F238E27FC236}">
                    <a16:creationId xmlns:a16="http://schemas.microsoft.com/office/drawing/2014/main" id="{ADD845BF-3A53-4579-BD3E-E36668391731}"/>
                  </a:ext>
                </a:extLst>
              </p:cNvPr>
              <p:cNvSpPr/>
              <p:nvPr/>
            </p:nvSpPr>
            <p:spPr>
              <a:xfrm>
                <a:off x="5935928" y="5609630"/>
                <a:ext cx="42922" cy="42922"/>
              </a:xfrm>
              <a:custGeom>
                <a:avLst/>
                <a:gdLst>
                  <a:gd name="connsiteX0" fmla="*/ 20558 w 42922"/>
                  <a:gd name="connsiteY0" fmla="*/ 10827 h 42922"/>
                  <a:gd name="connsiteX1" fmla="*/ 10829 w 42922"/>
                  <a:gd name="connsiteY1" fmla="*/ 20556 h 42922"/>
                  <a:gd name="connsiteX2" fmla="*/ 20558 w 42922"/>
                  <a:gd name="connsiteY2" fmla="*/ 33240 h 42922"/>
                  <a:gd name="connsiteX3" fmla="*/ 33241 w 42922"/>
                  <a:gd name="connsiteY3" fmla="*/ 23511 h 42922"/>
                  <a:gd name="connsiteX4" fmla="*/ 23512 w 42922"/>
                  <a:gd name="connsiteY4" fmla="*/ 10827 h 42922"/>
                  <a:gd name="connsiteX5" fmla="*/ 20558 w 42922"/>
                  <a:gd name="connsiteY5" fmla="*/ 1082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58" y="10827"/>
                    </a:moveTo>
                    <a:cubicBezTo>
                      <a:pt x="15510" y="11541"/>
                      <a:pt x="11543" y="15509"/>
                      <a:pt x="10829" y="20556"/>
                    </a:cubicBezTo>
                    <a:cubicBezTo>
                      <a:pt x="10013" y="26746"/>
                      <a:pt x="14368" y="32423"/>
                      <a:pt x="20558" y="33240"/>
                    </a:cubicBezTo>
                    <a:cubicBezTo>
                      <a:pt x="26747" y="34055"/>
                      <a:pt x="32424" y="29699"/>
                      <a:pt x="33241" y="23511"/>
                    </a:cubicBezTo>
                    <a:cubicBezTo>
                      <a:pt x="34057" y="17321"/>
                      <a:pt x="29700" y="11643"/>
                      <a:pt x="23512" y="10827"/>
                    </a:cubicBezTo>
                    <a:cubicBezTo>
                      <a:pt x="22531" y="10698"/>
                      <a:pt x="21538" y="10698"/>
                      <a:pt x="20558" y="1082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90" name="Freeform: Shape 489">
                <a:extLst>
                  <a:ext uri="{FF2B5EF4-FFF2-40B4-BE49-F238E27FC236}">
                    <a16:creationId xmlns:a16="http://schemas.microsoft.com/office/drawing/2014/main" id="{CC5F7561-89D9-4CB3-B11D-911C7A538E6E}"/>
                  </a:ext>
                </a:extLst>
              </p:cNvPr>
              <p:cNvSpPr/>
              <p:nvPr/>
            </p:nvSpPr>
            <p:spPr>
              <a:xfrm>
                <a:off x="5936026" y="5708632"/>
                <a:ext cx="42922" cy="28615"/>
              </a:xfrm>
              <a:custGeom>
                <a:avLst/>
                <a:gdLst>
                  <a:gd name="connsiteX0" fmla="*/ 20460 w 42922"/>
                  <a:gd name="connsiteY0" fmla="*/ 10833 h 28614"/>
                  <a:gd name="connsiteX1" fmla="*/ 10731 w 42922"/>
                  <a:gd name="connsiteY1" fmla="*/ 20705 h 28614"/>
                  <a:gd name="connsiteX2" fmla="*/ 23407 w 42922"/>
                  <a:gd name="connsiteY2" fmla="*/ 30441 h 28614"/>
                  <a:gd name="connsiteX3" fmla="*/ 23464 w 42922"/>
                  <a:gd name="connsiteY3" fmla="*/ 30434 h 28614"/>
                  <a:gd name="connsiteX4" fmla="*/ 33193 w 42922"/>
                  <a:gd name="connsiteY4" fmla="*/ 20705 h 28614"/>
                  <a:gd name="connsiteX5" fmla="*/ 20640 w 42922"/>
                  <a:gd name="connsiteY5" fmla="*/ 10810 h 28614"/>
                  <a:gd name="connsiteX6" fmla="*/ 20460 w 42922"/>
                  <a:gd name="connsiteY6" fmla="*/ 108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28614">
                    <a:moveTo>
                      <a:pt x="20460" y="10833"/>
                    </a:moveTo>
                    <a:cubicBezTo>
                      <a:pt x="15366" y="11563"/>
                      <a:pt x="11386" y="15602"/>
                      <a:pt x="10731" y="20705"/>
                    </a:cubicBezTo>
                    <a:cubicBezTo>
                      <a:pt x="11543" y="26895"/>
                      <a:pt x="17219" y="31254"/>
                      <a:pt x="23407" y="30441"/>
                    </a:cubicBezTo>
                    <a:cubicBezTo>
                      <a:pt x="23427" y="30440"/>
                      <a:pt x="23446" y="30437"/>
                      <a:pt x="23464" y="30434"/>
                    </a:cubicBezTo>
                    <a:cubicBezTo>
                      <a:pt x="28559" y="29813"/>
                      <a:pt x="32572" y="25800"/>
                      <a:pt x="33193" y="20705"/>
                    </a:cubicBezTo>
                    <a:cubicBezTo>
                      <a:pt x="32459" y="14506"/>
                      <a:pt x="26838" y="10076"/>
                      <a:pt x="20640" y="10810"/>
                    </a:cubicBezTo>
                    <a:cubicBezTo>
                      <a:pt x="20580" y="10817"/>
                      <a:pt x="20520" y="10824"/>
                      <a:pt x="20460" y="1083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91" name="Freeform: Shape 490">
                <a:extLst>
                  <a:ext uri="{FF2B5EF4-FFF2-40B4-BE49-F238E27FC236}">
                    <a16:creationId xmlns:a16="http://schemas.microsoft.com/office/drawing/2014/main" id="{ECBCD033-26E5-4007-92F1-CBB029D5314A}"/>
                  </a:ext>
                </a:extLst>
              </p:cNvPr>
              <p:cNvSpPr/>
              <p:nvPr/>
            </p:nvSpPr>
            <p:spPr>
              <a:xfrm>
                <a:off x="6257658" y="5661949"/>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92" name="Freeform: Shape 491">
                <a:extLst>
                  <a:ext uri="{FF2B5EF4-FFF2-40B4-BE49-F238E27FC236}">
                    <a16:creationId xmlns:a16="http://schemas.microsoft.com/office/drawing/2014/main" id="{741E25E6-4CF5-45C8-96D1-C9C6238CDFD2}"/>
                  </a:ext>
                </a:extLst>
              </p:cNvPr>
              <p:cNvSpPr/>
              <p:nvPr/>
            </p:nvSpPr>
            <p:spPr>
              <a:xfrm>
                <a:off x="6257658" y="5612016"/>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93" name="Freeform: Shape 492">
                <a:extLst>
                  <a:ext uri="{FF2B5EF4-FFF2-40B4-BE49-F238E27FC236}">
                    <a16:creationId xmlns:a16="http://schemas.microsoft.com/office/drawing/2014/main" id="{761F47E6-2814-44AE-93D7-B6CEE5520C25}"/>
                  </a:ext>
                </a:extLst>
              </p:cNvPr>
              <p:cNvSpPr/>
              <p:nvPr/>
            </p:nvSpPr>
            <p:spPr>
              <a:xfrm>
                <a:off x="5935130" y="5509346"/>
                <a:ext cx="42922" cy="28615"/>
              </a:xfrm>
              <a:custGeom>
                <a:avLst/>
                <a:gdLst>
                  <a:gd name="connsiteX0" fmla="*/ 23645 w 42922"/>
                  <a:gd name="connsiteY0" fmla="*/ 30417 h 28614"/>
                  <a:gd name="connsiteX1" fmla="*/ 33374 w 42922"/>
                  <a:gd name="connsiteY1" fmla="*/ 20688 h 28614"/>
                  <a:gd name="connsiteX2" fmla="*/ 20640 w 42922"/>
                  <a:gd name="connsiteY2" fmla="*/ 10816 h 28614"/>
                  <a:gd name="connsiteX3" fmla="*/ 10731 w 42922"/>
                  <a:gd name="connsiteY3" fmla="*/ 20937 h 28614"/>
                  <a:gd name="connsiteX4" fmla="*/ 20852 w 42922"/>
                  <a:gd name="connsiteY4" fmla="*/ 30845 h 28614"/>
                  <a:gd name="connsiteX5" fmla="*/ 23645 w 42922"/>
                  <a:gd name="connsiteY5" fmla="*/ 3041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645" y="30417"/>
                    </a:moveTo>
                    <a:cubicBezTo>
                      <a:pt x="28671" y="29659"/>
                      <a:pt x="32616" y="25714"/>
                      <a:pt x="33374" y="20688"/>
                    </a:cubicBezTo>
                    <a:cubicBezTo>
                      <a:pt x="32557" y="14461"/>
                      <a:pt x="26874" y="10056"/>
                      <a:pt x="20640" y="10816"/>
                    </a:cubicBezTo>
                    <a:cubicBezTo>
                      <a:pt x="15109" y="10874"/>
                      <a:pt x="10674" y="15406"/>
                      <a:pt x="10731" y="20937"/>
                    </a:cubicBezTo>
                    <a:cubicBezTo>
                      <a:pt x="10790" y="26467"/>
                      <a:pt x="15321" y="30904"/>
                      <a:pt x="20852" y="30845"/>
                    </a:cubicBezTo>
                    <a:cubicBezTo>
                      <a:pt x="21799" y="30835"/>
                      <a:pt x="22739" y="30690"/>
                      <a:pt x="23645" y="3041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94" name="Freeform: Shape 493">
                <a:extLst>
                  <a:ext uri="{FF2B5EF4-FFF2-40B4-BE49-F238E27FC236}">
                    <a16:creationId xmlns:a16="http://schemas.microsoft.com/office/drawing/2014/main" id="{2FD1A4EB-5779-4FDE-AD57-0D2118A43EDB}"/>
                  </a:ext>
                </a:extLst>
              </p:cNvPr>
              <p:cNvSpPr/>
              <p:nvPr/>
            </p:nvSpPr>
            <p:spPr>
              <a:xfrm>
                <a:off x="5379891" y="5912473"/>
                <a:ext cx="42922" cy="42922"/>
              </a:xfrm>
              <a:custGeom>
                <a:avLst/>
                <a:gdLst>
                  <a:gd name="connsiteX0" fmla="*/ 22180 w 42922"/>
                  <a:gd name="connsiteY0" fmla="*/ 10731 h 42922"/>
                  <a:gd name="connsiteX1" fmla="*/ 22180 w 42922"/>
                  <a:gd name="connsiteY1" fmla="*/ 10731 h 42922"/>
                  <a:gd name="connsiteX2" fmla="*/ 10734 w 42922"/>
                  <a:gd name="connsiteY2" fmla="*/ 21890 h 42922"/>
                  <a:gd name="connsiteX3" fmla="*/ 21891 w 42922"/>
                  <a:gd name="connsiteY3" fmla="*/ 33618 h 42922"/>
                  <a:gd name="connsiteX4" fmla="*/ 33619 w 42922"/>
                  <a:gd name="connsiteY4" fmla="*/ 22461 h 42922"/>
                  <a:gd name="connsiteX5" fmla="*/ 22462 w 42922"/>
                  <a:gd name="connsiteY5" fmla="*/ 10733 h 42922"/>
                  <a:gd name="connsiteX6" fmla="*/ 22323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180" y="10731"/>
                    </a:moveTo>
                    <a:lnTo>
                      <a:pt x="22180" y="10731"/>
                    </a:lnTo>
                    <a:cubicBezTo>
                      <a:pt x="15969" y="10729"/>
                      <a:pt x="10890" y="15681"/>
                      <a:pt x="10734" y="21890"/>
                    </a:cubicBezTo>
                    <a:cubicBezTo>
                      <a:pt x="10577" y="28210"/>
                      <a:pt x="15572" y="33461"/>
                      <a:pt x="21891" y="33618"/>
                    </a:cubicBezTo>
                    <a:cubicBezTo>
                      <a:pt x="28211" y="33776"/>
                      <a:pt x="33462" y="28781"/>
                      <a:pt x="33619" y="22461"/>
                    </a:cubicBezTo>
                    <a:cubicBezTo>
                      <a:pt x="33776" y="16142"/>
                      <a:pt x="28782" y="10891"/>
                      <a:pt x="22462" y="10733"/>
                    </a:cubicBezTo>
                    <a:cubicBezTo>
                      <a:pt x="22416" y="10732"/>
                      <a:pt x="22369" y="10731"/>
                      <a:pt x="2232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95" name="Freeform: Shape 494">
                <a:extLst>
                  <a:ext uri="{FF2B5EF4-FFF2-40B4-BE49-F238E27FC236}">
                    <a16:creationId xmlns:a16="http://schemas.microsoft.com/office/drawing/2014/main" id="{CF71C6D4-8019-4390-A806-8F52ECEBB479}"/>
                  </a:ext>
                </a:extLst>
              </p:cNvPr>
              <p:cNvSpPr/>
              <p:nvPr/>
            </p:nvSpPr>
            <p:spPr>
              <a:xfrm>
                <a:off x="5300774" y="5875274"/>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lnTo>
                      <a:pt x="10731" y="10731"/>
                    </a:lnTo>
                    <a:cubicBezTo>
                      <a:pt x="10731" y="10731"/>
                      <a:pt x="10731" y="10731"/>
                      <a:pt x="10731"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96" name="Freeform: Shape 495">
                <a:extLst>
                  <a:ext uri="{FF2B5EF4-FFF2-40B4-BE49-F238E27FC236}">
                    <a16:creationId xmlns:a16="http://schemas.microsoft.com/office/drawing/2014/main" id="{1FF2108C-EE97-4643-BB76-9D51395C8810}"/>
                  </a:ext>
                </a:extLst>
              </p:cNvPr>
              <p:cNvSpPr/>
              <p:nvPr/>
            </p:nvSpPr>
            <p:spPr>
              <a:xfrm>
                <a:off x="5301632" y="5813604"/>
                <a:ext cx="28615" cy="28615"/>
              </a:xfrm>
              <a:custGeom>
                <a:avLst/>
                <a:gdLst>
                  <a:gd name="connsiteX0" fmla="*/ 21032 w 28614"/>
                  <a:gd name="connsiteY0" fmla="*/ 10735 h 28614"/>
                  <a:gd name="connsiteX1" fmla="*/ 21032 w 28614"/>
                  <a:gd name="connsiteY1" fmla="*/ 10735 h 28614"/>
                  <a:gd name="connsiteX2" fmla="*/ 10731 w 28614"/>
                  <a:gd name="connsiteY2" fmla="*/ 21036 h 28614"/>
                  <a:gd name="connsiteX3" fmla="*/ 21032 w 28614"/>
                  <a:gd name="connsiteY3" fmla="*/ 31338 h 28614"/>
                  <a:gd name="connsiteX4" fmla="*/ 21032 w 28614"/>
                  <a:gd name="connsiteY4" fmla="*/ 31338 h 28614"/>
                  <a:gd name="connsiteX5" fmla="*/ 31476 w 28614"/>
                  <a:gd name="connsiteY5" fmla="*/ 20893 h 28614"/>
                  <a:gd name="connsiteX6" fmla="*/ 21322 w 28614"/>
                  <a:gd name="connsiteY6" fmla="*/ 10731 h 28614"/>
                  <a:gd name="connsiteX7" fmla="*/ 21032 w 28614"/>
                  <a:gd name="connsiteY7"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5"/>
                    </a:moveTo>
                    <a:lnTo>
                      <a:pt x="21032" y="10735"/>
                    </a:lnTo>
                    <a:cubicBezTo>
                      <a:pt x="15343" y="10735"/>
                      <a:pt x="10731" y="15348"/>
                      <a:pt x="10731" y="21036"/>
                    </a:cubicBezTo>
                    <a:cubicBezTo>
                      <a:pt x="10731" y="26725"/>
                      <a:pt x="15343" y="31338"/>
                      <a:pt x="21032" y="31338"/>
                    </a:cubicBezTo>
                    <a:lnTo>
                      <a:pt x="21032" y="31338"/>
                    </a:lnTo>
                    <a:cubicBezTo>
                      <a:pt x="26801" y="31338"/>
                      <a:pt x="31476" y="26662"/>
                      <a:pt x="31476" y="20893"/>
                    </a:cubicBezTo>
                    <a:cubicBezTo>
                      <a:pt x="31479" y="15283"/>
                      <a:pt x="26932" y="10733"/>
                      <a:pt x="21322" y="10731"/>
                    </a:cubicBezTo>
                    <a:cubicBezTo>
                      <a:pt x="21225" y="10731"/>
                      <a:pt x="21129" y="10732"/>
                      <a:pt x="21032" y="1073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97" name="Freeform: Shape 496">
                <a:extLst>
                  <a:ext uri="{FF2B5EF4-FFF2-40B4-BE49-F238E27FC236}">
                    <a16:creationId xmlns:a16="http://schemas.microsoft.com/office/drawing/2014/main" id="{6DFA7455-58B3-4E54-9CB6-BD67B7996174}"/>
                  </a:ext>
                </a:extLst>
              </p:cNvPr>
              <p:cNvSpPr/>
              <p:nvPr/>
            </p:nvSpPr>
            <p:spPr>
              <a:xfrm>
                <a:off x="6177393" y="5965268"/>
                <a:ext cx="28615" cy="28615"/>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1"/>
                      <a:pt x="19182" y="10731"/>
                    </a:cubicBezTo>
                    <a:cubicBezTo>
                      <a:pt x="19178" y="10731"/>
                      <a:pt x="19175" y="10731"/>
                      <a:pt x="1917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98" name="Freeform: Shape 497">
                <a:extLst>
                  <a:ext uri="{FF2B5EF4-FFF2-40B4-BE49-F238E27FC236}">
                    <a16:creationId xmlns:a16="http://schemas.microsoft.com/office/drawing/2014/main" id="{E1934A89-A13D-470C-B93F-2364DBB063FE}"/>
                  </a:ext>
                </a:extLst>
              </p:cNvPr>
              <p:cNvSpPr/>
              <p:nvPr/>
            </p:nvSpPr>
            <p:spPr>
              <a:xfrm>
                <a:off x="5300774" y="6024358"/>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lnTo>
                      <a:pt x="10731" y="10731"/>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99" name="Freeform: Shape 498">
                <a:extLst>
                  <a:ext uri="{FF2B5EF4-FFF2-40B4-BE49-F238E27FC236}">
                    <a16:creationId xmlns:a16="http://schemas.microsoft.com/office/drawing/2014/main" id="{9B3F5260-04C4-434F-B782-A9BA0B1E709D}"/>
                  </a:ext>
                </a:extLst>
              </p:cNvPr>
              <p:cNvSpPr/>
              <p:nvPr/>
            </p:nvSpPr>
            <p:spPr>
              <a:xfrm>
                <a:off x="5300917" y="6013769"/>
                <a:ext cx="42922" cy="28615"/>
              </a:xfrm>
              <a:custGeom>
                <a:avLst/>
                <a:gdLst>
                  <a:gd name="connsiteX0" fmla="*/ 26469 w 42922"/>
                  <a:gd name="connsiteY0" fmla="*/ 11161 h 28614"/>
                  <a:gd name="connsiteX1" fmla="*/ 20746 w 42922"/>
                  <a:gd name="connsiteY1" fmla="*/ 11161 h 28614"/>
                  <a:gd name="connsiteX2" fmla="*/ 10731 w 42922"/>
                  <a:gd name="connsiteY2" fmla="*/ 20890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25" y="11158"/>
                      <a:pt x="10885" y="15470"/>
                      <a:pt x="10731" y="20890"/>
                    </a:cubicBezTo>
                    <a:cubicBezTo>
                      <a:pt x="10884" y="26333"/>
                      <a:pt x="15300" y="30688"/>
                      <a:pt x="20746" y="30762"/>
                    </a:cubicBezTo>
                    <a:cubicBezTo>
                      <a:pt x="26158" y="32343"/>
                      <a:pt x="31827" y="29236"/>
                      <a:pt x="33408" y="23823"/>
                    </a:cubicBezTo>
                    <a:cubicBezTo>
                      <a:pt x="34989" y="18411"/>
                      <a:pt x="31881" y="12742"/>
                      <a:pt x="26469" y="1116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00" name="Freeform: Shape 499">
                <a:extLst>
                  <a:ext uri="{FF2B5EF4-FFF2-40B4-BE49-F238E27FC236}">
                    <a16:creationId xmlns:a16="http://schemas.microsoft.com/office/drawing/2014/main" id="{DD9BAA6A-277A-4F2A-B7A6-561F08BB83F7}"/>
                  </a:ext>
                </a:extLst>
              </p:cNvPr>
              <p:cNvSpPr/>
              <p:nvPr/>
            </p:nvSpPr>
            <p:spPr>
              <a:xfrm>
                <a:off x="5379322" y="5864258"/>
                <a:ext cx="42922" cy="28615"/>
              </a:xfrm>
              <a:custGeom>
                <a:avLst/>
                <a:gdLst>
                  <a:gd name="connsiteX0" fmla="*/ 23464 w 42922"/>
                  <a:gd name="connsiteY0" fmla="*/ 30760 h 28614"/>
                  <a:gd name="connsiteX1" fmla="*/ 33374 w 42922"/>
                  <a:gd name="connsiteY1" fmla="*/ 20639 h 28614"/>
                  <a:gd name="connsiteX2" fmla="*/ 23253 w 42922"/>
                  <a:gd name="connsiteY2" fmla="*/ 10731 h 28614"/>
                  <a:gd name="connsiteX3" fmla="*/ 20460 w 42922"/>
                  <a:gd name="connsiteY3" fmla="*/ 11159 h 28614"/>
                  <a:gd name="connsiteX4" fmla="*/ 10731 w 42922"/>
                  <a:gd name="connsiteY4" fmla="*/ 20888 h 28614"/>
                  <a:gd name="connsiteX5" fmla="*/ 23284 w 42922"/>
                  <a:gd name="connsiteY5" fmla="*/ 30783 h 28614"/>
                  <a:gd name="connsiteX6" fmla="*/ 23464 w 42922"/>
                  <a:gd name="connsiteY6" fmla="*/ 3076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28614">
                    <a:moveTo>
                      <a:pt x="23464" y="30760"/>
                    </a:moveTo>
                    <a:cubicBezTo>
                      <a:pt x="28996" y="30702"/>
                      <a:pt x="33431" y="26170"/>
                      <a:pt x="33374" y="20639"/>
                    </a:cubicBezTo>
                    <a:cubicBezTo>
                      <a:pt x="33315" y="15109"/>
                      <a:pt x="28784" y="10673"/>
                      <a:pt x="23253" y="10731"/>
                    </a:cubicBezTo>
                    <a:cubicBezTo>
                      <a:pt x="22305" y="10741"/>
                      <a:pt x="21365" y="10886"/>
                      <a:pt x="20460" y="11159"/>
                    </a:cubicBezTo>
                    <a:cubicBezTo>
                      <a:pt x="15342" y="11730"/>
                      <a:pt x="11301" y="15770"/>
                      <a:pt x="10731" y="20888"/>
                    </a:cubicBezTo>
                    <a:cubicBezTo>
                      <a:pt x="11465" y="27088"/>
                      <a:pt x="17086" y="31517"/>
                      <a:pt x="23284" y="30783"/>
                    </a:cubicBezTo>
                    <a:cubicBezTo>
                      <a:pt x="23344" y="30776"/>
                      <a:pt x="23404" y="30769"/>
                      <a:pt x="23464" y="3076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01" name="Freeform: Shape 500">
                <a:extLst>
                  <a:ext uri="{FF2B5EF4-FFF2-40B4-BE49-F238E27FC236}">
                    <a16:creationId xmlns:a16="http://schemas.microsoft.com/office/drawing/2014/main" id="{2125BCFF-17BE-4558-93A1-F9DB1A9D7762}"/>
                  </a:ext>
                </a:extLst>
              </p:cNvPr>
              <p:cNvSpPr/>
              <p:nvPr/>
            </p:nvSpPr>
            <p:spPr>
              <a:xfrm>
                <a:off x="5301346" y="6062988"/>
                <a:ext cx="28615" cy="28615"/>
              </a:xfrm>
              <a:custGeom>
                <a:avLst/>
                <a:gdLst>
                  <a:gd name="connsiteX0" fmla="*/ 21032 w 28614"/>
                  <a:gd name="connsiteY0" fmla="*/ 10731 h 28614"/>
                  <a:gd name="connsiteX1" fmla="*/ 10731 w 28614"/>
                  <a:gd name="connsiteY1" fmla="*/ 21032 h 28614"/>
                  <a:gd name="connsiteX2" fmla="*/ 10731 w 28614"/>
                  <a:gd name="connsiteY2" fmla="*/ 21032 h 28614"/>
                  <a:gd name="connsiteX3" fmla="*/ 20888 w 28614"/>
                  <a:gd name="connsiteY3" fmla="*/ 31192 h 28614"/>
                  <a:gd name="connsiteX4" fmla="*/ 21032 w 28614"/>
                  <a:gd name="connsiteY4" fmla="*/ 31190 h 28614"/>
                  <a:gd name="connsiteX5" fmla="*/ 31333 w 28614"/>
                  <a:gd name="connsiteY5" fmla="*/ 21177 h 28614"/>
                  <a:gd name="connsiteX6" fmla="*/ 31333 w 28614"/>
                  <a:gd name="connsiteY6" fmla="*/ 21175 h 28614"/>
                  <a:gd name="connsiteX7" fmla="*/ 31333 w 28614"/>
                  <a:gd name="connsiteY7" fmla="*/ 21175 h 28614"/>
                  <a:gd name="connsiteX8" fmla="*/ 21032 w 28614"/>
                  <a:gd name="connsiteY8"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032" y="10731"/>
                    </a:moveTo>
                    <a:cubicBezTo>
                      <a:pt x="15343" y="10731"/>
                      <a:pt x="10731" y="15343"/>
                      <a:pt x="10731" y="21032"/>
                    </a:cubicBezTo>
                    <a:lnTo>
                      <a:pt x="10731" y="21032"/>
                    </a:lnTo>
                    <a:cubicBezTo>
                      <a:pt x="10731" y="26642"/>
                      <a:pt x="15278" y="31190"/>
                      <a:pt x="20888" y="31192"/>
                    </a:cubicBezTo>
                    <a:cubicBezTo>
                      <a:pt x="20936" y="31192"/>
                      <a:pt x="20983" y="31190"/>
                      <a:pt x="21032" y="31190"/>
                    </a:cubicBezTo>
                    <a:cubicBezTo>
                      <a:pt x="26642" y="31270"/>
                      <a:pt x="31253" y="26786"/>
                      <a:pt x="31333" y="21177"/>
                    </a:cubicBezTo>
                    <a:cubicBezTo>
                      <a:pt x="31333" y="21177"/>
                      <a:pt x="31333" y="21175"/>
                      <a:pt x="31333" y="21175"/>
                    </a:cubicBezTo>
                    <a:lnTo>
                      <a:pt x="31333" y="21175"/>
                    </a:lnTo>
                    <a:cubicBezTo>
                      <a:pt x="31333" y="15462"/>
                      <a:pt x="26745" y="10809"/>
                      <a:pt x="2103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02" name="Freeform: Shape 501">
                <a:extLst>
                  <a:ext uri="{FF2B5EF4-FFF2-40B4-BE49-F238E27FC236}">
                    <a16:creationId xmlns:a16="http://schemas.microsoft.com/office/drawing/2014/main" id="{6E5E465A-4037-4703-8994-C302363562F8}"/>
                  </a:ext>
                </a:extLst>
              </p:cNvPr>
              <p:cNvSpPr/>
              <p:nvPr/>
            </p:nvSpPr>
            <p:spPr>
              <a:xfrm>
                <a:off x="6257370" y="5866117"/>
                <a:ext cx="28615" cy="28615"/>
              </a:xfrm>
              <a:custGeom>
                <a:avLst/>
                <a:gdLst>
                  <a:gd name="connsiteX0" fmla="*/ 18459 w 28614"/>
                  <a:gd name="connsiteY0" fmla="*/ 10731 h 28614"/>
                  <a:gd name="connsiteX1" fmla="*/ 11019 w 28614"/>
                  <a:gd name="connsiteY1" fmla="*/ 18171 h 28614"/>
                  <a:gd name="connsiteX2" fmla="*/ 16129 w 28614"/>
                  <a:gd name="connsiteY2" fmla="*/ 27367 h 28614"/>
                  <a:gd name="connsiteX3" fmla="*/ 25326 w 28614"/>
                  <a:gd name="connsiteY3" fmla="*/ 22258 h 28614"/>
                  <a:gd name="connsiteX4" fmla="*/ 25326 w 28614"/>
                  <a:gd name="connsiteY4" fmla="*/ 18171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1"/>
                    </a:cubicBezTo>
                    <a:cubicBezTo>
                      <a:pt x="9890" y="22121"/>
                      <a:pt x="12178" y="26238"/>
                      <a:pt x="16129" y="27367"/>
                    </a:cubicBezTo>
                    <a:cubicBezTo>
                      <a:pt x="20080" y="28496"/>
                      <a:pt x="24197" y="26208"/>
                      <a:pt x="25326" y="22258"/>
                    </a:cubicBezTo>
                    <a:cubicBezTo>
                      <a:pt x="25708" y="20922"/>
                      <a:pt x="25708" y="19507"/>
                      <a:pt x="25326" y="18171"/>
                    </a:cubicBezTo>
                    <a:cubicBezTo>
                      <a:pt x="25338" y="14275"/>
                      <a:pt x="22343" y="11030"/>
                      <a:pt x="18459"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03" name="Freeform: Shape 502">
                <a:extLst>
                  <a:ext uri="{FF2B5EF4-FFF2-40B4-BE49-F238E27FC236}">
                    <a16:creationId xmlns:a16="http://schemas.microsoft.com/office/drawing/2014/main" id="{7E0049AC-7150-4D98-BE9F-5F7F7EBF8B5D}"/>
                  </a:ext>
                </a:extLst>
              </p:cNvPr>
              <p:cNvSpPr/>
              <p:nvPr/>
            </p:nvSpPr>
            <p:spPr>
              <a:xfrm>
                <a:off x="5300917" y="5864650"/>
                <a:ext cx="42922" cy="28615"/>
              </a:xfrm>
              <a:custGeom>
                <a:avLst/>
                <a:gdLst>
                  <a:gd name="connsiteX0" fmla="*/ 26469 w 42922"/>
                  <a:gd name="connsiteY0" fmla="*/ 11053 h 28614"/>
                  <a:gd name="connsiteX1" fmla="*/ 20746 w 42922"/>
                  <a:gd name="connsiteY1" fmla="*/ 11053 h 28614"/>
                  <a:gd name="connsiteX2" fmla="*/ 10731 w 42922"/>
                  <a:gd name="connsiteY2" fmla="*/ 20925 h 28614"/>
                  <a:gd name="connsiteX3" fmla="*/ 20746 w 42922"/>
                  <a:gd name="connsiteY3" fmla="*/ 30654 h 28614"/>
                  <a:gd name="connsiteX4" fmla="*/ 33480 w 42922"/>
                  <a:gd name="connsiteY4" fmla="*/ 23643 h 28614"/>
                  <a:gd name="connsiteX5" fmla="*/ 26469 w 42922"/>
                  <a:gd name="connsiteY5" fmla="*/ 1105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053"/>
                    </a:moveTo>
                    <a:cubicBezTo>
                      <a:pt x="24586" y="10623"/>
                      <a:pt x="22629" y="10623"/>
                      <a:pt x="20746" y="11053"/>
                    </a:cubicBezTo>
                    <a:cubicBezTo>
                      <a:pt x="15300" y="11127"/>
                      <a:pt x="10884" y="15482"/>
                      <a:pt x="10731" y="20925"/>
                    </a:cubicBezTo>
                    <a:cubicBezTo>
                      <a:pt x="10885" y="26344"/>
                      <a:pt x="15325" y="30655"/>
                      <a:pt x="20746" y="30654"/>
                    </a:cubicBezTo>
                    <a:cubicBezTo>
                      <a:pt x="26197" y="32220"/>
                      <a:pt x="31889" y="29087"/>
                      <a:pt x="33480" y="23643"/>
                    </a:cubicBezTo>
                    <a:cubicBezTo>
                      <a:pt x="34876" y="18248"/>
                      <a:pt x="31790" y="12706"/>
                      <a:pt x="26469" y="1105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04" name="Freeform: Shape 503">
                <a:extLst>
                  <a:ext uri="{FF2B5EF4-FFF2-40B4-BE49-F238E27FC236}">
                    <a16:creationId xmlns:a16="http://schemas.microsoft.com/office/drawing/2014/main" id="{7B6F7C69-842C-4C75-99C0-B7D188ACB940}"/>
                  </a:ext>
                </a:extLst>
              </p:cNvPr>
              <p:cNvSpPr/>
              <p:nvPr/>
            </p:nvSpPr>
            <p:spPr>
              <a:xfrm>
                <a:off x="5143712" y="5962987"/>
                <a:ext cx="28615" cy="28615"/>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7"/>
                      <a:pt x="21405" y="11007"/>
                    </a:cubicBezTo>
                    <a:cubicBezTo>
                      <a:pt x="16894" y="9828"/>
                      <a:pt x="12283" y="12528"/>
                      <a:pt x="11102" y="17038"/>
                    </a:cubicBezTo>
                    <a:cubicBezTo>
                      <a:pt x="10958" y="17593"/>
                      <a:pt x="10869" y="18162"/>
                      <a:pt x="10839" y="18735"/>
                    </a:cubicBezTo>
                    <a:cubicBezTo>
                      <a:pt x="10694" y="19587"/>
                      <a:pt x="10694" y="20457"/>
                      <a:pt x="10839" y="21310"/>
                    </a:cubicBezTo>
                    <a:cubicBezTo>
                      <a:pt x="11573" y="25880"/>
                      <a:pt x="15848" y="29006"/>
                      <a:pt x="20425" y="2832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05" name="Freeform: Shape 504">
                <a:extLst>
                  <a:ext uri="{FF2B5EF4-FFF2-40B4-BE49-F238E27FC236}">
                    <a16:creationId xmlns:a16="http://schemas.microsoft.com/office/drawing/2014/main" id="{B6466F2D-2558-4A3E-A378-BB8BCDEFF939}"/>
                  </a:ext>
                </a:extLst>
              </p:cNvPr>
              <p:cNvSpPr/>
              <p:nvPr/>
            </p:nvSpPr>
            <p:spPr>
              <a:xfrm>
                <a:off x="6177117" y="6015679"/>
                <a:ext cx="28615" cy="28615"/>
              </a:xfrm>
              <a:custGeom>
                <a:avLst/>
                <a:gdLst>
                  <a:gd name="connsiteX0" fmla="*/ 18018 w 28614"/>
                  <a:gd name="connsiteY0" fmla="*/ 10825 h 28614"/>
                  <a:gd name="connsiteX1" fmla="*/ 11007 w 28614"/>
                  <a:gd name="connsiteY1" fmla="*/ 17836 h 28614"/>
                  <a:gd name="connsiteX2" fmla="*/ 17038 w 28614"/>
                  <a:gd name="connsiteY2" fmla="*/ 28138 h 28614"/>
                  <a:gd name="connsiteX3" fmla="*/ 27340 w 28614"/>
                  <a:gd name="connsiteY3" fmla="*/ 22108 h 28614"/>
                  <a:gd name="connsiteX4" fmla="*/ 27604 w 28614"/>
                  <a:gd name="connsiteY4" fmla="*/ 20411 h 28614"/>
                  <a:gd name="connsiteX5" fmla="*/ 27604 w 28614"/>
                  <a:gd name="connsiteY5" fmla="*/ 17836 h 28614"/>
                  <a:gd name="connsiteX6" fmla="*/ 18018 w 28614"/>
                  <a:gd name="connsiteY6"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018" y="10825"/>
                    </a:moveTo>
                    <a:cubicBezTo>
                      <a:pt x="14409" y="11399"/>
                      <a:pt x="11581" y="14227"/>
                      <a:pt x="11007" y="17836"/>
                    </a:cubicBezTo>
                    <a:cubicBezTo>
                      <a:pt x="9828" y="22345"/>
                      <a:pt x="12528" y="26958"/>
                      <a:pt x="17038" y="28138"/>
                    </a:cubicBezTo>
                    <a:cubicBezTo>
                      <a:pt x="21549" y="29317"/>
                      <a:pt x="26162" y="26617"/>
                      <a:pt x="27340" y="22108"/>
                    </a:cubicBezTo>
                    <a:cubicBezTo>
                      <a:pt x="27486" y="21553"/>
                      <a:pt x="27574" y="20983"/>
                      <a:pt x="27604" y="20411"/>
                    </a:cubicBezTo>
                    <a:cubicBezTo>
                      <a:pt x="27748" y="19558"/>
                      <a:pt x="27748" y="18688"/>
                      <a:pt x="27604" y="17836"/>
                    </a:cubicBezTo>
                    <a:cubicBezTo>
                      <a:pt x="26871" y="13266"/>
                      <a:pt x="22595" y="10140"/>
                      <a:pt x="18018" y="1082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06" name="Freeform: Shape 505">
                <a:extLst>
                  <a:ext uri="{FF2B5EF4-FFF2-40B4-BE49-F238E27FC236}">
                    <a16:creationId xmlns:a16="http://schemas.microsoft.com/office/drawing/2014/main" id="{7B8ED1FF-CF3B-4E7C-8A91-7B0F48A0DBFA}"/>
                  </a:ext>
                </a:extLst>
              </p:cNvPr>
              <p:cNvSpPr/>
              <p:nvPr/>
            </p:nvSpPr>
            <p:spPr>
              <a:xfrm>
                <a:off x="5379322" y="5964068"/>
                <a:ext cx="28615" cy="28615"/>
              </a:xfrm>
              <a:custGeom>
                <a:avLst/>
                <a:gdLst>
                  <a:gd name="connsiteX0" fmla="*/ 23464 w 28614"/>
                  <a:gd name="connsiteY0" fmla="*/ 30387 h 28614"/>
                  <a:gd name="connsiteX1" fmla="*/ 30385 w 28614"/>
                  <a:gd name="connsiteY1" fmla="*/ 18030 h 28614"/>
                  <a:gd name="connsiteX2" fmla="*/ 18026 w 28614"/>
                  <a:gd name="connsiteY2" fmla="*/ 11110 h 28614"/>
                  <a:gd name="connsiteX3" fmla="*/ 10731 w 28614"/>
                  <a:gd name="connsiteY3" fmla="*/ 20658 h 28614"/>
                  <a:gd name="connsiteX4" fmla="*/ 23407 w 28614"/>
                  <a:gd name="connsiteY4" fmla="*/ 30395 h 28614"/>
                  <a:gd name="connsiteX5" fmla="*/ 23464 w 28614"/>
                  <a:gd name="connsiteY5" fmla="*/ 3038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464" y="30387"/>
                    </a:moveTo>
                    <a:cubicBezTo>
                      <a:pt x="28788" y="28887"/>
                      <a:pt x="31886" y="23352"/>
                      <a:pt x="30385" y="18030"/>
                    </a:cubicBezTo>
                    <a:cubicBezTo>
                      <a:pt x="28883" y="12706"/>
                      <a:pt x="23350" y="9607"/>
                      <a:pt x="18026" y="11110"/>
                    </a:cubicBezTo>
                    <a:cubicBezTo>
                      <a:pt x="13742" y="12317"/>
                      <a:pt x="10771" y="16207"/>
                      <a:pt x="10731" y="20658"/>
                    </a:cubicBezTo>
                    <a:cubicBezTo>
                      <a:pt x="11543" y="26848"/>
                      <a:pt x="17218" y="31207"/>
                      <a:pt x="23407" y="30395"/>
                    </a:cubicBezTo>
                    <a:cubicBezTo>
                      <a:pt x="23427" y="30393"/>
                      <a:pt x="23446" y="30390"/>
                      <a:pt x="23464" y="3038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07" name="Freeform: Shape 506">
                <a:extLst>
                  <a:ext uri="{FF2B5EF4-FFF2-40B4-BE49-F238E27FC236}">
                    <a16:creationId xmlns:a16="http://schemas.microsoft.com/office/drawing/2014/main" id="{BEC6234E-893F-45D0-802D-BFC3703B76EA}"/>
                  </a:ext>
                </a:extLst>
              </p:cNvPr>
              <p:cNvSpPr/>
              <p:nvPr/>
            </p:nvSpPr>
            <p:spPr>
              <a:xfrm>
                <a:off x="5379752" y="5812606"/>
                <a:ext cx="42922" cy="42922"/>
              </a:xfrm>
              <a:custGeom>
                <a:avLst/>
                <a:gdLst>
                  <a:gd name="connsiteX0" fmla="*/ 22319 w 42922"/>
                  <a:gd name="connsiteY0" fmla="*/ 10732 h 42922"/>
                  <a:gd name="connsiteX1" fmla="*/ 22319 w 42922"/>
                  <a:gd name="connsiteY1" fmla="*/ 10732 h 42922"/>
                  <a:gd name="connsiteX2" fmla="*/ 10732 w 42922"/>
                  <a:gd name="connsiteY2" fmla="*/ 22034 h 42922"/>
                  <a:gd name="connsiteX3" fmla="*/ 22034 w 42922"/>
                  <a:gd name="connsiteY3" fmla="*/ 33622 h 42922"/>
                  <a:gd name="connsiteX4" fmla="*/ 33622 w 42922"/>
                  <a:gd name="connsiteY4" fmla="*/ 22321 h 42922"/>
                  <a:gd name="connsiteX5" fmla="*/ 22321 w 42922"/>
                  <a:gd name="connsiteY5" fmla="*/ 10732 h 42922"/>
                  <a:gd name="connsiteX6" fmla="*/ 22319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19" y="10732"/>
                    </a:moveTo>
                    <a:lnTo>
                      <a:pt x="22319" y="10732"/>
                    </a:lnTo>
                    <a:cubicBezTo>
                      <a:pt x="15998" y="10653"/>
                      <a:pt x="10810" y="15713"/>
                      <a:pt x="10732" y="22034"/>
                    </a:cubicBezTo>
                    <a:cubicBezTo>
                      <a:pt x="10653" y="28355"/>
                      <a:pt x="15713" y="33543"/>
                      <a:pt x="22034" y="33622"/>
                    </a:cubicBezTo>
                    <a:cubicBezTo>
                      <a:pt x="28355" y="33701"/>
                      <a:pt x="33542" y="28640"/>
                      <a:pt x="33622" y="22321"/>
                    </a:cubicBezTo>
                    <a:cubicBezTo>
                      <a:pt x="33702" y="16000"/>
                      <a:pt x="28642" y="10812"/>
                      <a:pt x="22321" y="10732"/>
                    </a:cubicBezTo>
                    <a:cubicBezTo>
                      <a:pt x="22321" y="10732"/>
                      <a:pt x="22319" y="10732"/>
                      <a:pt x="22319"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08" name="Freeform: Shape 507">
                <a:extLst>
                  <a:ext uri="{FF2B5EF4-FFF2-40B4-BE49-F238E27FC236}">
                    <a16:creationId xmlns:a16="http://schemas.microsoft.com/office/drawing/2014/main" id="{08D6FDEE-62D7-4347-835A-D03FAEB2DEF8}"/>
                  </a:ext>
                </a:extLst>
              </p:cNvPr>
              <p:cNvSpPr/>
              <p:nvPr/>
            </p:nvSpPr>
            <p:spPr>
              <a:xfrm>
                <a:off x="5143712" y="5864694"/>
                <a:ext cx="28615" cy="28615"/>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7"/>
                      <a:pt x="21405" y="11007"/>
                    </a:cubicBezTo>
                    <a:cubicBezTo>
                      <a:pt x="16894" y="9828"/>
                      <a:pt x="12283" y="12528"/>
                      <a:pt x="11102" y="17038"/>
                    </a:cubicBezTo>
                    <a:cubicBezTo>
                      <a:pt x="10958" y="17593"/>
                      <a:pt x="10869" y="18162"/>
                      <a:pt x="10839" y="18735"/>
                    </a:cubicBezTo>
                    <a:cubicBezTo>
                      <a:pt x="10694" y="19587"/>
                      <a:pt x="10694" y="20457"/>
                      <a:pt x="10839" y="21310"/>
                    </a:cubicBezTo>
                    <a:cubicBezTo>
                      <a:pt x="11573" y="25880"/>
                      <a:pt x="15848" y="29006"/>
                      <a:pt x="20425" y="2832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09" name="Freeform: Shape 508">
                <a:extLst>
                  <a:ext uri="{FF2B5EF4-FFF2-40B4-BE49-F238E27FC236}">
                    <a16:creationId xmlns:a16="http://schemas.microsoft.com/office/drawing/2014/main" id="{8D1009D1-07BE-4E00-A62B-A25122C34F51}"/>
                  </a:ext>
                </a:extLst>
              </p:cNvPr>
              <p:cNvSpPr/>
              <p:nvPr/>
            </p:nvSpPr>
            <p:spPr>
              <a:xfrm>
                <a:off x="6095681" y="5814037"/>
                <a:ext cx="28615" cy="28615"/>
              </a:xfrm>
              <a:custGeom>
                <a:avLst/>
                <a:gdLst>
                  <a:gd name="connsiteX0" fmla="*/ 20620 w 28614"/>
                  <a:gd name="connsiteY0" fmla="*/ 30905 h 28614"/>
                  <a:gd name="connsiteX1" fmla="*/ 29776 w 28614"/>
                  <a:gd name="connsiteY1" fmla="*/ 21605 h 28614"/>
                  <a:gd name="connsiteX2" fmla="*/ 29776 w 28614"/>
                  <a:gd name="connsiteY2" fmla="*/ 21605 h 28614"/>
                  <a:gd name="connsiteX3" fmla="*/ 29776 w 28614"/>
                  <a:gd name="connsiteY3" fmla="*/ 19888 h 28614"/>
                  <a:gd name="connsiteX4" fmla="*/ 20620 w 28614"/>
                  <a:gd name="connsiteY4" fmla="*/ 10732 h 28614"/>
                  <a:gd name="connsiteX5" fmla="*/ 10749 w 28614"/>
                  <a:gd name="connsiteY5" fmla="*/ 20316 h 28614"/>
                  <a:gd name="connsiteX6" fmla="*/ 10748 w 28614"/>
                  <a:gd name="connsiteY6" fmla="*/ 20461 h 28614"/>
                  <a:gd name="connsiteX7" fmla="*/ 20030 w 28614"/>
                  <a:gd name="connsiteY7" fmla="*/ 30888 h 28614"/>
                  <a:gd name="connsiteX8" fmla="*/ 20620 w 28614"/>
                  <a:gd name="connsiteY8" fmla="*/ 3090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620" y="30905"/>
                    </a:moveTo>
                    <a:cubicBezTo>
                      <a:pt x="25700" y="30827"/>
                      <a:pt x="29776" y="26686"/>
                      <a:pt x="29776" y="21605"/>
                    </a:cubicBezTo>
                    <a:lnTo>
                      <a:pt x="29776" y="21605"/>
                    </a:lnTo>
                    <a:lnTo>
                      <a:pt x="29776" y="19888"/>
                    </a:lnTo>
                    <a:cubicBezTo>
                      <a:pt x="29776" y="14831"/>
                      <a:pt x="25677" y="10732"/>
                      <a:pt x="20620" y="10732"/>
                    </a:cubicBezTo>
                    <a:cubicBezTo>
                      <a:pt x="15247" y="10653"/>
                      <a:pt x="10828" y="14944"/>
                      <a:pt x="10749" y="20316"/>
                    </a:cubicBezTo>
                    <a:cubicBezTo>
                      <a:pt x="10748" y="20365"/>
                      <a:pt x="10748" y="20412"/>
                      <a:pt x="10748" y="20461"/>
                    </a:cubicBezTo>
                    <a:cubicBezTo>
                      <a:pt x="10431" y="25903"/>
                      <a:pt x="14588" y="30572"/>
                      <a:pt x="20030" y="30888"/>
                    </a:cubicBezTo>
                    <a:cubicBezTo>
                      <a:pt x="20226" y="30899"/>
                      <a:pt x="20424" y="30905"/>
                      <a:pt x="20620" y="3090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10" name="Freeform: Shape 509">
                <a:extLst>
                  <a:ext uri="{FF2B5EF4-FFF2-40B4-BE49-F238E27FC236}">
                    <a16:creationId xmlns:a16="http://schemas.microsoft.com/office/drawing/2014/main" id="{ADCE4B64-DECB-452D-A66B-63382EB818E6}"/>
                  </a:ext>
                </a:extLst>
              </p:cNvPr>
              <p:cNvSpPr/>
              <p:nvPr/>
            </p:nvSpPr>
            <p:spPr>
              <a:xfrm>
                <a:off x="6177102" y="6066420"/>
                <a:ext cx="28615" cy="28615"/>
              </a:xfrm>
              <a:custGeom>
                <a:avLst/>
                <a:gdLst>
                  <a:gd name="connsiteX0" fmla="*/ 19463 w 28614"/>
                  <a:gd name="connsiteY0" fmla="*/ 10732 h 28614"/>
                  <a:gd name="connsiteX1" fmla="*/ 10736 w 28614"/>
                  <a:gd name="connsiteY1" fmla="*/ 19030 h 28614"/>
                  <a:gd name="connsiteX2" fmla="*/ 18744 w 28614"/>
                  <a:gd name="connsiteY2" fmla="*/ 27610 h 28614"/>
                  <a:gd name="connsiteX3" fmla="*/ 19034 w 28614"/>
                  <a:gd name="connsiteY3" fmla="*/ 27615 h 28614"/>
                  <a:gd name="connsiteX4" fmla="*/ 19034 w 28614"/>
                  <a:gd name="connsiteY4" fmla="*/ 27615 h 28614"/>
                  <a:gd name="connsiteX5" fmla="*/ 27189 w 28614"/>
                  <a:gd name="connsiteY5" fmla="*/ 19748 h 28614"/>
                  <a:gd name="connsiteX6" fmla="*/ 27189 w 28614"/>
                  <a:gd name="connsiteY6" fmla="*/ 19459 h 28614"/>
                  <a:gd name="connsiteX7" fmla="*/ 19463 w 28614"/>
                  <a:gd name="connsiteY7"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63" y="10732"/>
                    </a:moveTo>
                    <a:cubicBezTo>
                      <a:pt x="14776" y="10652"/>
                      <a:pt x="10892" y="14345"/>
                      <a:pt x="10736" y="19030"/>
                    </a:cubicBezTo>
                    <a:cubicBezTo>
                      <a:pt x="10578" y="23610"/>
                      <a:pt x="14162" y="27452"/>
                      <a:pt x="18744" y="27610"/>
                    </a:cubicBezTo>
                    <a:cubicBezTo>
                      <a:pt x="18839" y="27613"/>
                      <a:pt x="18937" y="27615"/>
                      <a:pt x="19034" y="27615"/>
                    </a:cubicBezTo>
                    <a:lnTo>
                      <a:pt x="19034" y="27615"/>
                    </a:lnTo>
                    <a:cubicBezTo>
                      <a:pt x="23458" y="27695"/>
                      <a:pt x="27109" y="24172"/>
                      <a:pt x="27189" y="19748"/>
                    </a:cubicBezTo>
                    <a:cubicBezTo>
                      <a:pt x="27191" y="19653"/>
                      <a:pt x="27191" y="19555"/>
                      <a:pt x="27189" y="19459"/>
                    </a:cubicBezTo>
                    <a:cubicBezTo>
                      <a:pt x="27358" y="14954"/>
                      <a:pt x="23956" y="11111"/>
                      <a:pt x="19463"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11" name="Freeform: Shape 510">
                <a:extLst>
                  <a:ext uri="{FF2B5EF4-FFF2-40B4-BE49-F238E27FC236}">
                    <a16:creationId xmlns:a16="http://schemas.microsoft.com/office/drawing/2014/main" id="{FD4AAC2C-BABC-45A7-9E49-3B101EB66623}"/>
                  </a:ext>
                </a:extLst>
              </p:cNvPr>
              <p:cNvSpPr/>
              <p:nvPr/>
            </p:nvSpPr>
            <p:spPr>
              <a:xfrm>
                <a:off x="5144285" y="6062751"/>
                <a:ext cx="28615" cy="28615"/>
              </a:xfrm>
              <a:custGeom>
                <a:avLst/>
                <a:gdLst>
                  <a:gd name="connsiteX0" fmla="*/ 10839 w 28614"/>
                  <a:gd name="connsiteY0" fmla="*/ 17836 h 28614"/>
                  <a:gd name="connsiteX1" fmla="*/ 10839 w 28614"/>
                  <a:gd name="connsiteY1" fmla="*/ 20411 h 28614"/>
                  <a:gd name="connsiteX2" fmla="*/ 20425 w 28614"/>
                  <a:gd name="connsiteY2" fmla="*/ 27422 h 28614"/>
                  <a:gd name="connsiteX3" fmla="*/ 27579 w 28614"/>
                  <a:gd name="connsiteY3" fmla="*/ 20411 h 28614"/>
                  <a:gd name="connsiteX4" fmla="*/ 20425 w 28614"/>
                  <a:gd name="connsiteY4" fmla="*/ 10825 h 28614"/>
                  <a:gd name="connsiteX5" fmla="*/ 10839 w 28614"/>
                  <a:gd name="connsiteY5" fmla="*/ 178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839" y="17836"/>
                    </a:moveTo>
                    <a:cubicBezTo>
                      <a:pt x="10694" y="18688"/>
                      <a:pt x="10694" y="19558"/>
                      <a:pt x="10839" y="20411"/>
                    </a:cubicBezTo>
                    <a:cubicBezTo>
                      <a:pt x="11573" y="24981"/>
                      <a:pt x="15848" y="28107"/>
                      <a:pt x="20425" y="27422"/>
                    </a:cubicBezTo>
                    <a:cubicBezTo>
                      <a:pt x="24088" y="26905"/>
                      <a:pt x="26988" y="24064"/>
                      <a:pt x="27579" y="20411"/>
                    </a:cubicBezTo>
                    <a:cubicBezTo>
                      <a:pt x="28180" y="15807"/>
                      <a:pt x="25009" y="11560"/>
                      <a:pt x="20425" y="10825"/>
                    </a:cubicBezTo>
                    <a:cubicBezTo>
                      <a:pt x="15848" y="10139"/>
                      <a:pt x="11573" y="13266"/>
                      <a:pt x="10839" y="1783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12" name="Freeform: Shape 511">
                <a:extLst>
                  <a:ext uri="{FF2B5EF4-FFF2-40B4-BE49-F238E27FC236}">
                    <a16:creationId xmlns:a16="http://schemas.microsoft.com/office/drawing/2014/main" id="{15D66CEC-EFA7-4760-833C-C949F5153B9C}"/>
                  </a:ext>
                </a:extLst>
              </p:cNvPr>
              <p:cNvSpPr/>
              <p:nvPr/>
            </p:nvSpPr>
            <p:spPr>
              <a:xfrm>
                <a:off x="5222226" y="6015200"/>
                <a:ext cx="28615" cy="28615"/>
              </a:xfrm>
              <a:custGeom>
                <a:avLst/>
                <a:gdLst>
                  <a:gd name="connsiteX0" fmla="*/ 20030 w 28614"/>
                  <a:gd name="connsiteY0" fmla="*/ 29332 h 28614"/>
                  <a:gd name="connsiteX1" fmla="*/ 29473 w 28614"/>
                  <a:gd name="connsiteY1" fmla="*/ 19889 h 28614"/>
                  <a:gd name="connsiteX2" fmla="*/ 20030 w 28614"/>
                  <a:gd name="connsiteY2" fmla="*/ 10732 h 28614"/>
                  <a:gd name="connsiteX3" fmla="*/ 10732 w 28614"/>
                  <a:gd name="connsiteY3" fmla="*/ 19744 h 28614"/>
                  <a:gd name="connsiteX4" fmla="*/ 10731 w 28614"/>
                  <a:gd name="connsiteY4" fmla="*/ 19889 h 28614"/>
                  <a:gd name="connsiteX5" fmla="*/ 20030 w 28614"/>
                  <a:gd name="connsiteY5" fmla="*/ 29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0" y="29332"/>
                    </a:moveTo>
                    <a:cubicBezTo>
                      <a:pt x="25183" y="29183"/>
                      <a:pt x="29325" y="25041"/>
                      <a:pt x="29473" y="19889"/>
                    </a:cubicBezTo>
                    <a:cubicBezTo>
                      <a:pt x="29319" y="14785"/>
                      <a:pt x="25135" y="10729"/>
                      <a:pt x="20030" y="10732"/>
                    </a:cubicBezTo>
                    <a:cubicBezTo>
                      <a:pt x="14974" y="10653"/>
                      <a:pt x="10811" y="14688"/>
                      <a:pt x="10732" y="19744"/>
                    </a:cubicBezTo>
                    <a:cubicBezTo>
                      <a:pt x="10731" y="19793"/>
                      <a:pt x="10731" y="19840"/>
                      <a:pt x="10731" y="19889"/>
                    </a:cubicBezTo>
                    <a:cubicBezTo>
                      <a:pt x="10731" y="25048"/>
                      <a:pt x="14871" y="29253"/>
                      <a:pt x="20030" y="293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13" name="Freeform: Shape 512">
                <a:extLst>
                  <a:ext uri="{FF2B5EF4-FFF2-40B4-BE49-F238E27FC236}">
                    <a16:creationId xmlns:a16="http://schemas.microsoft.com/office/drawing/2014/main" id="{74C70355-1C7C-49F3-B1C6-0BA7C3427824}"/>
                  </a:ext>
                </a:extLst>
              </p:cNvPr>
              <p:cNvSpPr/>
              <p:nvPr/>
            </p:nvSpPr>
            <p:spPr>
              <a:xfrm>
                <a:off x="5143535" y="6016059"/>
                <a:ext cx="28615" cy="28615"/>
              </a:xfrm>
              <a:custGeom>
                <a:avLst/>
                <a:gdLst>
                  <a:gd name="connsiteX0" fmla="*/ 19172 w 28614"/>
                  <a:gd name="connsiteY0" fmla="*/ 27613 h 28614"/>
                  <a:gd name="connsiteX1" fmla="*/ 27613 w 28614"/>
                  <a:gd name="connsiteY1" fmla="*/ 19172 h 28614"/>
                  <a:gd name="connsiteX2" fmla="*/ 19172 w 28614"/>
                  <a:gd name="connsiteY2" fmla="*/ 10731 h 28614"/>
                  <a:gd name="connsiteX3" fmla="*/ 19172 w 28614"/>
                  <a:gd name="connsiteY3" fmla="*/ 10731 h 28614"/>
                  <a:gd name="connsiteX4" fmla="*/ 10731 w 28614"/>
                  <a:gd name="connsiteY4" fmla="*/ 19172 h 28614"/>
                  <a:gd name="connsiteX5" fmla="*/ 19172 w 28614"/>
                  <a:gd name="connsiteY5" fmla="*/ 2761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172" y="27613"/>
                    </a:moveTo>
                    <a:cubicBezTo>
                      <a:pt x="23833" y="27613"/>
                      <a:pt x="27613" y="23833"/>
                      <a:pt x="27613" y="19172"/>
                    </a:cubicBezTo>
                    <a:cubicBezTo>
                      <a:pt x="27613" y="14511"/>
                      <a:pt x="23833" y="10731"/>
                      <a:pt x="19172" y="10731"/>
                    </a:cubicBezTo>
                    <a:lnTo>
                      <a:pt x="19172" y="10731"/>
                    </a:lnTo>
                    <a:cubicBezTo>
                      <a:pt x="14511" y="10731"/>
                      <a:pt x="10731" y="14511"/>
                      <a:pt x="10731" y="19172"/>
                    </a:cubicBezTo>
                    <a:cubicBezTo>
                      <a:pt x="10731" y="23833"/>
                      <a:pt x="14511" y="27613"/>
                      <a:pt x="19172" y="2761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14" name="Freeform: Shape 513">
                <a:extLst>
                  <a:ext uri="{FF2B5EF4-FFF2-40B4-BE49-F238E27FC236}">
                    <a16:creationId xmlns:a16="http://schemas.microsoft.com/office/drawing/2014/main" id="{7275173C-1415-4F01-987A-45FDFFAC27D1}"/>
                  </a:ext>
                </a:extLst>
              </p:cNvPr>
              <p:cNvSpPr/>
              <p:nvPr/>
            </p:nvSpPr>
            <p:spPr>
              <a:xfrm>
                <a:off x="6258698" y="5817614"/>
                <a:ext cx="28615" cy="28615"/>
              </a:xfrm>
              <a:custGeom>
                <a:avLst/>
                <a:gdLst>
                  <a:gd name="connsiteX0" fmla="*/ 16129 w 28614"/>
                  <a:gd name="connsiteY0" fmla="*/ 25325 h 28614"/>
                  <a:gd name="connsiteX1" fmla="*/ 25326 w 28614"/>
                  <a:gd name="connsiteY1" fmla="*/ 20214 h 28614"/>
                  <a:gd name="connsiteX2" fmla="*/ 20217 w 28614"/>
                  <a:gd name="connsiteY2" fmla="*/ 11017 h 28614"/>
                  <a:gd name="connsiteX3" fmla="*/ 16129 w 28614"/>
                  <a:gd name="connsiteY3" fmla="*/ 11017 h 28614"/>
                  <a:gd name="connsiteX4" fmla="*/ 11019 w 28614"/>
                  <a:gd name="connsiteY4" fmla="*/ 20214 h 28614"/>
                  <a:gd name="connsiteX5" fmla="*/ 16129 w 28614"/>
                  <a:gd name="connsiteY5"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6129" y="25325"/>
                    </a:moveTo>
                    <a:cubicBezTo>
                      <a:pt x="20080" y="26453"/>
                      <a:pt x="24197" y="24166"/>
                      <a:pt x="25326" y="20214"/>
                    </a:cubicBezTo>
                    <a:cubicBezTo>
                      <a:pt x="26455" y="16264"/>
                      <a:pt x="24167" y="12146"/>
                      <a:pt x="20217" y="11017"/>
                    </a:cubicBezTo>
                    <a:cubicBezTo>
                      <a:pt x="18881" y="10635"/>
                      <a:pt x="17466" y="10635"/>
                      <a:pt x="16129" y="11017"/>
                    </a:cubicBezTo>
                    <a:cubicBezTo>
                      <a:pt x="12179" y="12146"/>
                      <a:pt x="9890" y="16264"/>
                      <a:pt x="11019" y="20214"/>
                    </a:cubicBezTo>
                    <a:cubicBezTo>
                      <a:pt x="11725" y="22686"/>
                      <a:pt x="13657" y="24619"/>
                      <a:pt x="16129" y="2532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15" name="Freeform: Shape 514">
                <a:extLst>
                  <a:ext uri="{FF2B5EF4-FFF2-40B4-BE49-F238E27FC236}">
                    <a16:creationId xmlns:a16="http://schemas.microsoft.com/office/drawing/2014/main" id="{D3FC738D-3997-44C6-8199-524BFB900095}"/>
                  </a:ext>
                </a:extLst>
              </p:cNvPr>
              <p:cNvSpPr/>
              <p:nvPr/>
            </p:nvSpPr>
            <p:spPr>
              <a:xfrm>
                <a:off x="5066131" y="5916193"/>
                <a:ext cx="28615" cy="28615"/>
              </a:xfrm>
              <a:custGeom>
                <a:avLst/>
                <a:gdLst>
                  <a:gd name="connsiteX0" fmla="*/ 25610 w 28614"/>
                  <a:gd name="connsiteY0" fmla="*/ 18171 h 28614"/>
                  <a:gd name="connsiteX1" fmla="*/ 18171 w 28614"/>
                  <a:gd name="connsiteY1" fmla="*/ 25610 h 28614"/>
                  <a:gd name="connsiteX2" fmla="*/ 10731 w 28614"/>
                  <a:gd name="connsiteY2" fmla="*/ 18171 h 28614"/>
                  <a:gd name="connsiteX3" fmla="*/ 18171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1" y="25610"/>
                    </a:cubicBezTo>
                    <a:cubicBezTo>
                      <a:pt x="14062" y="25610"/>
                      <a:pt x="10731" y="22279"/>
                      <a:pt x="10731" y="18171"/>
                    </a:cubicBezTo>
                    <a:cubicBezTo>
                      <a:pt x="10731" y="14062"/>
                      <a:pt x="14062" y="10731"/>
                      <a:pt x="18171" y="10731"/>
                    </a:cubicBezTo>
                    <a:cubicBezTo>
                      <a:pt x="22279" y="10731"/>
                      <a:pt x="25610" y="14062"/>
                      <a:pt x="25610" y="1817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16" name="Freeform: Shape 515">
                <a:extLst>
                  <a:ext uri="{FF2B5EF4-FFF2-40B4-BE49-F238E27FC236}">
                    <a16:creationId xmlns:a16="http://schemas.microsoft.com/office/drawing/2014/main" id="{F9F7CC4A-2CB4-429F-A4B1-242AFB538DAC}"/>
                  </a:ext>
                </a:extLst>
              </p:cNvPr>
              <p:cNvSpPr/>
              <p:nvPr/>
            </p:nvSpPr>
            <p:spPr>
              <a:xfrm>
                <a:off x="5066168" y="5966412"/>
                <a:ext cx="28615" cy="28615"/>
              </a:xfrm>
              <a:custGeom>
                <a:avLst/>
                <a:gdLst>
                  <a:gd name="connsiteX0" fmla="*/ 17275 w 28614"/>
                  <a:gd name="connsiteY0" fmla="*/ 25754 h 28614"/>
                  <a:gd name="connsiteX1" fmla="*/ 23748 w 28614"/>
                  <a:gd name="connsiteY1" fmla="*/ 17203 h 28614"/>
                  <a:gd name="connsiteX2" fmla="*/ 17275 w 28614"/>
                  <a:gd name="connsiteY2" fmla="*/ 10731 h 28614"/>
                  <a:gd name="connsiteX3" fmla="*/ 10803 w 28614"/>
                  <a:gd name="connsiteY3" fmla="*/ 19281 h 28614"/>
                  <a:gd name="connsiteX4" fmla="*/ 17275 w 28614"/>
                  <a:gd name="connsiteY4" fmla="*/ 25754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7275" y="25754"/>
                    </a:moveTo>
                    <a:cubicBezTo>
                      <a:pt x="21424" y="25180"/>
                      <a:pt x="24321" y="21351"/>
                      <a:pt x="23748" y="17203"/>
                    </a:cubicBezTo>
                    <a:cubicBezTo>
                      <a:pt x="23282" y="13840"/>
                      <a:pt x="20638" y="11196"/>
                      <a:pt x="17275" y="10731"/>
                    </a:cubicBezTo>
                    <a:cubicBezTo>
                      <a:pt x="13127" y="11304"/>
                      <a:pt x="10229" y="15133"/>
                      <a:pt x="10803" y="19281"/>
                    </a:cubicBezTo>
                    <a:cubicBezTo>
                      <a:pt x="11268" y="22644"/>
                      <a:pt x="13912" y="25288"/>
                      <a:pt x="17275" y="2575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17" name="Freeform: Shape 516">
                <a:extLst>
                  <a:ext uri="{FF2B5EF4-FFF2-40B4-BE49-F238E27FC236}">
                    <a16:creationId xmlns:a16="http://schemas.microsoft.com/office/drawing/2014/main" id="{42147870-53A8-4349-B545-392293B66B05}"/>
                  </a:ext>
                </a:extLst>
              </p:cNvPr>
              <p:cNvSpPr/>
              <p:nvPr/>
            </p:nvSpPr>
            <p:spPr>
              <a:xfrm>
                <a:off x="6176443" y="5817663"/>
                <a:ext cx="28615" cy="28615"/>
              </a:xfrm>
              <a:custGeom>
                <a:avLst/>
                <a:gdLst>
                  <a:gd name="connsiteX0" fmla="*/ 17976 w 28614"/>
                  <a:gd name="connsiteY0" fmla="*/ 27421 h 28614"/>
                  <a:gd name="connsiteX1" fmla="*/ 27562 w 28614"/>
                  <a:gd name="connsiteY1" fmla="*/ 20411 h 28614"/>
                  <a:gd name="connsiteX2" fmla="*/ 27562 w 28614"/>
                  <a:gd name="connsiteY2" fmla="*/ 17836 h 28614"/>
                  <a:gd name="connsiteX3" fmla="*/ 17976 w 28614"/>
                  <a:gd name="connsiteY3" fmla="*/ 10825 h 28614"/>
                  <a:gd name="connsiteX4" fmla="*/ 10822 w 28614"/>
                  <a:gd name="connsiteY4" fmla="*/ 17836 h 28614"/>
                  <a:gd name="connsiteX5" fmla="*/ 17943 w 28614"/>
                  <a:gd name="connsiteY5" fmla="*/ 27417 h 28614"/>
                  <a:gd name="connsiteX6" fmla="*/ 17976 w 28614"/>
                  <a:gd name="connsiteY6" fmla="*/ 274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7976" y="27421"/>
                    </a:moveTo>
                    <a:cubicBezTo>
                      <a:pt x="22553" y="28107"/>
                      <a:pt x="26828" y="24981"/>
                      <a:pt x="27562" y="20411"/>
                    </a:cubicBezTo>
                    <a:cubicBezTo>
                      <a:pt x="27706" y="19558"/>
                      <a:pt x="27706" y="18688"/>
                      <a:pt x="27562" y="17836"/>
                    </a:cubicBezTo>
                    <a:cubicBezTo>
                      <a:pt x="26828" y="13266"/>
                      <a:pt x="22553" y="10140"/>
                      <a:pt x="17976" y="10825"/>
                    </a:cubicBezTo>
                    <a:cubicBezTo>
                      <a:pt x="14313" y="11341"/>
                      <a:pt x="11413" y="14183"/>
                      <a:pt x="10822" y="17836"/>
                    </a:cubicBezTo>
                    <a:cubicBezTo>
                      <a:pt x="10142" y="22448"/>
                      <a:pt x="13331" y="26738"/>
                      <a:pt x="17943" y="27417"/>
                    </a:cubicBezTo>
                    <a:cubicBezTo>
                      <a:pt x="17954" y="27419"/>
                      <a:pt x="17964" y="27420"/>
                      <a:pt x="17976" y="2742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18" name="Freeform: Shape 517">
                <a:extLst>
                  <a:ext uri="{FF2B5EF4-FFF2-40B4-BE49-F238E27FC236}">
                    <a16:creationId xmlns:a16="http://schemas.microsoft.com/office/drawing/2014/main" id="{1574C6BB-407E-4802-ACA9-242154C9EFDD}"/>
                  </a:ext>
                </a:extLst>
              </p:cNvPr>
              <p:cNvSpPr/>
              <p:nvPr/>
            </p:nvSpPr>
            <p:spPr>
              <a:xfrm>
                <a:off x="5222226" y="5865831"/>
                <a:ext cx="28615" cy="28615"/>
              </a:xfrm>
              <a:custGeom>
                <a:avLst/>
                <a:gdLst>
                  <a:gd name="connsiteX0" fmla="*/ 20030 w 28614"/>
                  <a:gd name="connsiteY0" fmla="*/ 29330 h 28614"/>
                  <a:gd name="connsiteX1" fmla="*/ 29473 w 28614"/>
                  <a:gd name="connsiteY1" fmla="*/ 20174 h 28614"/>
                  <a:gd name="connsiteX2" fmla="*/ 20030 w 28614"/>
                  <a:gd name="connsiteY2" fmla="*/ 10731 h 28614"/>
                  <a:gd name="connsiteX3" fmla="*/ 10731 w 28614"/>
                  <a:gd name="connsiteY3" fmla="*/ 20174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35" y="29333"/>
                      <a:pt x="29319" y="25277"/>
                      <a:pt x="29473" y="20174"/>
                    </a:cubicBezTo>
                    <a:cubicBezTo>
                      <a:pt x="29325" y="15021"/>
                      <a:pt x="25183" y="10879"/>
                      <a:pt x="20030" y="10731"/>
                    </a:cubicBezTo>
                    <a:cubicBezTo>
                      <a:pt x="14871" y="10809"/>
                      <a:pt x="10731" y="15014"/>
                      <a:pt x="10731" y="20174"/>
                    </a:cubicBezTo>
                    <a:cubicBezTo>
                      <a:pt x="10809" y="25254"/>
                      <a:pt x="14950" y="29330"/>
                      <a:pt x="20030" y="2933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19" name="Freeform: Shape 518">
                <a:extLst>
                  <a:ext uri="{FF2B5EF4-FFF2-40B4-BE49-F238E27FC236}">
                    <a16:creationId xmlns:a16="http://schemas.microsoft.com/office/drawing/2014/main" id="{A24CE2AD-7A79-403C-BD5E-94CA7BE00923}"/>
                  </a:ext>
                </a:extLst>
              </p:cNvPr>
              <p:cNvSpPr/>
              <p:nvPr/>
            </p:nvSpPr>
            <p:spPr>
              <a:xfrm>
                <a:off x="5067643" y="5868406"/>
                <a:ext cx="28615" cy="28615"/>
              </a:xfrm>
              <a:custGeom>
                <a:avLst/>
                <a:gdLst>
                  <a:gd name="connsiteX0" fmla="*/ 15801 w 28614"/>
                  <a:gd name="connsiteY0" fmla="*/ 25038 h 28614"/>
                  <a:gd name="connsiteX1" fmla="*/ 20439 w 28614"/>
                  <a:gd name="connsiteY1" fmla="*/ 15369 h 28614"/>
                  <a:gd name="connsiteX2" fmla="*/ 15801 w 28614"/>
                  <a:gd name="connsiteY2" fmla="*/ 10731 h 28614"/>
                  <a:gd name="connsiteX3" fmla="*/ 11162 w 28614"/>
                  <a:gd name="connsiteY3" fmla="*/ 20400 h 28614"/>
                  <a:gd name="connsiteX4" fmla="*/ 15801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5801" y="25038"/>
                    </a:moveTo>
                    <a:cubicBezTo>
                      <a:pt x="19752" y="23649"/>
                      <a:pt x="21828" y="19321"/>
                      <a:pt x="20439" y="15369"/>
                    </a:cubicBezTo>
                    <a:cubicBezTo>
                      <a:pt x="19677" y="13200"/>
                      <a:pt x="17970" y="11493"/>
                      <a:pt x="15801" y="10731"/>
                    </a:cubicBezTo>
                    <a:cubicBezTo>
                      <a:pt x="11850" y="12120"/>
                      <a:pt x="9773" y="16448"/>
                      <a:pt x="11162" y="20400"/>
                    </a:cubicBezTo>
                    <a:cubicBezTo>
                      <a:pt x="11925" y="22569"/>
                      <a:pt x="13631" y="24276"/>
                      <a:pt x="15801" y="2503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20" name="Freeform: Shape 519">
                <a:extLst>
                  <a:ext uri="{FF2B5EF4-FFF2-40B4-BE49-F238E27FC236}">
                    <a16:creationId xmlns:a16="http://schemas.microsoft.com/office/drawing/2014/main" id="{8DFF2479-6100-479E-822E-C7F1BF77475B}"/>
                  </a:ext>
                </a:extLst>
              </p:cNvPr>
              <p:cNvSpPr/>
              <p:nvPr/>
            </p:nvSpPr>
            <p:spPr>
              <a:xfrm>
                <a:off x="5222224" y="5964552"/>
                <a:ext cx="28615" cy="28615"/>
              </a:xfrm>
              <a:custGeom>
                <a:avLst/>
                <a:gdLst>
                  <a:gd name="connsiteX0" fmla="*/ 20032 w 28614"/>
                  <a:gd name="connsiteY0" fmla="*/ 29330 h 28614"/>
                  <a:gd name="connsiteX1" fmla="*/ 29330 w 28614"/>
                  <a:gd name="connsiteY1" fmla="*/ 20029 h 28614"/>
                  <a:gd name="connsiteX2" fmla="*/ 20029 w 28614"/>
                  <a:gd name="connsiteY2" fmla="*/ 10731 h 28614"/>
                  <a:gd name="connsiteX3" fmla="*/ 10731 w 28614"/>
                  <a:gd name="connsiteY3" fmla="*/ 20032 h 28614"/>
                  <a:gd name="connsiteX4" fmla="*/ 10732 w 28614"/>
                  <a:gd name="connsiteY4" fmla="*/ 20174 h 28614"/>
                  <a:gd name="connsiteX5" fmla="*/ 20032 w 28614"/>
                  <a:gd name="connsiteY5" fmla="*/ 293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2" y="29330"/>
                    </a:moveTo>
                    <a:cubicBezTo>
                      <a:pt x="25168" y="29330"/>
                      <a:pt x="29332" y="25165"/>
                      <a:pt x="29330" y="20029"/>
                    </a:cubicBezTo>
                    <a:cubicBezTo>
                      <a:pt x="29330" y="14893"/>
                      <a:pt x="25165" y="10731"/>
                      <a:pt x="20029" y="10731"/>
                    </a:cubicBezTo>
                    <a:cubicBezTo>
                      <a:pt x="14894" y="10731"/>
                      <a:pt x="10731" y="14896"/>
                      <a:pt x="10731" y="20032"/>
                    </a:cubicBezTo>
                    <a:cubicBezTo>
                      <a:pt x="10731" y="20079"/>
                      <a:pt x="10731" y="20126"/>
                      <a:pt x="10732" y="20174"/>
                    </a:cubicBezTo>
                    <a:cubicBezTo>
                      <a:pt x="10811" y="25254"/>
                      <a:pt x="14951" y="29330"/>
                      <a:pt x="20032" y="2933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21" name="Freeform: Shape 520">
                <a:extLst>
                  <a:ext uri="{FF2B5EF4-FFF2-40B4-BE49-F238E27FC236}">
                    <a16:creationId xmlns:a16="http://schemas.microsoft.com/office/drawing/2014/main" id="{B7F3B778-DC8E-4B6E-A163-4027D04D7B20}"/>
                  </a:ext>
                </a:extLst>
              </p:cNvPr>
              <p:cNvSpPr/>
              <p:nvPr/>
            </p:nvSpPr>
            <p:spPr>
              <a:xfrm>
                <a:off x="6257658" y="6066422"/>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22" name="Freeform: Shape 521">
                <a:extLst>
                  <a:ext uri="{FF2B5EF4-FFF2-40B4-BE49-F238E27FC236}">
                    <a16:creationId xmlns:a16="http://schemas.microsoft.com/office/drawing/2014/main" id="{6A24CF4F-3251-4661-9416-8597296F27DB}"/>
                  </a:ext>
                </a:extLst>
              </p:cNvPr>
              <p:cNvSpPr/>
              <p:nvPr/>
            </p:nvSpPr>
            <p:spPr>
              <a:xfrm>
                <a:off x="5065988" y="6064989"/>
                <a:ext cx="28615" cy="28615"/>
              </a:xfrm>
              <a:custGeom>
                <a:avLst/>
                <a:gdLst>
                  <a:gd name="connsiteX0" fmla="*/ 18027 w 28614"/>
                  <a:gd name="connsiteY0" fmla="*/ 10732 h 28614"/>
                  <a:gd name="connsiteX1" fmla="*/ 10732 w 28614"/>
                  <a:gd name="connsiteY1" fmla="*/ 18314 h 28614"/>
                  <a:gd name="connsiteX2" fmla="*/ 18314 w 28614"/>
                  <a:gd name="connsiteY2" fmla="*/ 25609 h 28614"/>
                  <a:gd name="connsiteX3" fmla="*/ 25610 w 28614"/>
                  <a:gd name="connsiteY3" fmla="*/ 18172 h 28614"/>
                  <a:gd name="connsiteX4" fmla="*/ 18172 w 28614"/>
                  <a:gd name="connsiteY4" fmla="*/ 10731 h 28614"/>
                  <a:gd name="connsiteX5" fmla="*/ 18027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027" y="10732"/>
                    </a:moveTo>
                    <a:cubicBezTo>
                      <a:pt x="13919" y="10811"/>
                      <a:pt x="10653" y="14206"/>
                      <a:pt x="10732" y="18314"/>
                    </a:cubicBezTo>
                    <a:cubicBezTo>
                      <a:pt x="10811" y="22421"/>
                      <a:pt x="14205" y="25688"/>
                      <a:pt x="18314" y="25609"/>
                    </a:cubicBezTo>
                    <a:cubicBezTo>
                      <a:pt x="22365" y="25532"/>
                      <a:pt x="25610" y="22225"/>
                      <a:pt x="25610" y="18172"/>
                    </a:cubicBezTo>
                    <a:cubicBezTo>
                      <a:pt x="25611" y="14063"/>
                      <a:pt x="22281" y="10732"/>
                      <a:pt x="18172" y="10731"/>
                    </a:cubicBezTo>
                    <a:cubicBezTo>
                      <a:pt x="18124" y="10731"/>
                      <a:pt x="18076" y="10731"/>
                      <a:pt x="18027"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23" name="Freeform: Shape 522">
                <a:extLst>
                  <a:ext uri="{FF2B5EF4-FFF2-40B4-BE49-F238E27FC236}">
                    <a16:creationId xmlns:a16="http://schemas.microsoft.com/office/drawing/2014/main" id="{AFEA69E1-E19C-4C92-98CA-DC5A3AEAE9C8}"/>
                  </a:ext>
                </a:extLst>
              </p:cNvPr>
              <p:cNvSpPr/>
              <p:nvPr/>
            </p:nvSpPr>
            <p:spPr>
              <a:xfrm>
                <a:off x="5222937" y="6062988"/>
                <a:ext cx="28615" cy="28615"/>
              </a:xfrm>
              <a:custGeom>
                <a:avLst/>
                <a:gdLst>
                  <a:gd name="connsiteX0" fmla="*/ 19892 w 28614"/>
                  <a:gd name="connsiteY0" fmla="*/ 30332 h 28614"/>
                  <a:gd name="connsiteX1" fmla="*/ 29763 w 28614"/>
                  <a:gd name="connsiteY1" fmla="*/ 20747 h 28614"/>
                  <a:gd name="connsiteX2" fmla="*/ 29764 w 28614"/>
                  <a:gd name="connsiteY2" fmla="*/ 20603 h 28614"/>
                  <a:gd name="connsiteX3" fmla="*/ 19892 w 28614"/>
                  <a:gd name="connsiteY3" fmla="*/ 10731 h 28614"/>
                  <a:gd name="connsiteX4" fmla="*/ 10734 w 28614"/>
                  <a:gd name="connsiteY4" fmla="*/ 19886 h 28614"/>
                  <a:gd name="connsiteX5" fmla="*/ 10735 w 28614"/>
                  <a:gd name="connsiteY5" fmla="*/ 20030 h 28614"/>
                  <a:gd name="connsiteX6" fmla="*/ 10735 w 28614"/>
                  <a:gd name="connsiteY6" fmla="*/ 20030 h 28614"/>
                  <a:gd name="connsiteX7" fmla="*/ 10735 w 28614"/>
                  <a:gd name="connsiteY7" fmla="*/ 21032 h 28614"/>
                  <a:gd name="connsiteX8" fmla="*/ 19457 w 28614"/>
                  <a:gd name="connsiteY8" fmla="*/ 30329 h 28614"/>
                  <a:gd name="connsiteX9" fmla="*/ 19892 w 28614"/>
                  <a:gd name="connsiteY9" fmla="*/ 30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19892" y="30332"/>
                    </a:moveTo>
                    <a:cubicBezTo>
                      <a:pt x="25265" y="30411"/>
                      <a:pt x="29684" y="26120"/>
                      <a:pt x="29763" y="20747"/>
                    </a:cubicBezTo>
                    <a:cubicBezTo>
                      <a:pt x="29764" y="20699"/>
                      <a:pt x="29764" y="20651"/>
                      <a:pt x="29764" y="20603"/>
                    </a:cubicBezTo>
                    <a:cubicBezTo>
                      <a:pt x="29764" y="15150"/>
                      <a:pt x="25345" y="10731"/>
                      <a:pt x="19892" y="10731"/>
                    </a:cubicBezTo>
                    <a:cubicBezTo>
                      <a:pt x="14834" y="10731"/>
                      <a:pt x="10735" y="14830"/>
                      <a:pt x="10734" y="19886"/>
                    </a:cubicBezTo>
                    <a:cubicBezTo>
                      <a:pt x="10734" y="19935"/>
                      <a:pt x="10734" y="19982"/>
                      <a:pt x="10735" y="20030"/>
                    </a:cubicBezTo>
                    <a:lnTo>
                      <a:pt x="10735" y="20030"/>
                    </a:lnTo>
                    <a:lnTo>
                      <a:pt x="10735" y="21032"/>
                    </a:lnTo>
                    <a:cubicBezTo>
                      <a:pt x="10576" y="26008"/>
                      <a:pt x="14481" y="30170"/>
                      <a:pt x="19457" y="30329"/>
                    </a:cubicBezTo>
                    <a:cubicBezTo>
                      <a:pt x="19602" y="30333"/>
                      <a:pt x="19748" y="30335"/>
                      <a:pt x="19892" y="303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24" name="Freeform: Shape 523">
                <a:extLst>
                  <a:ext uri="{FF2B5EF4-FFF2-40B4-BE49-F238E27FC236}">
                    <a16:creationId xmlns:a16="http://schemas.microsoft.com/office/drawing/2014/main" id="{B6394DF2-B0FA-4367-ADE1-22A6229258FB}"/>
                  </a:ext>
                </a:extLst>
              </p:cNvPr>
              <p:cNvSpPr/>
              <p:nvPr/>
            </p:nvSpPr>
            <p:spPr>
              <a:xfrm>
                <a:off x="5067314" y="6017490"/>
                <a:ext cx="28615" cy="28615"/>
              </a:xfrm>
              <a:custGeom>
                <a:avLst/>
                <a:gdLst>
                  <a:gd name="connsiteX0" fmla="*/ 16129 w 28614"/>
                  <a:gd name="connsiteY0" fmla="*/ 25038 h 28614"/>
                  <a:gd name="connsiteX1" fmla="*/ 21239 w 28614"/>
                  <a:gd name="connsiteY1" fmla="*/ 15841 h 28614"/>
                  <a:gd name="connsiteX2" fmla="*/ 16129 w 28614"/>
                  <a:gd name="connsiteY2" fmla="*/ 10731 h 28614"/>
                  <a:gd name="connsiteX3" fmla="*/ 11019 w 28614"/>
                  <a:gd name="connsiteY3" fmla="*/ 19927 h 28614"/>
                  <a:gd name="connsiteX4" fmla="*/ 16129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6129" y="25038"/>
                    </a:moveTo>
                    <a:cubicBezTo>
                      <a:pt x="20080" y="23909"/>
                      <a:pt x="22368" y="19791"/>
                      <a:pt x="21239" y="15841"/>
                    </a:cubicBezTo>
                    <a:cubicBezTo>
                      <a:pt x="20533" y="13369"/>
                      <a:pt x="18601" y="11437"/>
                      <a:pt x="16129" y="10731"/>
                    </a:cubicBezTo>
                    <a:cubicBezTo>
                      <a:pt x="12178" y="11859"/>
                      <a:pt x="9890" y="15977"/>
                      <a:pt x="11019" y="19927"/>
                    </a:cubicBezTo>
                    <a:cubicBezTo>
                      <a:pt x="11725" y="22400"/>
                      <a:pt x="13657" y="24333"/>
                      <a:pt x="16129" y="2503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25" name="Freeform: Shape 524">
                <a:extLst>
                  <a:ext uri="{FF2B5EF4-FFF2-40B4-BE49-F238E27FC236}">
                    <a16:creationId xmlns:a16="http://schemas.microsoft.com/office/drawing/2014/main" id="{A59B5CC4-B5F7-4CA9-83CF-B8CB2CE154D8}"/>
                  </a:ext>
                </a:extLst>
              </p:cNvPr>
              <p:cNvSpPr/>
              <p:nvPr/>
            </p:nvSpPr>
            <p:spPr>
              <a:xfrm>
                <a:off x="5223083" y="5914189"/>
                <a:ext cx="28615" cy="28615"/>
              </a:xfrm>
              <a:custGeom>
                <a:avLst/>
                <a:gdLst>
                  <a:gd name="connsiteX0" fmla="*/ 10732 w 28614"/>
                  <a:gd name="connsiteY0" fmla="*/ 19888 h 28614"/>
                  <a:gd name="connsiteX1" fmla="*/ 19889 w 28614"/>
                  <a:gd name="connsiteY1" fmla="*/ 29329 h 28614"/>
                  <a:gd name="connsiteX2" fmla="*/ 29329 w 28614"/>
                  <a:gd name="connsiteY2" fmla="*/ 20172 h 28614"/>
                  <a:gd name="connsiteX3" fmla="*/ 20172 w 28614"/>
                  <a:gd name="connsiteY3" fmla="*/ 10732 h 28614"/>
                  <a:gd name="connsiteX4" fmla="*/ 19889 w 28614"/>
                  <a:gd name="connsiteY4" fmla="*/ 10732 h 28614"/>
                  <a:gd name="connsiteX5" fmla="*/ 10732 w 28614"/>
                  <a:gd name="connsiteY5" fmla="*/ 1988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732" y="19888"/>
                    </a:moveTo>
                    <a:cubicBezTo>
                      <a:pt x="10653" y="25023"/>
                      <a:pt x="14754" y="29251"/>
                      <a:pt x="19889" y="29329"/>
                    </a:cubicBezTo>
                    <a:cubicBezTo>
                      <a:pt x="25023" y="29407"/>
                      <a:pt x="29251" y="25308"/>
                      <a:pt x="29329" y="20172"/>
                    </a:cubicBezTo>
                    <a:cubicBezTo>
                      <a:pt x="29407" y="15037"/>
                      <a:pt x="25308" y="10810"/>
                      <a:pt x="20172" y="10732"/>
                    </a:cubicBezTo>
                    <a:cubicBezTo>
                      <a:pt x="20077" y="10730"/>
                      <a:pt x="19983" y="10730"/>
                      <a:pt x="19889" y="10732"/>
                    </a:cubicBezTo>
                    <a:cubicBezTo>
                      <a:pt x="14831" y="10732"/>
                      <a:pt x="10732" y="14831"/>
                      <a:pt x="10732" y="19888"/>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26" name="Freeform: Shape 525">
                <a:extLst>
                  <a:ext uri="{FF2B5EF4-FFF2-40B4-BE49-F238E27FC236}">
                    <a16:creationId xmlns:a16="http://schemas.microsoft.com/office/drawing/2014/main" id="{6F2A9372-2370-47C4-9298-72434427EF79}"/>
                  </a:ext>
                </a:extLst>
              </p:cNvPr>
              <p:cNvSpPr/>
              <p:nvPr/>
            </p:nvSpPr>
            <p:spPr>
              <a:xfrm>
                <a:off x="6177393" y="5864972"/>
                <a:ext cx="28615" cy="28615"/>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1"/>
                      <a:pt x="19182" y="10731"/>
                    </a:cubicBezTo>
                    <a:cubicBezTo>
                      <a:pt x="19178" y="10731"/>
                      <a:pt x="19175" y="10731"/>
                      <a:pt x="1917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27" name="Freeform: Shape 526">
                <a:extLst>
                  <a:ext uri="{FF2B5EF4-FFF2-40B4-BE49-F238E27FC236}">
                    <a16:creationId xmlns:a16="http://schemas.microsoft.com/office/drawing/2014/main" id="{0A8D663E-DDD6-467D-8833-E1D5B0BE372A}"/>
                  </a:ext>
                </a:extLst>
              </p:cNvPr>
              <p:cNvSpPr/>
              <p:nvPr/>
            </p:nvSpPr>
            <p:spPr>
              <a:xfrm>
                <a:off x="6257372" y="5966268"/>
                <a:ext cx="28615" cy="28615"/>
              </a:xfrm>
              <a:custGeom>
                <a:avLst/>
                <a:gdLst>
                  <a:gd name="connsiteX0" fmla="*/ 18457 w 28614"/>
                  <a:gd name="connsiteY0" fmla="*/ 10732 h 28614"/>
                  <a:gd name="connsiteX1" fmla="*/ 10732 w 28614"/>
                  <a:gd name="connsiteY1" fmla="*/ 18170 h 28614"/>
                  <a:gd name="connsiteX2" fmla="*/ 18171 w 28614"/>
                  <a:gd name="connsiteY2" fmla="*/ 25895 h 28614"/>
                  <a:gd name="connsiteX3" fmla="*/ 25895 w 28614"/>
                  <a:gd name="connsiteY3" fmla="*/ 18457 h 28614"/>
                  <a:gd name="connsiteX4" fmla="*/ 25896 w 28614"/>
                  <a:gd name="connsiteY4" fmla="*/ 18315 h 28614"/>
                  <a:gd name="connsiteX5" fmla="*/ 18601 w 28614"/>
                  <a:gd name="connsiteY5" fmla="*/ 10733 h 28614"/>
                  <a:gd name="connsiteX6" fmla="*/ 18457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7" y="10732"/>
                    </a:moveTo>
                    <a:cubicBezTo>
                      <a:pt x="14269" y="10653"/>
                      <a:pt x="10811" y="13983"/>
                      <a:pt x="10732" y="18170"/>
                    </a:cubicBezTo>
                    <a:cubicBezTo>
                      <a:pt x="10653" y="22358"/>
                      <a:pt x="13983" y="25816"/>
                      <a:pt x="18171" y="25895"/>
                    </a:cubicBezTo>
                    <a:cubicBezTo>
                      <a:pt x="22358" y="25974"/>
                      <a:pt x="25816" y="22644"/>
                      <a:pt x="25895" y="18457"/>
                    </a:cubicBezTo>
                    <a:cubicBezTo>
                      <a:pt x="25896" y="18409"/>
                      <a:pt x="25896" y="18362"/>
                      <a:pt x="25896" y="18315"/>
                    </a:cubicBezTo>
                    <a:cubicBezTo>
                      <a:pt x="25975" y="14207"/>
                      <a:pt x="22709" y="10812"/>
                      <a:pt x="18601" y="10733"/>
                    </a:cubicBezTo>
                    <a:cubicBezTo>
                      <a:pt x="18552" y="10732"/>
                      <a:pt x="18505" y="10732"/>
                      <a:pt x="18457"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28" name="Freeform: Shape 527">
                <a:extLst>
                  <a:ext uri="{FF2B5EF4-FFF2-40B4-BE49-F238E27FC236}">
                    <a16:creationId xmlns:a16="http://schemas.microsoft.com/office/drawing/2014/main" id="{A521D090-C8C4-45F7-827B-7D1E5BC402AF}"/>
                  </a:ext>
                </a:extLst>
              </p:cNvPr>
              <p:cNvSpPr/>
              <p:nvPr/>
            </p:nvSpPr>
            <p:spPr>
              <a:xfrm>
                <a:off x="5380313" y="6012339"/>
                <a:ext cx="28615" cy="42922"/>
              </a:xfrm>
              <a:custGeom>
                <a:avLst/>
                <a:gdLst>
                  <a:gd name="connsiteX0" fmla="*/ 20900 w 28614"/>
                  <a:gd name="connsiteY0" fmla="*/ 33480 h 42922"/>
                  <a:gd name="connsiteX1" fmla="*/ 30997 w 28614"/>
                  <a:gd name="connsiteY1" fmla="*/ 20827 h 42922"/>
                  <a:gd name="connsiteX2" fmla="*/ 20900 w 28614"/>
                  <a:gd name="connsiteY2" fmla="*/ 10731 h 42922"/>
                  <a:gd name="connsiteX3" fmla="*/ 20900 w 28614"/>
                  <a:gd name="connsiteY3" fmla="*/ 10731 h 42922"/>
                  <a:gd name="connsiteX4" fmla="*/ 10803 w 28614"/>
                  <a:gd name="connsiteY4" fmla="*/ 23383 h 42922"/>
                  <a:gd name="connsiteX5" fmla="*/ 20900 w 28614"/>
                  <a:gd name="connsiteY5" fmla="*/ 334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42922">
                    <a:moveTo>
                      <a:pt x="20900" y="33480"/>
                    </a:moveTo>
                    <a:cubicBezTo>
                      <a:pt x="27182" y="32774"/>
                      <a:pt x="31702" y="27110"/>
                      <a:pt x="30997" y="20827"/>
                    </a:cubicBezTo>
                    <a:cubicBezTo>
                      <a:pt x="30400" y="15518"/>
                      <a:pt x="26209" y="11327"/>
                      <a:pt x="20900" y="10731"/>
                    </a:cubicBezTo>
                    <a:lnTo>
                      <a:pt x="20900" y="10731"/>
                    </a:lnTo>
                    <a:cubicBezTo>
                      <a:pt x="14617" y="11436"/>
                      <a:pt x="10098" y="17100"/>
                      <a:pt x="10803" y="23383"/>
                    </a:cubicBezTo>
                    <a:cubicBezTo>
                      <a:pt x="11400" y="28692"/>
                      <a:pt x="15590" y="32883"/>
                      <a:pt x="20900" y="3348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29" name="Freeform: Shape 528">
                <a:extLst>
                  <a:ext uri="{FF2B5EF4-FFF2-40B4-BE49-F238E27FC236}">
                    <a16:creationId xmlns:a16="http://schemas.microsoft.com/office/drawing/2014/main" id="{538C6BE0-7C51-4E18-B528-18862546F12B}"/>
                  </a:ext>
                </a:extLst>
              </p:cNvPr>
              <p:cNvSpPr/>
              <p:nvPr/>
            </p:nvSpPr>
            <p:spPr>
              <a:xfrm>
                <a:off x="5223080" y="5812964"/>
                <a:ext cx="28615" cy="28615"/>
              </a:xfrm>
              <a:custGeom>
                <a:avLst/>
                <a:gdLst>
                  <a:gd name="connsiteX0" fmla="*/ 19892 w 28614"/>
                  <a:gd name="connsiteY0" fmla="*/ 11375 h 28614"/>
                  <a:gd name="connsiteX1" fmla="*/ 10735 w 28614"/>
                  <a:gd name="connsiteY1" fmla="*/ 20532 h 28614"/>
                  <a:gd name="connsiteX2" fmla="*/ 10735 w 28614"/>
                  <a:gd name="connsiteY2" fmla="*/ 20961 h 28614"/>
                  <a:gd name="connsiteX3" fmla="*/ 19600 w 28614"/>
                  <a:gd name="connsiteY3" fmla="*/ 30401 h 28614"/>
                  <a:gd name="connsiteX4" fmla="*/ 19749 w 28614"/>
                  <a:gd name="connsiteY4" fmla="*/ 30404 h 28614"/>
                  <a:gd name="connsiteX5" fmla="*/ 19749 w 28614"/>
                  <a:gd name="connsiteY5" fmla="*/ 30404 h 28614"/>
                  <a:gd name="connsiteX6" fmla="*/ 30736 w 28614"/>
                  <a:gd name="connsiteY6" fmla="*/ 21789 h 28614"/>
                  <a:gd name="connsiteX7" fmla="*/ 22121 w 28614"/>
                  <a:gd name="connsiteY7" fmla="*/ 10803 h 28614"/>
                  <a:gd name="connsiteX8" fmla="*/ 19749 w 28614"/>
                  <a:gd name="connsiteY8" fmla="*/ 1080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19892" y="11375"/>
                    </a:moveTo>
                    <a:cubicBezTo>
                      <a:pt x="14834" y="11375"/>
                      <a:pt x="10735" y="15474"/>
                      <a:pt x="10735" y="20532"/>
                    </a:cubicBezTo>
                    <a:lnTo>
                      <a:pt x="10735" y="20961"/>
                    </a:lnTo>
                    <a:cubicBezTo>
                      <a:pt x="10576" y="26016"/>
                      <a:pt x="14545" y="30242"/>
                      <a:pt x="19600" y="30401"/>
                    </a:cubicBezTo>
                    <a:cubicBezTo>
                      <a:pt x="19650" y="30402"/>
                      <a:pt x="19699" y="30404"/>
                      <a:pt x="19749" y="30404"/>
                    </a:cubicBezTo>
                    <a:lnTo>
                      <a:pt x="19749" y="30404"/>
                    </a:lnTo>
                    <a:cubicBezTo>
                      <a:pt x="25161" y="31059"/>
                      <a:pt x="30080" y="27202"/>
                      <a:pt x="30736" y="21789"/>
                    </a:cubicBezTo>
                    <a:cubicBezTo>
                      <a:pt x="31391" y="16377"/>
                      <a:pt x="27534" y="11458"/>
                      <a:pt x="22121" y="10803"/>
                    </a:cubicBezTo>
                    <a:cubicBezTo>
                      <a:pt x="21334" y="10707"/>
                      <a:pt x="20537" y="10707"/>
                      <a:pt x="19749" y="1080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30" name="Freeform: Shape 529">
                <a:extLst>
                  <a:ext uri="{FF2B5EF4-FFF2-40B4-BE49-F238E27FC236}">
                    <a16:creationId xmlns:a16="http://schemas.microsoft.com/office/drawing/2014/main" id="{295F76A0-652E-42F4-8E88-B6328FF7864F}"/>
                  </a:ext>
                </a:extLst>
              </p:cNvPr>
              <p:cNvSpPr/>
              <p:nvPr/>
            </p:nvSpPr>
            <p:spPr>
              <a:xfrm>
                <a:off x="5144964" y="5915478"/>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31" name="Freeform: Shape 530">
                <a:extLst>
                  <a:ext uri="{FF2B5EF4-FFF2-40B4-BE49-F238E27FC236}">
                    <a16:creationId xmlns:a16="http://schemas.microsoft.com/office/drawing/2014/main" id="{FDDAF745-7252-498E-AEDD-02E664073C6A}"/>
                  </a:ext>
                </a:extLst>
              </p:cNvPr>
              <p:cNvSpPr/>
              <p:nvPr/>
            </p:nvSpPr>
            <p:spPr>
              <a:xfrm>
                <a:off x="5379894" y="6063474"/>
                <a:ext cx="42922" cy="28615"/>
              </a:xfrm>
              <a:custGeom>
                <a:avLst/>
                <a:gdLst>
                  <a:gd name="connsiteX0" fmla="*/ 20460 w 42922"/>
                  <a:gd name="connsiteY0" fmla="*/ 10817 h 28614"/>
                  <a:gd name="connsiteX1" fmla="*/ 10731 w 42922"/>
                  <a:gd name="connsiteY1" fmla="*/ 20689 h 28614"/>
                  <a:gd name="connsiteX2" fmla="*/ 23464 w 42922"/>
                  <a:gd name="connsiteY2" fmla="*/ 30418 h 28614"/>
                  <a:gd name="connsiteX3" fmla="*/ 33336 w 42922"/>
                  <a:gd name="connsiteY3" fmla="*/ 20689 h 28614"/>
                  <a:gd name="connsiteX4" fmla="*/ 20460 w 42922"/>
                  <a:gd name="connsiteY4" fmla="*/ 10817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28614">
                    <a:moveTo>
                      <a:pt x="20460" y="10817"/>
                    </a:moveTo>
                    <a:cubicBezTo>
                      <a:pt x="15389" y="11592"/>
                      <a:pt x="11432" y="15609"/>
                      <a:pt x="10731" y="20689"/>
                    </a:cubicBezTo>
                    <a:cubicBezTo>
                      <a:pt x="11619" y="26859"/>
                      <a:pt x="17279" y="31182"/>
                      <a:pt x="23464" y="30418"/>
                    </a:cubicBezTo>
                    <a:cubicBezTo>
                      <a:pt x="28591" y="29810"/>
                      <a:pt x="32654" y="25805"/>
                      <a:pt x="33336" y="20689"/>
                    </a:cubicBezTo>
                    <a:cubicBezTo>
                      <a:pt x="32448" y="14441"/>
                      <a:pt x="26724" y="10053"/>
                      <a:pt x="20460" y="1081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32" name="Freeform: Shape 531">
                <a:extLst>
                  <a:ext uri="{FF2B5EF4-FFF2-40B4-BE49-F238E27FC236}">
                    <a16:creationId xmlns:a16="http://schemas.microsoft.com/office/drawing/2014/main" id="{6405C549-0016-469D-87F6-2B424FB6B3E1}"/>
                  </a:ext>
                </a:extLst>
              </p:cNvPr>
              <p:cNvSpPr/>
              <p:nvPr/>
            </p:nvSpPr>
            <p:spPr>
              <a:xfrm>
                <a:off x="6177382" y="5916957"/>
                <a:ext cx="28615" cy="28615"/>
              </a:xfrm>
              <a:custGeom>
                <a:avLst/>
                <a:gdLst>
                  <a:gd name="connsiteX0" fmla="*/ 17753 w 28614"/>
                  <a:gd name="connsiteY0" fmla="*/ 10825 h 28614"/>
                  <a:gd name="connsiteX1" fmla="*/ 10742 w 28614"/>
                  <a:gd name="connsiteY1" fmla="*/ 17835 h 28614"/>
                  <a:gd name="connsiteX2" fmla="*/ 18733 w 28614"/>
                  <a:gd name="connsiteY2" fmla="*/ 26705 h 28614"/>
                  <a:gd name="connsiteX3" fmla="*/ 27339 w 28614"/>
                  <a:gd name="connsiteY3" fmla="*/ 20411 h 28614"/>
                  <a:gd name="connsiteX4" fmla="*/ 27339 w 28614"/>
                  <a:gd name="connsiteY4" fmla="*/ 17835 h 28614"/>
                  <a:gd name="connsiteX5" fmla="*/ 17753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753" y="10825"/>
                    </a:moveTo>
                    <a:cubicBezTo>
                      <a:pt x="14145" y="11399"/>
                      <a:pt x="11316" y="14229"/>
                      <a:pt x="10742" y="17835"/>
                    </a:cubicBezTo>
                    <a:cubicBezTo>
                      <a:pt x="10499" y="22491"/>
                      <a:pt x="14077" y="26463"/>
                      <a:pt x="18733" y="26705"/>
                    </a:cubicBezTo>
                    <a:cubicBezTo>
                      <a:pt x="22731" y="26914"/>
                      <a:pt x="26326" y="24284"/>
                      <a:pt x="27339" y="20411"/>
                    </a:cubicBezTo>
                    <a:cubicBezTo>
                      <a:pt x="27483" y="19558"/>
                      <a:pt x="27483" y="18688"/>
                      <a:pt x="27339" y="17835"/>
                    </a:cubicBezTo>
                    <a:cubicBezTo>
                      <a:pt x="26605" y="13266"/>
                      <a:pt x="22330" y="10139"/>
                      <a:pt x="17753" y="1082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33" name="Freeform: Shape 532">
                <a:extLst>
                  <a:ext uri="{FF2B5EF4-FFF2-40B4-BE49-F238E27FC236}">
                    <a16:creationId xmlns:a16="http://schemas.microsoft.com/office/drawing/2014/main" id="{05E665CB-AC46-489E-AFEB-8ED0B3B1FE63}"/>
                  </a:ext>
                </a:extLst>
              </p:cNvPr>
              <p:cNvSpPr/>
              <p:nvPr/>
            </p:nvSpPr>
            <p:spPr>
              <a:xfrm>
                <a:off x="6257658" y="5916622"/>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34" name="Freeform: Shape 533">
                <a:extLst>
                  <a:ext uri="{FF2B5EF4-FFF2-40B4-BE49-F238E27FC236}">
                    <a16:creationId xmlns:a16="http://schemas.microsoft.com/office/drawing/2014/main" id="{115BEF7A-95C6-464C-A93D-B1C543582902}"/>
                  </a:ext>
                </a:extLst>
              </p:cNvPr>
              <p:cNvSpPr/>
              <p:nvPr/>
            </p:nvSpPr>
            <p:spPr>
              <a:xfrm>
                <a:off x="5144964" y="5814610"/>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35" name="Freeform: Shape 534">
                <a:extLst>
                  <a:ext uri="{FF2B5EF4-FFF2-40B4-BE49-F238E27FC236}">
                    <a16:creationId xmlns:a16="http://schemas.microsoft.com/office/drawing/2014/main" id="{8A94F219-4511-4B82-B1AF-A921C3F5EBB9}"/>
                  </a:ext>
                </a:extLst>
              </p:cNvPr>
              <p:cNvSpPr/>
              <p:nvPr/>
            </p:nvSpPr>
            <p:spPr>
              <a:xfrm>
                <a:off x="5065843" y="5815182"/>
                <a:ext cx="28615" cy="28615"/>
              </a:xfrm>
              <a:custGeom>
                <a:avLst/>
                <a:gdLst>
                  <a:gd name="connsiteX0" fmla="*/ 18459 w 28614"/>
                  <a:gd name="connsiteY0" fmla="*/ 11160 h 28614"/>
                  <a:gd name="connsiteX1" fmla="*/ 11019 w 28614"/>
                  <a:gd name="connsiteY1" fmla="*/ 18311 h 28614"/>
                  <a:gd name="connsiteX2" fmla="*/ 11019 w 28614"/>
                  <a:gd name="connsiteY2" fmla="*/ 18314 h 28614"/>
                  <a:gd name="connsiteX3" fmla="*/ 16129 w 28614"/>
                  <a:gd name="connsiteY3" fmla="*/ 27510 h 28614"/>
                  <a:gd name="connsiteX4" fmla="*/ 25326 w 28614"/>
                  <a:gd name="connsiteY4" fmla="*/ 22401 h 28614"/>
                  <a:gd name="connsiteX5" fmla="*/ 25326 w 28614"/>
                  <a:gd name="connsiteY5" fmla="*/ 18314 h 28614"/>
                  <a:gd name="connsiteX6" fmla="*/ 18321 w 28614"/>
                  <a:gd name="connsiteY6" fmla="*/ 10736 h 28614"/>
                  <a:gd name="connsiteX7" fmla="*/ 18029 w 28614"/>
                  <a:gd name="connsiteY7"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8459" y="11160"/>
                    </a:moveTo>
                    <a:cubicBezTo>
                      <a:pt x="14429" y="11080"/>
                      <a:pt x="11099" y="14282"/>
                      <a:pt x="11019" y="18311"/>
                    </a:cubicBezTo>
                    <a:cubicBezTo>
                      <a:pt x="11019" y="18312"/>
                      <a:pt x="11019" y="18312"/>
                      <a:pt x="11019" y="18314"/>
                    </a:cubicBezTo>
                    <a:cubicBezTo>
                      <a:pt x="9890" y="22264"/>
                      <a:pt x="12178" y="26382"/>
                      <a:pt x="16129" y="27510"/>
                    </a:cubicBezTo>
                    <a:cubicBezTo>
                      <a:pt x="20080" y="28639"/>
                      <a:pt x="24198" y="26352"/>
                      <a:pt x="25326" y="22401"/>
                    </a:cubicBezTo>
                    <a:cubicBezTo>
                      <a:pt x="25708" y="21065"/>
                      <a:pt x="25708" y="19650"/>
                      <a:pt x="25326" y="18314"/>
                    </a:cubicBezTo>
                    <a:cubicBezTo>
                      <a:pt x="25484" y="14287"/>
                      <a:pt x="22348" y="10894"/>
                      <a:pt x="18321" y="10736"/>
                    </a:cubicBezTo>
                    <a:cubicBezTo>
                      <a:pt x="18224" y="10732"/>
                      <a:pt x="18127" y="10731"/>
                      <a:pt x="18029"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36" name="Freeform: Shape 535">
                <a:extLst>
                  <a:ext uri="{FF2B5EF4-FFF2-40B4-BE49-F238E27FC236}">
                    <a16:creationId xmlns:a16="http://schemas.microsoft.com/office/drawing/2014/main" id="{4322FE02-B925-495A-A8D2-FEB328BFD27C}"/>
                  </a:ext>
                </a:extLst>
              </p:cNvPr>
              <p:cNvSpPr/>
              <p:nvPr/>
            </p:nvSpPr>
            <p:spPr>
              <a:xfrm>
                <a:off x="5300773" y="5963693"/>
                <a:ext cx="28615" cy="28615"/>
              </a:xfrm>
              <a:custGeom>
                <a:avLst/>
                <a:gdLst>
                  <a:gd name="connsiteX0" fmla="*/ 20890 w 28614"/>
                  <a:gd name="connsiteY0" fmla="*/ 31191 h 28614"/>
                  <a:gd name="connsiteX1" fmla="*/ 31334 w 28614"/>
                  <a:gd name="connsiteY1" fmla="*/ 21176 h 28614"/>
                  <a:gd name="connsiteX2" fmla="*/ 31334 w 28614"/>
                  <a:gd name="connsiteY2" fmla="*/ 21176 h 28614"/>
                  <a:gd name="connsiteX3" fmla="*/ 21178 w 28614"/>
                  <a:gd name="connsiteY3" fmla="*/ 10732 h 28614"/>
                  <a:gd name="connsiteX4" fmla="*/ 20890 w 28614"/>
                  <a:gd name="connsiteY4" fmla="*/ 10732 h 28614"/>
                  <a:gd name="connsiteX5" fmla="*/ 10732 w 28614"/>
                  <a:gd name="connsiteY5" fmla="*/ 20890 h 28614"/>
                  <a:gd name="connsiteX6" fmla="*/ 10732 w 28614"/>
                  <a:gd name="connsiteY6" fmla="*/ 20890 h 28614"/>
                  <a:gd name="connsiteX7" fmla="*/ 20745 w 28614"/>
                  <a:gd name="connsiteY7" fmla="*/ 31190 h 28614"/>
                  <a:gd name="connsiteX8" fmla="*/ 20890 w 28614"/>
                  <a:gd name="connsiteY8" fmla="*/ 3119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890" y="31191"/>
                    </a:moveTo>
                    <a:cubicBezTo>
                      <a:pt x="26524" y="31271"/>
                      <a:pt x="31178" y="26809"/>
                      <a:pt x="31334" y="21176"/>
                    </a:cubicBezTo>
                    <a:lnTo>
                      <a:pt x="31334" y="21176"/>
                    </a:lnTo>
                    <a:cubicBezTo>
                      <a:pt x="31415" y="15487"/>
                      <a:pt x="26866" y="10812"/>
                      <a:pt x="21178" y="10732"/>
                    </a:cubicBezTo>
                    <a:cubicBezTo>
                      <a:pt x="21082" y="10730"/>
                      <a:pt x="20986" y="10730"/>
                      <a:pt x="20890" y="10732"/>
                    </a:cubicBezTo>
                    <a:cubicBezTo>
                      <a:pt x="15280" y="10732"/>
                      <a:pt x="10732" y="15280"/>
                      <a:pt x="10732" y="20890"/>
                    </a:cubicBezTo>
                    <a:lnTo>
                      <a:pt x="10732" y="20890"/>
                    </a:lnTo>
                    <a:cubicBezTo>
                      <a:pt x="10653" y="26500"/>
                      <a:pt x="15135" y="31111"/>
                      <a:pt x="20745" y="31190"/>
                    </a:cubicBezTo>
                    <a:cubicBezTo>
                      <a:pt x="20794" y="31191"/>
                      <a:pt x="20841" y="31191"/>
                      <a:pt x="20890" y="3119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37" name="Freeform: Shape 536">
                <a:extLst>
                  <a:ext uri="{FF2B5EF4-FFF2-40B4-BE49-F238E27FC236}">
                    <a16:creationId xmlns:a16="http://schemas.microsoft.com/office/drawing/2014/main" id="{A4CC3CB1-0015-45E1-89EC-79299849414B}"/>
                  </a:ext>
                </a:extLst>
              </p:cNvPr>
              <p:cNvSpPr/>
              <p:nvPr/>
            </p:nvSpPr>
            <p:spPr>
              <a:xfrm>
                <a:off x="6257658" y="6015344"/>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38" name="Freeform: Shape 537">
                <a:extLst>
                  <a:ext uri="{FF2B5EF4-FFF2-40B4-BE49-F238E27FC236}">
                    <a16:creationId xmlns:a16="http://schemas.microsoft.com/office/drawing/2014/main" id="{D631CB60-D70F-4343-AC23-3DD1463EABE6}"/>
                  </a:ext>
                </a:extLst>
              </p:cNvPr>
              <p:cNvSpPr/>
              <p:nvPr/>
            </p:nvSpPr>
            <p:spPr>
              <a:xfrm>
                <a:off x="5301346" y="5913473"/>
                <a:ext cx="28615" cy="28615"/>
              </a:xfrm>
              <a:custGeom>
                <a:avLst/>
                <a:gdLst>
                  <a:gd name="connsiteX0" fmla="*/ 20889 w 28614"/>
                  <a:gd name="connsiteY0" fmla="*/ 31335 h 28614"/>
                  <a:gd name="connsiteX1" fmla="*/ 20889 w 28614"/>
                  <a:gd name="connsiteY1" fmla="*/ 31335 h 28614"/>
                  <a:gd name="connsiteX2" fmla="*/ 31333 w 28614"/>
                  <a:gd name="connsiteY2" fmla="*/ 20890 h 28614"/>
                  <a:gd name="connsiteX3" fmla="*/ 21177 w 28614"/>
                  <a:gd name="connsiteY3" fmla="*/ 10731 h 28614"/>
                  <a:gd name="connsiteX4" fmla="*/ 21032 w 28614"/>
                  <a:gd name="connsiteY4" fmla="*/ 10732 h 28614"/>
                  <a:gd name="connsiteX5" fmla="*/ 21032 w 28614"/>
                  <a:gd name="connsiteY5" fmla="*/ 10732 h 28614"/>
                  <a:gd name="connsiteX6" fmla="*/ 10731 w 28614"/>
                  <a:gd name="connsiteY6" fmla="*/ 21033 h 28614"/>
                  <a:gd name="connsiteX7" fmla="*/ 21032 w 28614"/>
                  <a:gd name="connsiteY7" fmla="*/ 313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0889" y="31335"/>
                    </a:moveTo>
                    <a:lnTo>
                      <a:pt x="20889" y="31335"/>
                    </a:lnTo>
                    <a:cubicBezTo>
                      <a:pt x="26658" y="31335"/>
                      <a:pt x="31333" y="26659"/>
                      <a:pt x="31333" y="20890"/>
                    </a:cubicBezTo>
                    <a:cubicBezTo>
                      <a:pt x="31333" y="15280"/>
                      <a:pt x="26786" y="10732"/>
                      <a:pt x="21177" y="10731"/>
                    </a:cubicBezTo>
                    <a:cubicBezTo>
                      <a:pt x="21128" y="10731"/>
                      <a:pt x="21081" y="10732"/>
                      <a:pt x="21032" y="10732"/>
                    </a:cubicBezTo>
                    <a:lnTo>
                      <a:pt x="21032" y="10732"/>
                    </a:lnTo>
                    <a:cubicBezTo>
                      <a:pt x="15343" y="10732"/>
                      <a:pt x="10731" y="15345"/>
                      <a:pt x="10731" y="21033"/>
                    </a:cubicBezTo>
                    <a:cubicBezTo>
                      <a:pt x="10731" y="26722"/>
                      <a:pt x="15343" y="31335"/>
                      <a:pt x="21032" y="3133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39" name="Freeform: Shape 538">
                <a:extLst>
                  <a:ext uri="{FF2B5EF4-FFF2-40B4-BE49-F238E27FC236}">
                    <a16:creationId xmlns:a16="http://schemas.microsoft.com/office/drawing/2014/main" id="{379A5540-655D-4CB5-8607-095BF9BDDC73}"/>
                  </a:ext>
                </a:extLst>
              </p:cNvPr>
              <p:cNvSpPr/>
              <p:nvPr/>
            </p:nvSpPr>
            <p:spPr>
              <a:xfrm>
                <a:off x="5457726" y="5961548"/>
                <a:ext cx="42922" cy="42922"/>
              </a:xfrm>
              <a:custGeom>
                <a:avLst/>
                <a:gdLst>
                  <a:gd name="connsiteX0" fmla="*/ 22893 w 42922"/>
                  <a:gd name="connsiteY0" fmla="*/ 35339 h 42922"/>
                  <a:gd name="connsiteX1" fmla="*/ 35339 w 42922"/>
                  <a:gd name="connsiteY1" fmla="*/ 23178 h 42922"/>
                  <a:gd name="connsiteX2" fmla="*/ 23178 w 42922"/>
                  <a:gd name="connsiteY2" fmla="*/ 10731 h 42922"/>
                  <a:gd name="connsiteX3" fmla="*/ 10732 w 42922"/>
                  <a:gd name="connsiteY3" fmla="*/ 22893 h 42922"/>
                  <a:gd name="connsiteX4" fmla="*/ 10732 w 42922"/>
                  <a:gd name="connsiteY4" fmla="*/ 23178 h 42922"/>
                  <a:gd name="connsiteX5" fmla="*/ 22893 w 42922"/>
                  <a:gd name="connsiteY5" fmla="*/ 353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35339"/>
                    </a:moveTo>
                    <a:cubicBezTo>
                      <a:pt x="29688" y="35418"/>
                      <a:pt x="35260" y="29972"/>
                      <a:pt x="35339" y="23178"/>
                    </a:cubicBezTo>
                    <a:cubicBezTo>
                      <a:pt x="35418" y="16383"/>
                      <a:pt x="29972" y="10810"/>
                      <a:pt x="23178" y="10731"/>
                    </a:cubicBezTo>
                    <a:cubicBezTo>
                      <a:pt x="16383" y="10653"/>
                      <a:pt x="10810" y="16098"/>
                      <a:pt x="10732" y="22893"/>
                    </a:cubicBezTo>
                    <a:cubicBezTo>
                      <a:pt x="10730" y="22987"/>
                      <a:pt x="10730" y="23083"/>
                      <a:pt x="10732" y="23178"/>
                    </a:cubicBezTo>
                    <a:cubicBezTo>
                      <a:pt x="10809" y="29862"/>
                      <a:pt x="16209" y="35262"/>
                      <a:pt x="22893" y="3533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40" name="Freeform: Shape 539">
                <a:extLst>
                  <a:ext uri="{FF2B5EF4-FFF2-40B4-BE49-F238E27FC236}">
                    <a16:creationId xmlns:a16="http://schemas.microsoft.com/office/drawing/2014/main" id="{E725C13D-1CA8-43CD-A17E-4FDEA495F095}"/>
                  </a:ext>
                </a:extLst>
              </p:cNvPr>
              <p:cNvSpPr/>
              <p:nvPr/>
            </p:nvSpPr>
            <p:spPr>
              <a:xfrm>
                <a:off x="5775210" y="5960832"/>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41" name="Freeform: Shape 540">
                <a:extLst>
                  <a:ext uri="{FF2B5EF4-FFF2-40B4-BE49-F238E27FC236}">
                    <a16:creationId xmlns:a16="http://schemas.microsoft.com/office/drawing/2014/main" id="{0CEF66B5-4CA1-4E5F-BB7E-F4D591E5D3C5}"/>
                  </a:ext>
                </a:extLst>
              </p:cNvPr>
              <p:cNvSpPr/>
              <p:nvPr/>
            </p:nvSpPr>
            <p:spPr>
              <a:xfrm>
                <a:off x="5775210" y="5910899"/>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42" name="Freeform: Shape 541">
                <a:extLst>
                  <a:ext uri="{FF2B5EF4-FFF2-40B4-BE49-F238E27FC236}">
                    <a16:creationId xmlns:a16="http://schemas.microsoft.com/office/drawing/2014/main" id="{BB9F6CE1-27DE-4C49-87C3-9F8204BA2FAC}"/>
                  </a:ext>
                </a:extLst>
              </p:cNvPr>
              <p:cNvSpPr/>
              <p:nvPr/>
            </p:nvSpPr>
            <p:spPr>
              <a:xfrm>
                <a:off x="5775210" y="6010479"/>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43" name="Freeform: Shape 542">
                <a:extLst>
                  <a:ext uri="{FF2B5EF4-FFF2-40B4-BE49-F238E27FC236}">
                    <a16:creationId xmlns:a16="http://schemas.microsoft.com/office/drawing/2014/main" id="{9614D6F7-C207-4DC3-BAC9-A63BAEF4FD1F}"/>
                  </a:ext>
                </a:extLst>
              </p:cNvPr>
              <p:cNvSpPr/>
              <p:nvPr/>
            </p:nvSpPr>
            <p:spPr>
              <a:xfrm>
                <a:off x="5775210" y="5811462"/>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44" name="Freeform: Shape 543">
                <a:extLst>
                  <a:ext uri="{FF2B5EF4-FFF2-40B4-BE49-F238E27FC236}">
                    <a16:creationId xmlns:a16="http://schemas.microsoft.com/office/drawing/2014/main" id="{2EF0C51E-63EC-454F-B04A-8B82321A9972}"/>
                  </a:ext>
                </a:extLst>
              </p:cNvPr>
              <p:cNvSpPr/>
              <p:nvPr/>
            </p:nvSpPr>
            <p:spPr>
              <a:xfrm>
                <a:off x="5775210" y="5861252"/>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45" name="Freeform: Shape 544">
                <a:extLst>
                  <a:ext uri="{FF2B5EF4-FFF2-40B4-BE49-F238E27FC236}">
                    <a16:creationId xmlns:a16="http://schemas.microsoft.com/office/drawing/2014/main" id="{EC783232-D871-4CAD-AA3B-BD1A30122EF2}"/>
                  </a:ext>
                </a:extLst>
              </p:cNvPr>
              <p:cNvSpPr/>
              <p:nvPr/>
            </p:nvSpPr>
            <p:spPr>
              <a:xfrm>
                <a:off x="5614537" y="5959402"/>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46" name="Freeform: Shape 545">
                <a:extLst>
                  <a:ext uri="{FF2B5EF4-FFF2-40B4-BE49-F238E27FC236}">
                    <a16:creationId xmlns:a16="http://schemas.microsoft.com/office/drawing/2014/main" id="{709EBED5-B74B-4C1D-AF1B-974C0F2A8B60}"/>
                  </a:ext>
                </a:extLst>
              </p:cNvPr>
              <p:cNvSpPr/>
              <p:nvPr/>
            </p:nvSpPr>
            <p:spPr>
              <a:xfrm>
                <a:off x="5775210" y="6060269"/>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47" name="Freeform: Shape 546">
                <a:extLst>
                  <a:ext uri="{FF2B5EF4-FFF2-40B4-BE49-F238E27FC236}">
                    <a16:creationId xmlns:a16="http://schemas.microsoft.com/office/drawing/2014/main" id="{6CC082C2-AC62-4304-832F-671E09942F43}"/>
                  </a:ext>
                </a:extLst>
              </p:cNvPr>
              <p:cNvSpPr/>
              <p:nvPr/>
            </p:nvSpPr>
            <p:spPr>
              <a:xfrm>
                <a:off x="6016434" y="5963551"/>
                <a:ext cx="28615" cy="28615"/>
              </a:xfrm>
              <a:custGeom>
                <a:avLst/>
                <a:gdLst>
                  <a:gd name="connsiteX0" fmla="*/ 21175 w 28614"/>
                  <a:gd name="connsiteY0" fmla="*/ 31333 h 28614"/>
                  <a:gd name="connsiteX1" fmla="*/ 31476 w 28614"/>
                  <a:gd name="connsiteY1" fmla="*/ 21032 h 28614"/>
                  <a:gd name="connsiteX2" fmla="*/ 21175 w 28614"/>
                  <a:gd name="connsiteY2" fmla="*/ 10731 h 28614"/>
                  <a:gd name="connsiteX3" fmla="*/ 21175 w 28614"/>
                  <a:gd name="connsiteY3" fmla="*/ 10731 h 28614"/>
                  <a:gd name="connsiteX4" fmla="*/ 10731 w 28614"/>
                  <a:gd name="connsiteY4" fmla="*/ 21175 h 28614"/>
                  <a:gd name="connsiteX5" fmla="*/ 20889 w 28614"/>
                  <a:gd name="connsiteY5"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1175" y="31333"/>
                    </a:moveTo>
                    <a:cubicBezTo>
                      <a:pt x="26864" y="31333"/>
                      <a:pt x="31476" y="26721"/>
                      <a:pt x="31476" y="21032"/>
                    </a:cubicBezTo>
                    <a:cubicBezTo>
                      <a:pt x="31476" y="15343"/>
                      <a:pt x="26864" y="10731"/>
                      <a:pt x="21175" y="10731"/>
                    </a:cubicBezTo>
                    <a:lnTo>
                      <a:pt x="21175" y="10731"/>
                    </a:lnTo>
                    <a:cubicBezTo>
                      <a:pt x="15406" y="10731"/>
                      <a:pt x="10731" y="15406"/>
                      <a:pt x="10731" y="21175"/>
                    </a:cubicBezTo>
                    <a:cubicBezTo>
                      <a:pt x="10731" y="26785"/>
                      <a:pt x="15279" y="31333"/>
                      <a:pt x="20889" y="3133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48" name="Freeform: Shape 547">
                <a:extLst>
                  <a:ext uri="{FF2B5EF4-FFF2-40B4-BE49-F238E27FC236}">
                    <a16:creationId xmlns:a16="http://schemas.microsoft.com/office/drawing/2014/main" id="{7727598E-96AD-45AC-BCB6-31310390BEFB}"/>
                  </a:ext>
                </a:extLst>
              </p:cNvPr>
              <p:cNvSpPr/>
              <p:nvPr/>
            </p:nvSpPr>
            <p:spPr>
              <a:xfrm>
                <a:off x="6013467" y="5863865"/>
                <a:ext cx="42922" cy="28615"/>
              </a:xfrm>
              <a:custGeom>
                <a:avLst/>
                <a:gdLst>
                  <a:gd name="connsiteX0" fmla="*/ 18133 w 42922"/>
                  <a:gd name="connsiteY0" fmla="*/ 30724 h 28614"/>
                  <a:gd name="connsiteX1" fmla="*/ 23713 w 42922"/>
                  <a:gd name="connsiteY1" fmla="*/ 30724 h 28614"/>
                  <a:gd name="connsiteX2" fmla="*/ 33871 w 42922"/>
                  <a:gd name="connsiteY2" fmla="*/ 20852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83" y="30652"/>
                      <a:pt x="33644" y="26317"/>
                      <a:pt x="33871" y="20852"/>
                    </a:cubicBezTo>
                    <a:cubicBezTo>
                      <a:pt x="33641" y="15409"/>
                      <a:pt x="29160" y="11118"/>
                      <a:pt x="23713" y="11123"/>
                    </a:cubicBezTo>
                    <a:cubicBezTo>
                      <a:pt x="18301" y="9582"/>
                      <a:pt x="12664" y="12721"/>
                      <a:pt x="11123" y="18133"/>
                    </a:cubicBezTo>
                    <a:cubicBezTo>
                      <a:pt x="9582" y="23546"/>
                      <a:pt x="12721" y="29183"/>
                      <a:pt x="18133" y="3072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49" name="Freeform: Shape 548">
                <a:extLst>
                  <a:ext uri="{FF2B5EF4-FFF2-40B4-BE49-F238E27FC236}">
                    <a16:creationId xmlns:a16="http://schemas.microsoft.com/office/drawing/2014/main" id="{75980493-972E-491C-A10E-AC9EE1A93680}"/>
                  </a:ext>
                </a:extLst>
              </p:cNvPr>
              <p:cNvSpPr/>
              <p:nvPr/>
            </p:nvSpPr>
            <p:spPr>
              <a:xfrm>
                <a:off x="6037037" y="6023499"/>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50" name="Freeform: Shape 549">
                <a:extLst>
                  <a:ext uri="{FF2B5EF4-FFF2-40B4-BE49-F238E27FC236}">
                    <a16:creationId xmlns:a16="http://schemas.microsoft.com/office/drawing/2014/main" id="{C37EC75F-4077-4257-B741-DBEBC2D8EA50}"/>
                  </a:ext>
                </a:extLst>
              </p:cNvPr>
              <p:cNvSpPr/>
              <p:nvPr/>
            </p:nvSpPr>
            <p:spPr>
              <a:xfrm>
                <a:off x="5694659" y="5810461"/>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51" name="Freeform: Shape 550">
                <a:extLst>
                  <a:ext uri="{FF2B5EF4-FFF2-40B4-BE49-F238E27FC236}">
                    <a16:creationId xmlns:a16="http://schemas.microsoft.com/office/drawing/2014/main" id="{9B250F64-DB89-46F9-9C8F-F333E67144C2}"/>
                  </a:ext>
                </a:extLst>
              </p:cNvPr>
              <p:cNvSpPr/>
              <p:nvPr/>
            </p:nvSpPr>
            <p:spPr>
              <a:xfrm>
                <a:off x="6016577" y="6062988"/>
                <a:ext cx="28615" cy="28615"/>
              </a:xfrm>
              <a:custGeom>
                <a:avLst/>
                <a:gdLst>
                  <a:gd name="connsiteX0" fmla="*/ 21175 w 28614"/>
                  <a:gd name="connsiteY0" fmla="*/ 10731 h 28614"/>
                  <a:gd name="connsiteX1" fmla="*/ 21175 w 28614"/>
                  <a:gd name="connsiteY1" fmla="*/ 10731 h 28614"/>
                  <a:gd name="connsiteX2" fmla="*/ 10731 w 28614"/>
                  <a:gd name="connsiteY2" fmla="*/ 21175 h 28614"/>
                  <a:gd name="connsiteX3" fmla="*/ 20889 w 28614"/>
                  <a:gd name="connsiteY3" fmla="*/ 31333 h 28614"/>
                  <a:gd name="connsiteX4" fmla="*/ 20889 w 28614"/>
                  <a:gd name="connsiteY4" fmla="*/ 31333 h 28614"/>
                  <a:gd name="connsiteX5" fmla="*/ 31190 w 28614"/>
                  <a:gd name="connsiteY5" fmla="*/ 21032 h 28614"/>
                  <a:gd name="connsiteX6" fmla="*/ 20889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175" y="10731"/>
                    </a:moveTo>
                    <a:lnTo>
                      <a:pt x="21175" y="10731"/>
                    </a:lnTo>
                    <a:cubicBezTo>
                      <a:pt x="15406" y="10731"/>
                      <a:pt x="10731" y="15406"/>
                      <a:pt x="10731" y="21175"/>
                    </a:cubicBezTo>
                    <a:cubicBezTo>
                      <a:pt x="10731" y="26785"/>
                      <a:pt x="15279" y="31333"/>
                      <a:pt x="20889" y="31333"/>
                    </a:cubicBezTo>
                    <a:lnTo>
                      <a:pt x="20889" y="31333"/>
                    </a:lnTo>
                    <a:cubicBezTo>
                      <a:pt x="26578" y="31333"/>
                      <a:pt x="31190" y="26721"/>
                      <a:pt x="31190" y="21032"/>
                    </a:cubicBezTo>
                    <a:cubicBezTo>
                      <a:pt x="31190" y="15343"/>
                      <a:pt x="26578" y="10731"/>
                      <a:pt x="20889"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52" name="Freeform: Shape 551">
                <a:extLst>
                  <a:ext uri="{FF2B5EF4-FFF2-40B4-BE49-F238E27FC236}">
                    <a16:creationId xmlns:a16="http://schemas.microsoft.com/office/drawing/2014/main" id="{B748F93A-24AF-47CC-9435-791CD2E8E80D}"/>
                  </a:ext>
                </a:extLst>
              </p:cNvPr>
              <p:cNvSpPr/>
              <p:nvPr/>
            </p:nvSpPr>
            <p:spPr>
              <a:xfrm>
                <a:off x="5614680" y="5909039"/>
                <a:ext cx="42922" cy="42922"/>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53" name="Freeform: Shape 552">
                <a:extLst>
                  <a:ext uri="{FF2B5EF4-FFF2-40B4-BE49-F238E27FC236}">
                    <a16:creationId xmlns:a16="http://schemas.microsoft.com/office/drawing/2014/main" id="{CF652792-D3AB-4EE3-A1B0-AD408D0BBE66}"/>
                  </a:ext>
                </a:extLst>
              </p:cNvPr>
              <p:cNvSpPr/>
              <p:nvPr/>
            </p:nvSpPr>
            <p:spPr>
              <a:xfrm>
                <a:off x="5694802" y="5860108"/>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54" name="Freeform: Shape 553">
                <a:extLst>
                  <a:ext uri="{FF2B5EF4-FFF2-40B4-BE49-F238E27FC236}">
                    <a16:creationId xmlns:a16="http://schemas.microsoft.com/office/drawing/2014/main" id="{CD4463AB-6C62-415A-9097-4D0A685FF3DD}"/>
                  </a:ext>
                </a:extLst>
              </p:cNvPr>
              <p:cNvSpPr/>
              <p:nvPr/>
            </p:nvSpPr>
            <p:spPr>
              <a:xfrm>
                <a:off x="6013467" y="6012949"/>
                <a:ext cx="42922" cy="28615"/>
              </a:xfrm>
              <a:custGeom>
                <a:avLst/>
                <a:gdLst>
                  <a:gd name="connsiteX0" fmla="*/ 18133 w 42922"/>
                  <a:gd name="connsiteY0" fmla="*/ 30724 h 28614"/>
                  <a:gd name="connsiteX1" fmla="*/ 23713 w 42922"/>
                  <a:gd name="connsiteY1" fmla="*/ 30724 h 28614"/>
                  <a:gd name="connsiteX2" fmla="*/ 33871 w 42922"/>
                  <a:gd name="connsiteY2" fmla="*/ 20995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60" y="30728"/>
                      <a:pt x="33641" y="26437"/>
                      <a:pt x="33871" y="20995"/>
                    </a:cubicBezTo>
                    <a:cubicBezTo>
                      <a:pt x="33644" y="15529"/>
                      <a:pt x="29183" y="11194"/>
                      <a:pt x="23713" y="11123"/>
                    </a:cubicBezTo>
                    <a:cubicBezTo>
                      <a:pt x="18301" y="9582"/>
                      <a:pt x="12664" y="12721"/>
                      <a:pt x="11123" y="18133"/>
                    </a:cubicBezTo>
                    <a:cubicBezTo>
                      <a:pt x="9582" y="23546"/>
                      <a:pt x="12721" y="29183"/>
                      <a:pt x="18133" y="3072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55" name="Freeform: Shape 554">
                <a:extLst>
                  <a:ext uri="{FF2B5EF4-FFF2-40B4-BE49-F238E27FC236}">
                    <a16:creationId xmlns:a16="http://schemas.microsoft.com/office/drawing/2014/main" id="{1DAD6C80-8B41-4534-9FBF-0148AEA96601}"/>
                  </a:ext>
                </a:extLst>
              </p:cNvPr>
              <p:cNvSpPr/>
              <p:nvPr/>
            </p:nvSpPr>
            <p:spPr>
              <a:xfrm>
                <a:off x="6016434" y="5913900"/>
                <a:ext cx="28615" cy="28615"/>
              </a:xfrm>
              <a:custGeom>
                <a:avLst/>
                <a:gdLst>
                  <a:gd name="connsiteX0" fmla="*/ 21175 w 28614"/>
                  <a:gd name="connsiteY0" fmla="*/ 10735 h 28614"/>
                  <a:gd name="connsiteX1" fmla="*/ 10733 w 28614"/>
                  <a:gd name="connsiteY1" fmla="*/ 20603 h 28614"/>
                  <a:gd name="connsiteX2" fmla="*/ 10731 w 28614"/>
                  <a:gd name="connsiteY2" fmla="*/ 20750 h 28614"/>
                  <a:gd name="connsiteX3" fmla="*/ 10731 w 28614"/>
                  <a:gd name="connsiteY3" fmla="*/ 20750 h 28614"/>
                  <a:gd name="connsiteX4" fmla="*/ 21175 w 28614"/>
                  <a:gd name="connsiteY4" fmla="*/ 31194 h 28614"/>
                  <a:gd name="connsiteX5" fmla="*/ 31333 w 28614"/>
                  <a:gd name="connsiteY5" fmla="*/ 21036 h 28614"/>
                  <a:gd name="connsiteX6" fmla="*/ 31333 w 28614"/>
                  <a:gd name="connsiteY6" fmla="*/ 21036 h 28614"/>
                  <a:gd name="connsiteX7" fmla="*/ 21320 w 28614"/>
                  <a:gd name="connsiteY7" fmla="*/ 10736 h 28614"/>
                  <a:gd name="connsiteX8" fmla="*/ 21175 w 28614"/>
                  <a:gd name="connsiteY8"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175" y="10735"/>
                    </a:moveTo>
                    <a:cubicBezTo>
                      <a:pt x="15567" y="10576"/>
                      <a:pt x="10892" y="14994"/>
                      <a:pt x="10733" y="20603"/>
                    </a:cubicBezTo>
                    <a:cubicBezTo>
                      <a:pt x="10732" y="20651"/>
                      <a:pt x="10731" y="20701"/>
                      <a:pt x="10731" y="20750"/>
                    </a:cubicBezTo>
                    <a:lnTo>
                      <a:pt x="10731" y="20750"/>
                    </a:lnTo>
                    <a:cubicBezTo>
                      <a:pt x="10731" y="26519"/>
                      <a:pt x="15406" y="31194"/>
                      <a:pt x="21175" y="31194"/>
                    </a:cubicBezTo>
                    <a:cubicBezTo>
                      <a:pt x="26785" y="31194"/>
                      <a:pt x="31333" y="26646"/>
                      <a:pt x="31333" y="21036"/>
                    </a:cubicBezTo>
                    <a:lnTo>
                      <a:pt x="31333" y="21036"/>
                    </a:lnTo>
                    <a:cubicBezTo>
                      <a:pt x="31412" y="15426"/>
                      <a:pt x="26929" y="10815"/>
                      <a:pt x="21320" y="10736"/>
                    </a:cubicBezTo>
                    <a:cubicBezTo>
                      <a:pt x="21271" y="10735"/>
                      <a:pt x="21224" y="10735"/>
                      <a:pt x="21175" y="1073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56" name="Freeform: Shape 555">
                <a:extLst>
                  <a:ext uri="{FF2B5EF4-FFF2-40B4-BE49-F238E27FC236}">
                    <a16:creationId xmlns:a16="http://schemas.microsoft.com/office/drawing/2014/main" id="{2DA1FEF3-56C5-4D70-90E5-6690892F7840}"/>
                  </a:ext>
                </a:extLst>
              </p:cNvPr>
              <p:cNvSpPr/>
              <p:nvPr/>
            </p:nvSpPr>
            <p:spPr>
              <a:xfrm>
                <a:off x="5935740" y="5962403"/>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57" name="Freeform: Shape 556">
                <a:extLst>
                  <a:ext uri="{FF2B5EF4-FFF2-40B4-BE49-F238E27FC236}">
                    <a16:creationId xmlns:a16="http://schemas.microsoft.com/office/drawing/2014/main" id="{50C4E0BF-2058-418D-983C-2FF9F54244E7}"/>
                  </a:ext>
                </a:extLst>
              </p:cNvPr>
              <p:cNvSpPr/>
              <p:nvPr/>
            </p:nvSpPr>
            <p:spPr>
              <a:xfrm>
                <a:off x="5855761" y="5862254"/>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58" name="Freeform: Shape 557">
                <a:extLst>
                  <a:ext uri="{FF2B5EF4-FFF2-40B4-BE49-F238E27FC236}">
                    <a16:creationId xmlns:a16="http://schemas.microsoft.com/office/drawing/2014/main" id="{C24499F4-220A-477D-AC93-3E9607555B68}"/>
                  </a:ext>
                </a:extLst>
              </p:cNvPr>
              <p:cNvSpPr/>
              <p:nvPr/>
            </p:nvSpPr>
            <p:spPr>
              <a:xfrm>
                <a:off x="5854903" y="5811605"/>
                <a:ext cx="42922" cy="42922"/>
              </a:xfrm>
              <a:custGeom>
                <a:avLst/>
                <a:gdLst>
                  <a:gd name="connsiteX0" fmla="*/ 24609 w 42922"/>
                  <a:gd name="connsiteY0" fmla="*/ 10731 h 42922"/>
                  <a:gd name="connsiteX1" fmla="*/ 22892 w 42922"/>
                  <a:gd name="connsiteY1" fmla="*/ 10731 h 42922"/>
                  <a:gd name="connsiteX2" fmla="*/ 10731 w 42922"/>
                  <a:gd name="connsiteY2" fmla="*/ 22892 h 42922"/>
                  <a:gd name="connsiteX3" fmla="*/ 22892 w 42922"/>
                  <a:gd name="connsiteY3" fmla="*/ 35053 h 42922"/>
                  <a:gd name="connsiteX4" fmla="*/ 35045 w 42922"/>
                  <a:gd name="connsiteY4" fmla="*/ 23758 h 42922"/>
                  <a:gd name="connsiteX5" fmla="*/ 35053 w 42922"/>
                  <a:gd name="connsiteY5" fmla="*/ 23321 h 42922"/>
                  <a:gd name="connsiteX6" fmla="*/ 35053 w 42922"/>
                  <a:gd name="connsiteY6" fmla="*/ 23321 h 42922"/>
                  <a:gd name="connsiteX7" fmla="*/ 35912 w 42922"/>
                  <a:gd name="connsiteY7" fmla="*/ 24180 h 42922"/>
                  <a:gd name="connsiteX8" fmla="*/ 25135 w 42922"/>
                  <a:gd name="connsiteY8" fmla="*/ 10776 h 42922"/>
                  <a:gd name="connsiteX9" fmla="*/ 24609 w 42922"/>
                  <a:gd name="connsiteY9"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4609" y="10731"/>
                    </a:moveTo>
                    <a:lnTo>
                      <a:pt x="22892" y="10731"/>
                    </a:lnTo>
                    <a:cubicBezTo>
                      <a:pt x="16176" y="10731"/>
                      <a:pt x="10731" y="16176"/>
                      <a:pt x="10731" y="22892"/>
                    </a:cubicBezTo>
                    <a:cubicBezTo>
                      <a:pt x="10731" y="29608"/>
                      <a:pt x="16176" y="35053"/>
                      <a:pt x="22892" y="35053"/>
                    </a:cubicBezTo>
                    <a:cubicBezTo>
                      <a:pt x="29367" y="35291"/>
                      <a:pt x="34809" y="30233"/>
                      <a:pt x="35045" y="23758"/>
                    </a:cubicBezTo>
                    <a:cubicBezTo>
                      <a:pt x="35050" y="23613"/>
                      <a:pt x="35053" y="23467"/>
                      <a:pt x="35053" y="23321"/>
                    </a:cubicBezTo>
                    <a:lnTo>
                      <a:pt x="35053" y="23321"/>
                    </a:lnTo>
                    <a:lnTo>
                      <a:pt x="35912" y="24180"/>
                    </a:lnTo>
                    <a:cubicBezTo>
                      <a:pt x="36637" y="17502"/>
                      <a:pt x="31813" y="11502"/>
                      <a:pt x="25135" y="10776"/>
                    </a:cubicBezTo>
                    <a:cubicBezTo>
                      <a:pt x="24959" y="10758"/>
                      <a:pt x="24785" y="10742"/>
                      <a:pt x="24609"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59" name="Freeform: Shape 558">
                <a:extLst>
                  <a:ext uri="{FF2B5EF4-FFF2-40B4-BE49-F238E27FC236}">
                    <a16:creationId xmlns:a16="http://schemas.microsoft.com/office/drawing/2014/main" id="{7D427F56-DF7E-4CE2-8FA2-BE9F296DA281}"/>
                  </a:ext>
                </a:extLst>
              </p:cNvPr>
              <p:cNvSpPr/>
              <p:nvPr/>
            </p:nvSpPr>
            <p:spPr>
              <a:xfrm>
                <a:off x="5935928" y="5914237"/>
                <a:ext cx="42922" cy="42922"/>
              </a:xfrm>
              <a:custGeom>
                <a:avLst/>
                <a:gdLst>
                  <a:gd name="connsiteX0" fmla="*/ 20558 w 42922"/>
                  <a:gd name="connsiteY0" fmla="*/ 10827 h 42922"/>
                  <a:gd name="connsiteX1" fmla="*/ 10829 w 42922"/>
                  <a:gd name="connsiteY1" fmla="*/ 20556 h 42922"/>
                  <a:gd name="connsiteX2" fmla="*/ 20558 w 42922"/>
                  <a:gd name="connsiteY2" fmla="*/ 33240 h 42922"/>
                  <a:gd name="connsiteX3" fmla="*/ 33241 w 42922"/>
                  <a:gd name="connsiteY3" fmla="*/ 23511 h 42922"/>
                  <a:gd name="connsiteX4" fmla="*/ 23512 w 42922"/>
                  <a:gd name="connsiteY4" fmla="*/ 10827 h 42922"/>
                  <a:gd name="connsiteX5" fmla="*/ 20558 w 42922"/>
                  <a:gd name="connsiteY5" fmla="*/ 1082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58" y="10827"/>
                    </a:moveTo>
                    <a:cubicBezTo>
                      <a:pt x="15463" y="11448"/>
                      <a:pt x="11450" y="15461"/>
                      <a:pt x="10829" y="20556"/>
                    </a:cubicBezTo>
                    <a:cubicBezTo>
                      <a:pt x="10013" y="26746"/>
                      <a:pt x="14368" y="32423"/>
                      <a:pt x="20558" y="33240"/>
                    </a:cubicBezTo>
                    <a:cubicBezTo>
                      <a:pt x="26747" y="34055"/>
                      <a:pt x="32424" y="29699"/>
                      <a:pt x="33241" y="23511"/>
                    </a:cubicBezTo>
                    <a:cubicBezTo>
                      <a:pt x="34057" y="17321"/>
                      <a:pt x="29700" y="11643"/>
                      <a:pt x="23512" y="10827"/>
                    </a:cubicBezTo>
                    <a:cubicBezTo>
                      <a:pt x="22531" y="10698"/>
                      <a:pt x="21538" y="10698"/>
                      <a:pt x="20558" y="1082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60" name="Freeform: Shape 559">
                <a:extLst>
                  <a:ext uri="{FF2B5EF4-FFF2-40B4-BE49-F238E27FC236}">
                    <a16:creationId xmlns:a16="http://schemas.microsoft.com/office/drawing/2014/main" id="{45CA46CF-9A4A-46D3-A9D2-7280B2F0E900}"/>
                  </a:ext>
                </a:extLst>
              </p:cNvPr>
              <p:cNvSpPr/>
              <p:nvPr/>
            </p:nvSpPr>
            <p:spPr>
              <a:xfrm>
                <a:off x="5935946" y="6013671"/>
                <a:ext cx="42922" cy="42922"/>
              </a:xfrm>
              <a:custGeom>
                <a:avLst/>
                <a:gdLst>
                  <a:gd name="connsiteX0" fmla="*/ 20540 w 42922"/>
                  <a:gd name="connsiteY0" fmla="*/ 10829 h 42922"/>
                  <a:gd name="connsiteX1" fmla="*/ 10810 w 42922"/>
                  <a:gd name="connsiteY1" fmla="*/ 20702 h 42922"/>
                  <a:gd name="connsiteX2" fmla="*/ 20703 w 42922"/>
                  <a:gd name="connsiteY2" fmla="*/ 33258 h 42922"/>
                  <a:gd name="connsiteX3" fmla="*/ 33259 w 42922"/>
                  <a:gd name="connsiteY3" fmla="*/ 23364 h 42922"/>
                  <a:gd name="connsiteX4" fmla="*/ 23367 w 42922"/>
                  <a:gd name="connsiteY4" fmla="*/ 10809 h 42922"/>
                  <a:gd name="connsiteX5" fmla="*/ 20540 w 42922"/>
                  <a:gd name="connsiteY5" fmla="*/ 1082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40" y="10829"/>
                    </a:moveTo>
                    <a:cubicBezTo>
                      <a:pt x="15446" y="11559"/>
                      <a:pt x="11466" y="15598"/>
                      <a:pt x="10810" y="20702"/>
                    </a:cubicBezTo>
                    <a:cubicBezTo>
                      <a:pt x="10075" y="26901"/>
                      <a:pt x="14505" y="32522"/>
                      <a:pt x="20703" y="33258"/>
                    </a:cubicBezTo>
                    <a:cubicBezTo>
                      <a:pt x="26902" y="33993"/>
                      <a:pt x="32523" y="29564"/>
                      <a:pt x="33259" y="23364"/>
                    </a:cubicBezTo>
                    <a:cubicBezTo>
                      <a:pt x="33994" y="17166"/>
                      <a:pt x="29565" y="11545"/>
                      <a:pt x="23367" y="10809"/>
                    </a:cubicBezTo>
                    <a:cubicBezTo>
                      <a:pt x="22427" y="10698"/>
                      <a:pt x="21477" y="10705"/>
                      <a:pt x="20540" y="1082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61" name="Freeform: Shape 560">
                <a:extLst>
                  <a:ext uri="{FF2B5EF4-FFF2-40B4-BE49-F238E27FC236}">
                    <a16:creationId xmlns:a16="http://schemas.microsoft.com/office/drawing/2014/main" id="{2505301E-80AB-47E7-82F8-AFCD0B188DB5}"/>
                  </a:ext>
                </a:extLst>
              </p:cNvPr>
              <p:cNvSpPr/>
              <p:nvPr/>
            </p:nvSpPr>
            <p:spPr>
              <a:xfrm>
                <a:off x="5935130" y="5813950"/>
                <a:ext cx="42922" cy="28615"/>
              </a:xfrm>
              <a:custGeom>
                <a:avLst/>
                <a:gdLst>
                  <a:gd name="connsiteX0" fmla="*/ 23645 w 42922"/>
                  <a:gd name="connsiteY0" fmla="*/ 30419 h 28614"/>
                  <a:gd name="connsiteX1" fmla="*/ 33374 w 42922"/>
                  <a:gd name="connsiteY1" fmla="*/ 20547 h 28614"/>
                  <a:gd name="connsiteX2" fmla="*/ 20640 w 42922"/>
                  <a:gd name="connsiteY2" fmla="*/ 10818 h 28614"/>
                  <a:gd name="connsiteX3" fmla="*/ 10731 w 42922"/>
                  <a:gd name="connsiteY3" fmla="*/ 20939 h 28614"/>
                  <a:gd name="connsiteX4" fmla="*/ 20852 w 42922"/>
                  <a:gd name="connsiteY4" fmla="*/ 30847 h 28614"/>
                  <a:gd name="connsiteX5" fmla="*/ 23645 w 42922"/>
                  <a:gd name="connsiteY5" fmla="*/ 3041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645" y="30419"/>
                    </a:moveTo>
                    <a:cubicBezTo>
                      <a:pt x="28716" y="29644"/>
                      <a:pt x="32673" y="25628"/>
                      <a:pt x="33374" y="20547"/>
                    </a:cubicBezTo>
                    <a:cubicBezTo>
                      <a:pt x="32487" y="14378"/>
                      <a:pt x="26826" y="10054"/>
                      <a:pt x="20640" y="10818"/>
                    </a:cubicBezTo>
                    <a:cubicBezTo>
                      <a:pt x="15109" y="10877"/>
                      <a:pt x="10674" y="15408"/>
                      <a:pt x="10731" y="20939"/>
                    </a:cubicBezTo>
                    <a:cubicBezTo>
                      <a:pt x="10790" y="26469"/>
                      <a:pt x="15321" y="30906"/>
                      <a:pt x="20852" y="30847"/>
                    </a:cubicBezTo>
                    <a:cubicBezTo>
                      <a:pt x="21799" y="30837"/>
                      <a:pt x="22739" y="30693"/>
                      <a:pt x="23645" y="3041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62" name="Freeform: Shape 561">
                <a:extLst>
                  <a:ext uri="{FF2B5EF4-FFF2-40B4-BE49-F238E27FC236}">
                    <a16:creationId xmlns:a16="http://schemas.microsoft.com/office/drawing/2014/main" id="{6EEBA6D6-BE50-4569-889A-11FF28132D34}"/>
                  </a:ext>
                </a:extLst>
              </p:cNvPr>
              <p:cNvSpPr/>
              <p:nvPr/>
            </p:nvSpPr>
            <p:spPr>
              <a:xfrm>
                <a:off x="5935740" y="6061840"/>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63" name="Freeform: Shape 562">
                <a:extLst>
                  <a:ext uri="{FF2B5EF4-FFF2-40B4-BE49-F238E27FC236}">
                    <a16:creationId xmlns:a16="http://schemas.microsoft.com/office/drawing/2014/main" id="{ED476482-1D5F-4688-A0E8-5CD473E92E0B}"/>
                  </a:ext>
                </a:extLst>
              </p:cNvPr>
              <p:cNvSpPr/>
              <p:nvPr/>
            </p:nvSpPr>
            <p:spPr>
              <a:xfrm>
                <a:off x="5855476" y="6011337"/>
                <a:ext cx="42922" cy="42922"/>
              </a:xfrm>
              <a:custGeom>
                <a:avLst/>
                <a:gdLst>
                  <a:gd name="connsiteX0" fmla="*/ 23178 w 42922"/>
                  <a:gd name="connsiteY0" fmla="*/ 10731 h 42922"/>
                  <a:gd name="connsiteX1" fmla="*/ 10731 w 42922"/>
                  <a:gd name="connsiteY1" fmla="*/ 22891 h 42922"/>
                  <a:gd name="connsiteX2" fmla="*/ 22891 w 42922"/>
                  <a:gd name="connsiteY2" fmla="*/ 35339 h 42922"/>
                  <a:gd name="connsiteX3" fmla="*/ 35337 w 42922"/>
                  <a:gd name="connsiteY3" fmla="*/ 23178 h 42922"/>
                  <a:gd name="connsiteX4" fmla="*/ 35339 w 42922"/>
                  <a:gd name="connsiteY4" fmla="*/ 23036 h 42922"/>
                  <a:gd name="connsiteX5" fmla="*/ 2317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178" y="10731"/>
                    </a:moveTo>
                    <a:cubicBezTo>
                      <a:pt x="16383" y="10653"/>
                      <a:pt x="10810" y="16097"/>
                      <a:pt x="10731" y="22891"/>
                    </a:cubicBezTo>
                    <a:cubicBezTo>
                      <a:pt x="10651" y="29687"/>
                      <a:pt x="16097" y="35260"/>
                      <a:pt x="22891" y="35339"/>
                    </a:cubicBezTo>
                    <a:cubicBezTo>
                      <a:pt x="29686" y="35418"/>
                      <a:pt x="35259" y="29974"/>
                      <a:pt x="35337" y="23178"/>
                    </a:cubicBezTo>
                    <a:cubicBezTo>
                      <a:pt x="35339" y="23130"/>
                      <a:pt x="35339" y="23083"/>
                      <a:pt x="35339" y="23036"/>
                    </a:cubicBezTo>
                    <a:cubicBezTo>
                      <a:pt x="35339" y="16296"/>
                      <a:pt x="29918" y="10810"/>
                      <a:pt x="2317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64" name="Freeform: Shape 563">
                <a:extLst>
                  <a:ext uri="{FF2B5EF4-FFF2-40B4-BE49-F238E27FC236}">
                    <a16:creationId xmlns:a16="http://schemas.microsoft.com/office/drawing/2014/main" id="{8E4C99AE-5594-4323-9C76-5C3AEA297DAC}"/>
                  </a:ext>
                </a:extLst>
              </p:cNvPr>
              <p:cNvSpPr/>
              <p:nvPr/>
            </p:nvSpPr>
            <p:spPr>
              <a:xfrm>
                <a:off x="5935739" y="5862823"/>
                <a:ext cx="42922" cy="42922"/>
              </a:xfrm>
              <a:custGeom>
                <a:avLst/>
                <a:gdLst>
                  <a:gd name="connsiteX0" fmla="*/ 22321 w 42922"/>
                  <a:gd name="connsiteY0" fmla="*/ 10734 h 42922"/>
                  <a:gd name="connsiteX1" fmla="*/ 10734 w 42922"/>
                  <a:gd name="connsiteY1" fmla="*/ 21747 h 42922"/>
                  <a:gd name="connsiteX2" fmla="*/ 10732 w 42922"/>
                  <a:gd name="connsiteY2" fmla="*/ 21894 h 42922"/>
                  <a:gd name="connsiteX3" fmla="*/ 22033 w 42922"/>
                  <a:gd name="connsiteY3" fmla="*/ 33483 h 42922"/>
                  <a:gd name="connsiteX4" fmla="*/ 22034 w 42922"/>
                  <a:gd name="connsiteY4" fmla="*/ 33483 h 42922"/>
                  <a:gd name="connsiteX5" fmla="*/ 22034 w 42922"/>
                  <a:gd name="connsiteY5" fmla="*/ 33483 h 42922"/>
                  <a:gd name="connsiteX6" fmla="*/ 33336 w 42922"/>
                  <a:gd name="connsiteY6" fmla="*/ 22468 h 42922"/>
                  <a:gd name="connsiteX7" fmla="*/ 33337 w 42922"/>
                  <a:gd name="connsiteY7" fmla="*/ 22323 h 42922"/>
                  <a:gd name="connsiteX8" fmla="*/ 22328 w 42922"/>
                  <a:gd name="connsiteY8" fmla="*/ 10734 h 42922"/>
                  <a:gd name="connsiteX9" fmla="*/ 22321 w 42922"/>
                  <a:gd name="connsiteY9"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2321" y="10734"/>
                    </a:moveTo>
                    <a:cubicBezTo>
                      <a:pt x="16080" y="10576"/>
                      <a:pt x="10893" y="15506"/>
                      <a:pt x="10734" y="21747"/>
                    </a:cubicBezTo>
                    <a:cubicBezTo>
                      <a:pt x="10733" y="21795"/>
                      <a:pt x="10732" y="21846"/>
                      <a:pt x="10732" y="21894"/>
                    </a:cubicBezTo>
                    <a:cubicBezTo>
                      <a:pt x="10651" y="28215"/>
                      <a:pt x="15712" y="33403"/>
                      <a:pt x="22033" y="33483"/>
                    </a:cubicBezTo>
                    <a:cubicBezTo>
                      <a:pt x="22033" y="33483"/>
                      <a:pt x="22034" y="33483"/>
                      <a:pt x="22034" y="33483"/>
                    </a:cubicBezTo>
                    <a:lnTo>
                      <a:pt x="22034" y="33483"/>
                    </a:lnTo>
                    <a:cubicBezTo>
                      <a:pt x="28197" y="33562"/>
                      <a:pt x="33257" y="28630"/>
                      <a:pt x="33336" y="22468"/>
                    </a:cubicBezTo>
                    <a:cubicBezTo>
                      <a:pt x="33337" y="22419"/>
                      <a:pt x="33337" y="22372"/>
                      <a:pt x="33337" y="22323"/>
                    </a:cubicBezTo>
                    <a:cubicBezTo>
                      <a:pt x="33498" y="16082"/>
                      <a:pt x="28569" y="10895"/>
                      <a:pt x="22328" y="10734"/>
                    </a:cubicBezTo>
                    <a:cubicBezTo>
                      <a:pt x="22325" y="10734"/>
                      <a:pt x="22323" y="10734"/>
                      <a:pt x="22321" y="1073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65" name="Freeform: Shape 564">
                <a:extLst>
                  <a:ext uri="{FF2B5EF4-FFF2-40B4-BE49-F238E27FC236}">
                    <a16:creationId xmlns:a16="http://schemas.microsoft.com/office/drawing/2014/main" id="{2764F01D-9F7B-4522-BC5B-3933BCBB5E56}"/>
                  </a:ext>
                </a:extLst>
              </p:cNvPr>
              <p:cNvSpPr/>
              <p:nvPr/>
            </p:nvSpPr>
            <p:spPr>
              <a:xfrm>
                <a:off x="5614951" y="5811605"/>
                <a:ext cx="42922" cy="42922"/>
              </a:xfrm>
              <a:custGeom>
                <a:avLst/>
                <a:gdLst>
                  <a:gd name="connsiteX0" fmla="*/ 23480 w 42922"/>
                  <a:gd name="connsiteY0" fmla="*/ 38916 h 42922"/>
                  <a:gd name="connsiteX1" fmla="*/ 38645 w 42922"/>
                  <a:gd name="connsiteY1" fmla="*/ 26040 h 42922"/>
                  <a:gd name="connsiteX2" fmla="*/ 25769 w 42922"/>
                  <a:gd name="connsiteY2" fmla="*/ 10731 h 42922"/>
                  <a:gd name="connsiteX3" fmla="*/ 25769 w 42922"/>
                  <a:gd name="connsiteY3" fmla="*/ 10731 h 42922"/>
                  <a:gd name="connsiteX4" fmla="*/ 11461 w 42922"/>
                  <a:gd name="connsiteY4" fmla="*/ 25038 h 42922"/>
                  <a:gd name="connsiteX5" fmla="*/ 10746 w 42922"/>
                  <a:gd name="connsiteY5" fmla="*/ 24037 h 42922"/>
                  <a:gd name="connsiteX6" fmla="*/ 23480 w 42922"/>
                  <a:gd name="connsiteY6" fmla="*/ 3891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3480" y="38916"/>
                    </a:moveTo>
                    <a:cubicBezTo>
                      <a:pt x="31180" y="39417"/>
                      <a:pt x="37890" y="33720"/>
                      <a:pt x="38645" y="26040"/>
                    </a:cubicBezTo>
                    <a:cubicBezTo>
                      <a:pt x="39226" y="18285"/>
                      <a:pt x="33508" y="11486"/>
                      <a:pt x="25769" y="10731"/>
                    </a:cubicBezTo>
                    <a:lnTo>
                      <a:pt x="25769" y="10731"/>
                    </a:lnTo>
                    <a:cubicBezTo>
                      <a:pt x="17867" y="10731"/>
                      <a:pt x="11461" y="17136"/>
                      <a:pt x="11461" y="25038"/>
                    </a:cubicBezTo>
                    <a:lnTo>
                      <a:pt x="10746" y="24037"/>
                    </a:lnTo>
                    <a:cubicBezTo>
                      <a:pt x="10400" y="31580"/>
                      <a:pt x="15974" y="38094"/>
                      <a:pt x="23480" y="3891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66" name="Freeform: Shape 565">
                <a:extLst>
                  <a:ext uri="{FF2B5EF4-FFF2-40B4-BE49-F238E27FC236}">
                    <a16:creationId xmlns:a16="http://schemas.microsoft.com/office/drawing/2014/main" id="{8CAD4E69-04AD-4117-80A4-4CEA822BFAEA}"/>
                  </a:ext>
                </a:extLst>
              </p:cNvPr>
              <p:cNvSpPr/>
              <p:nvPr/>
            </p:nvSpPr>
            <p:spPr>
              <a:xfrm>
                <a:off x="5855761" y="5911901"/>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3321 h 42922"/>
                  <a:gd name="connsiteX4" fmla="*/ 35053 w 42922"/>
                  <a:gd name="connsiteY4" fmla="*/ 23321 h 42922"/>
                  <a:gd name="connsiteX5" fmla="*/ 23328 w 42922"/>
                  <a:gd name="connsiteY5" fmla="*/ 10738 h 42922"/>
                  <a:gd name="connsiteX6" fmla="*/ 22892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1"/>
                    </a:moveTo>
                    <a:cubicBezTo>
                      <a:pt x="16176" y="10731"/>
                      <a:pt x="10731" y="16176"/>
                      <a:pt x="10731" y="22892"/>
                    </a:cubicBezTo>
                    <a:cubicBezTo>
                      <a:pt x="10731" y="29608"/>
                      <a:pt x="16176" y="35053"/>
                      <a:pt x="22892" y="35053"/>
                    </a:cubicBezTo>
                    <a:cubicBezTo>
                      <a:pt x="29475" y="35133"/>
                      <a:pt x="34897" y="29903"/>
                      <a:pt x="35053" y="23321"/>
                    </a:cubicBezTo>
                    <a:lnTo>
                      <a:pt x="35053" y="23321"/>
                    </a:lnTo>
                    <a:cubicBezTo>
                      <a:pt x="35291" y="16610"/>
                      <a:pt x="30041" y="10975"/>
                      <a:pt x="23328" y="10738"/>
                    </a:cubicBezTo>
                    <a:cubicBezTo>
                      <a:pt x="23184" y="10733"/>
                      <a:pt x="23038" y="10731"/>
                      <a:pt x="22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67" name="Freeform: Shape 566">
                <a:extLst>
                  <a:ext uri="{FF2B5EF4-FFF2-40B4-BE49-F238E27FC236}">
                    <a16:creationId xmlns:a16="http://schemas.microsoft.com/office/drawing/2014/main" id="{F96F9669-86EF-4BD8-805F-42096F85F38B}"/>
                  </a:ext>
                </a:extLst>
              </p:cNvPr>
              <p:cNvSpPr/>
              <p:nvPr/>
            </p:nvSpPr>
            <p:spPr>
              <a:xfrm>
                <a:off x="5856190" y="6061270"/>
                <a:ext cx="42922" cy="42922"/>
              </a:xfrm>
              <a:custGeom>
                <a:avLst/>
                <a:gdLst>
                  <a:gd name="connsiteX0" fmla="*/ 22892 w 42922"/>
                  <a:gd name="connsiteY0" fmla="*/ 10732 h 42922"/>
                  <a:gd name="connsiteX1" fmla="*/ 22892 w 42922"/>
                  <a:gd name="connsiteY1" fmla="*/ 10732 h 42922"/>
                  <a:gd name="connsiteX2" fmla="*/ 10731 w 42922"/>
                  <a:gd name="connsiteY2" fmla="*/ 22893 h 42922"/>
                  <a:gd name="connsiteX3" fmla="*/ 22892 w 42922"/>
                  <a:gd name="connsiteY3" fmla="*/ 35054 h 42922"/>
                  <a:gd name="connsiteX4" fmla="*/ 35053 w 42922"/>
                  <a:gd name="connsiteY4" fmla="*/ 22893 h 42922"/>
                  <a:gd name="connsiteX5" fmla="*/ 23180 w 42922"/>
                  <a:gd name="connsiteY5" fmla="*/ 10732 h 42922"/>
                  <a:gd name="connsiteX6" fmla="*/ 22892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2"/>
                    </a:moveTo>
                    <a:lnTo>
                      <a:pt x="22892" y="10732"/>
                    </a:lnTo>
                    <a:cubicBezTo>
                      <a:pt x="16176" y="10732"/>
                      <a:pt x="10731" y="16177"/>
                      <a:pt x="10731" y="22893"/>
                    </a:cubicBezTo>
                    <a:cubicBezTo>
                      <a:pt x="10731" y="29609"/>
                      <a:pt x="16176" y="35054"/>
                      <a:pt x="22892" y="35054"/>
                    </a:cubicBezTo>
                    <a:cubicBezTo>
                      <a:pt x="29608" y="35054"/>
                      <a:pt x="35053" y="29609"/>
                      <a:pt x="35053" y="22893"/>
                    </a:cubicBezTo>
                    <a:cubicBezTo>
                      <a:pt x="35132" y="16256"/>
                      <a:pt x="29817" y="10812"/>
                      <a:pt x="23180" y="10732"/>
                    </a:cubicBezTo>
                    <a:cubicBezTo>
                      <a:pt x="23084" y="10730"/>
                      <a:pt x="22988" y="10730"/>
                      <a:pt x="22892"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68" name="Freeform: Shape 567">
                <a:extLst>
                  <a:ext uri="{FF2B5EF4-FFF2-40B4-BE49-F238E27FC236}">
                    <a16:creationId xmlns:a16="http://schemas.microsoft.com/office/drawing/2014/main" id="{D03D6651-BC56-42F3-8EF8-3AF360CD3BE6}"/>
                  </a:ext>
                </a:extLst>
              </p:cNvPr>
              <p:cNvSpPr/>
              <p:nvPr/>
            </p:nvSpPr>
            <p:spPr>
              <a:xfrm>
                <a:off x="5614537" y="5859965"/>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69" name="Freeform: Shape 568">
                <a:extLst>
                  <a:ext uri="{FF2B5EF4-FFF2-40B4-BE49-F238E27FC236}">
                    <a16:creationId xmlns:a16="http://schemas.microsoft.com/office/drawing/2014/main" id="{7BDAA265-1694-48E4-9C51-1047CCB77139}"/>
                  </a:ext>
                </a:extLst>
              </p:cNvPr>
              <p:cNvSpPr/>
              <p:nvPr/>
            </p:nvSpPr>
            <p:spPr>
              <a:xfrm>
                <a:off x="5855476" y="5961690"/>
                <a:ext cx="42922" cy="42922"/>
              </a:xfrm>
              <a:custGeom>
                <a:avLst/>
                <a:gdLst>
                  <a:gd name="connsiteX0" fmla="*/ 23178 w 42922"/>
                  <a:gd name="connsiteY0" fmla="*/ 10731 h 42922"/>
                  <a:gd name="connsiteX1" fmla="*/ 10731 w 42922"/>
                  <a:gd name="connsiteY1" fmla="*/ 22891 h 42922"/>
                  <a:gd name="connsiteX2" fmla="*/ 22891 w 42922"/>
                  <a:gd name="connsiteY2" fmla="*/ 35339 h 42922"/>
                  <a:gd name="connsiteX3" fmla="*/ 35337 w 42922"/>
                  <a:gd name="connsiteY3" fmla="*/ 23178 h 42922"/>
                  <a:gd name="connsiteX4" fmla="*/ 35339 w 42922"/>
                  <a:gd name="connsiteY4" fmla="*/ 23036 h 42922"/>
                  <a:gd name="connsiteX5" fmla="*/ 2317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178" y="10731"/>
                    </a:moveTo>
                    <a:cubicBezTo>
                      <a:pt x="16383" y="10653"/>
                      <a:pt x="10810" y="16097"/>
                      <a:pt x="10731" y="22891"/>
                    </a:cubicBezTo>
                    <a:cubicBezTo>
                      <a:pt x="10651" y="29687"/>
                      <a:pt x="16097" y="35260"/>
                      <a:pt x="22891" y="35339"/>
                    </a:cubicBezTo>
                    <a:cubicBezTo>
                      <a:pt x="29686" y="35418"/>
                      <a:pt x="35259" y="29974"/>
                      <a:pt x="35337" y="23178"/>
                    </a:cubicBezTo>
                    <a:cubicBezTo>
                      <a:pt x="35339" y="23130"/>
                      <a:pt x="35339" y="23083"/>
                      <a:pt x="35339" y="23036"/>
                    </a:cubicBezTo>
                    <a:cubicBezTo>
                      <a:pt x="35339" y="16296"/>
                      <a:pt x="29918" y="10810"/>
                      <a:pt x="2317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70" name="Freeform: Shape 569">
                <a:extLst>
                  <a:ext uri="{FF2B5EF4-FFF2-40B4-BE49-F238E27FC236}">
                    <a16:creationId xmlns:a16="http://schemas.microsoft.com/office/drawing/2014/main" id="{FECD0FC8-5D8C-4B1D-B7E3-9051600485E0}"/>
                  </a:ext>
                </a:extLst>
              </p:cNvPr>
              <p:cNvSpPr/>
              <p:nvPr/>
            </p:nvSpPr>
            <p:spPr>
              <a:xfrm>
                <a:off x="5614394" y="6009192"/>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71" name="Freeform: Shape 570">
                <a:extLst>
                  <a:ext uri="{FF2B5EF4-FFF2-40B4-BE49-F238E27FC236}">
                    <a16:creationId xmlns:a16="http://schemas.microsoft.com/office/drawing/2014/main" id="{BF72E087-793C-4F63-9BCE-7F057CD82E7D}"/>
                  </a:ext>
                </a:extLst>
              </p:cNvPr>
              <p:cNvSpPr/>
              <p:nvPr/>
            </p:nvSpPr>
            <p:spPr>
              <a:xfrm>
                <a:off x="5536847" y="6060269"/>
                <a:ext cx="42922" cy="42922"/>
              </a:xfrm>
              <a:custGeom>
                <a:avLst/>
                <a:gdLst>
                  <a:gd name="connsiteX0" fmla="*/ 23894 w 42922"/>
                  <a:gd name="connsiteY0" fmla="*/ 10731 h 42922"/>
                  <a:gd name="connsiteX1" fmla="*/ 10731 w 42922"/>
                  <a:gd name="connsiteY1" fmla="*/ 23894 h 42922"/>
                  <a:gd name="connsiteX2" fmla="*/ 23894 w 42922"/>
                  <a:gd name="connsiteY2" fmla="*/ 37056 h 42922"/>
                  <a:gd name="connsiteX3" fmla="*/ 37056 w 42922"/>
                  <a:gd name="connsiteY3" fmla="*/ 23894 h 42922"/>
                  <a:gd name="connsiteX4" fmla="*/ 23894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4" y="10731"/>
                    </a:moveTo>
                    <a:cubicBezTo>
                      <a:pt x="16624" y="10731"/>
                      <a:pt x="10731" y="16624"/>
                      <a:pt x="10731" y="23894"/>
                    </a:cubicBezTo>
                    <a:cubicBezTo>
                      <a:pt x="10731" y="31163"/>
                      <a:pt x="16624" y="37056"/>
                      <a:pt x="23894" y="37056"/>
                    </a:cubicBezTo>
                    <a:cubicBezTo>
                      <a:pt x="31163" y="37056"/>
                      <a:pt x="37056" y="31163"/>
                      <a:pt x="37056" y="23894"/>
                    </a:cubicBezTo>
                    <a:cubicBezTo>
                      <a:pt x="37056" y="16624"/>
                      <a:pt x="31163" y="10731"/>
                      <a:pt x="23894"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72" name="Freeform: Shape 571">
                <a:extLst>
                  <a:ext uri="{FF2B5EF4-FFF2-40B4-BE49-F238E27FC236}">
                    <a16:creationId xmlns:a16="http://schemas.microsoft.com/office/drawing/2014/main" id="{5D25AC6C-1C1E-4456-9636-CBDBD893E400}"/>
                  </a:ext>
                </a:extLst>
              </p:cNvPr>
              <p:cNvSpPr/>
              <p:nvPr/>
            </p:nvSpPr>
            <p:spPr>
              <a:xfrm>
                <a:off x="5615109" y="6059268"/>
                <a:ext cx="42922" cy="42922"/>
              </a:xfrm>
              <a:custGeom>
                <a:avLst/>
                <a:gdLst>
                  <a:gd name="connsiteX0" fmla="*/ 25038 w 42922"/>
                  <a:gd name="connsiteY0" fmla="*/ 10731 h 42922"/>
                  <a:gd name="connsiteX1" fmla="*/ 10731 w 42922"/>
                  <a:gd name="connsiteY1" fmla="*/ 25038 h 42922"/>
                  <a:gd name="connsiteX2" fmla="*/ 10731 w 42922"/>
                  <a:gd name="connsiteY2" fmla="*/ 25038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lnTo>
                      <a:pt x="10731" y="25038"/>
                    </a:lnTo>
                    <a:cubicBezTo>
                      <a:pt x="10731" y="32940"/>
                      <a:pt x="17136" y="39346"/>
                      <a:pt x="25038" y="39346"/>
                    </a:cubicBez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73" name="Freeform: Shape 572">
                <a:extLst>
                  <a:ext uri="{FF2B5EF4-FFF2-40B4-BE49-F238E27FC236}">
                    <a16:creationId xmlns:a16="http://schemas.microsoft.com/office/drawing/2014/main" id="{5CA280E3-B66A-4D49-9CB5-6720013CF829}"/>
                  </a:ext>
                </a:extLst>
              </p:cNvPr>
              <p:cNvSpPr/>
              <p:nvPr/>
            </p:nvSpPr>
            <p:spPr>
              <a:xfrm>
                <a:off x="5536990" y="5910470"/>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74" name="Freeform: Shape 573">
                <a:extLst>
                  <a:ext uri="{FF2B5EF4-FFF2-40B4-BE49-F238E27FC236}">
                    <a16:creationId xmlns:a16="http://schemas.microsoft.com/office/drawing/2014/main" id="{8AB102F0-94A5-47A0-B07A-11B94ECC645A}"/>
                  </a:ext>
                </a:extLst>
              </p:cNvPr>
              <p:cNvSpPr/>
              <p:nvPr/>
            </p:nvSpPr>
            <p:spPr>
              <a:xfrm>
                <a:off x="5536275" y="5861252"/>
                <a:ext cx="42922" cy="42922"/>
              </a:xfrm>
              <a:custGeom>
                <a:avLst/>
                <a:gdLst>
                  <a:gd name="connsiteX0" fmla="*/ 23893 w 42922"/>
                  <a:gd name="connsiteY0" fmla="*/ 37056 h 42922"/>
                  <a:gd name="connsiteX1" fmla="*/ 37056 w 42922"/>
                  <a:gd name="connsiteY1" fmla="*/ 23894 h 42922"/>
                  <a:gd name="connsiteX2" fmla="*/ 23893 w 42922"/>
                  <a:gd name="connsiteY2" fmla="*/ 10731 h 42922"/>
                  <a:gd name="connsiteX3" fmla="*/ 10731 w 42922"/>
                  <a:gd name="connsiteY3" fmla="*/ 23894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4"/>
                    </a:cubicBezTo>
                    <a:cubicBezTo>
                      <a:pt x="37056" y="16624"/>
                      <a:pt x="31163" y="10731"/>
                      <a:pt x="23893" y="10731"/>
                    </a:cubicBezTo>
                    <a:cubicBezTo>
                      <a:pt x="16624" y="10731"/>
                      <a:pt x="10731" y="16624"/>
                      <a:pt x="10731" y="23894"/>
                    </a:cubicBezTo>
                    <a:cubicBezTo>
                      <a:pt x="10731" y="31163"/>
                      <a:pt x="16624" y="37056"/>
                      <a:pt x="23893" y="3705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75" name="Freeform: Shape 574">
                <a:extLst>
                  <a:ext uri="{FF2B5EF4-FFF2-40B4-BE49-F238E27FC236}">
                    <a16:creationId xmlns:a16="http://schemas.microsoft.com/office/drawing/2014/main" id="{AE851DF1-C2FB-4178-A311-8546289DC902}"/>
                  </a:ext>
                </a:extLst>
              </p:cNvPr>
              <p:cNvSpPr/>
              <p:nvPr/>
            </p:nvSpPr>
            <p:spPr>
              <a:xfrm>
                <a:off x="5536274" y="5960689"/>
                <a:ext cx="42922" cy="42922"/>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2"/>
                      <a:pt x="37056" y="23892"/>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76" name="Freeform: Shape 575">
                <a:extLst>
                  <a:ext uri="{FF2B5EF4-FFF2-40B4-BE49-F238E27FC236}">
                    <a16:creationId xmlns:a16="http://schemas.microsoft.com/office/drawing/2014/main" id="{0784CA39-C165-4BB0-A2B2-D2CB4423C40A}"/>
                  </a:ext>
                </a:extLst>
              </p:cNvPr>
              <p:cNvSpPr/>
              <p:nvPr/>
            </p:nvSpPr>
            <p:spPr>
              <a:xfrm>
                <a:off x="5536274" y="6010336"/>
                <a:ext cx="42922" cy="42922"/>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2"/>
                      <a:pt x="37056" y="23892"/>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77" name="Freeform: Shape 576">
                <a:extLst>
                  <a:ext uri="{FF2B5EF4-FFF2-40B4-BE49-F238E27FC236}">
                    <a16:creationId xmlns:a16="http://schemas.microsoft.com/office/drawing/2014/main" id="{6053614B-8C62-44B9-903E-1B99AF1C4B28}"/>
                  </a:ext>
                </a:extLst>
              </p:cNvPr>
              <p:cNvSpPr/>
              <p:nvPr/>
            </p:nvSpPr>
            <p:spPr>
              <a:xfrm>
                <a:off x="5457727" y="5862254"/>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78" name="Freeform: Shape 577">
                <a:extLst>
                  <a:ext uri="{FF2B5EF4-FFF2-40B4-BE49-F238E27FC236}">
                    <a16:creationId xmlns:a16="http://schemas.microsoft.com/office/drawing/2014/main" id="{8D70E27A-5094-45A5-A164-2A81E5EC49D4}"/>
                  </a:ext>
                </a:extLst>
              </p:cNvPr>
              <p:cNvSpPr/>
              <p:nvPr/>
            </p:nvSpPr>
            <p:spPr>
              <a:xfrm>
                <a:off x="6097271" y="6013626"/>
                <a:ext cx="28615" cy="28615"/>
              </a:xfrm>
              <a:custGeom>
                <a:avLst/>
                <a:gdLst>
                  <a:gd name="connsiteX0" fmla="*/ 20174 w 28614"/>
                  <a:gd name="connsiteY0" fmla="*/ 10732 h 28614"/>
                  <a:gd name="connsiteX1" fmla="*/ 10731 w 28614"/>
                  <a:gd name="connsiteY1" fmla="*/ 19889 h 28614"/>
                  <a:gd name="connsiteX2" fmla="*/ 20174 w 28614"/>
                  <a:gd name="connsiteY2" fmla="*/ 29332 h 28614"/>
                  <a:gd name="connsiteX3" fmla="*/ 29473 w 28614"/>
                  <a:gd name="connsiteY3" fmla="*/ 19889 h 28614"/>
                  <a:gd name="connsiteX4" fmla="*/ 20318 w 28614"/>
                  <a:gd name="connsiteY4" fmla="*/ 10731 h 28614"/>
                  <a:gd name="connsiteX5" fmla="*/ 20174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174" y="10732"/>
                    </a:moveTo>
                    <a:cubicBezTo>
                      <a:pt x="15069" y="10729"/>
                      <a:pt x="10885" y="14785"/>
                      <a:pt x="10731" y="19889"/>
                    </a:cubicBezTo>
                    <a:cubicBezTo>
                      <a:pt x="10880" y="25041"/>
                      <a:pt x="15021" y="29183"/>
                      <a:pt x="20174" y="29332"/>
                    </a:cubicBezTo>
                    <a:cubicBezTo>
                      <a:pt x="25333" y="29253"/>
                      <a:pt x="29473" y="25048"/>
                      <a:pt x="29473" y="19889"/>
                    </a:cubicBezTo>
                    <a:cubicBezTo>
                      <a:pt x="29473" y="14831"/>
                      <a:pt x="25374" y="10732"/>
                      <a:pt x="20318" y="10731"/>
                    </a:cubicBezTo>
                    <a:cubicBezTo>
                      <a:pt x="20269" y="10731"/>
                      <a:pt x="20222" y="10731"/>
                      <a:pt x="20174"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79" name="Freeform: Shape 578">
                <a:extLst>
                  <a:ext uri="{FF2B5EF4-FFF2-40B4-BE49-F238E27FC236}">
                    <a16:creationId xmlns:a16="http://schemas.microsoft.com/office/drawing/2014/main" id="{FD3ADF6B-07F3-44FA-8F34-48C2E0192FC1}"/>
                  </a:ext>
                </a:extLst>
              </p:cNvPr>
              <p:cNvSpPr/>
              <p:nvPr/>
            </p:nvSpPr>
            <p:spPr>
              <a:xfrm>
                <a:off x="5536990" y="5812464"/>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80" name="Freeform: Shape 579">
                <a:extLst>
                  <a:ext uri="{FF2B5EF4-FFF2-40B4-BE49-F238E27FC236}">
                    <a16:creationId xmlns:a16="http://schemas.microsoft.com/office/drawing/2014/main" id="{65514E74-8C59-4183-ACA9-53E11FE62057}"/>
                  </a:ext>
                </a:extLst>
              </p:cNvPr>
              <p:cNvSpPr/>
              <p:nvPr/>
            </p:nvSpPr>
            <p:spPr>
              <a:xfrm>
                <a:off x="6096984" y="6063989"/>
                <a:ext cx="28615" cy="28615"/>
              </a:xfrm>
              <a:custGeom>
                <a:avLst/>
                <a:gdLst>
                  <a:gd name="connsiteX0" fmla="*/ 20461 w 28614"/>
                  <a:gd name="connsiteY0" fmla="*/ 10731 h 28614"/>
                  <a:gd name="connsiteX1" fmla="*/ 20461 w 28614"/>
                  <a:gd name="connsiteY1" fmla="*/ 10731 h 28614"/>
                  <a:gd name="connsiteX2" fmla="*/ 10731 w 28614"/>
                  <a:gd name="connsiteY2" fmla="*/ 20458 h 28614"/>
                  <a:gd name="connsiteX3" fmla="*/ 10732 w 28614"/>
                  <a:gd name="connsiteY3" fmla="*/ 20603 h 28614"/>
                  <a:gd name="connsiteX4" fmla="*/ 20173 w 28614"/>
                  <a:gd name="connsiteY4" fmla="*/ 30332 h 28614"/>
                  <a:gd name="connsiteX5" fmla="*/ 20461 w 28614"/>
                  <a:gd name="connsiteY5" fmla="*/ 30332 h 28614"/>
                  <a:gd name="connsiteX6" fmla="*/ 29761 w 28614"/>
                  <a:gd name="connsiteY6" fmla="*/ 21175 h 28614"/>
                  <a:gd name="connsiteX7" fmla="*/ 29761 w 28614"/>
                  <a:gd name="connsiteY7" fmla="*/ 20174 h 28614"/>
                  <a:gd name="connsiteX8" fmla="*/ 20606 w 28614"/>
                  <a:gd name="connsiteY8" fmla="*/ 10732 h 28614"/>
                  <a:gd name="connsiteX9" fmla="*/ 20461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0461" y="10731"/>
                    </a:moveTo>
                    <a:lnTo>
                      <a:pt x="20461" y="10731"/>
                    </a:lnTo>
                    <a:cubicBezTo>
                      <a:pt x="15087" y="10731"/>
                      <a:pt x="10732" y="15086"/>
                      <a:pt x="10731" y="20458"/>
                    </a:cubicBezTo>
                    <a:cubicBezTo>
                      <a:pt x="10731" y="20507"/>
                      <a:pt x="10731" y="20554"/>
                      <a:pt x="10732" y="20603"/>
                    </a:cubicBezTo>
                    <a:cubicBezTo>
                      <a:pt x="10652" y="25897"/>
                      <a:pt x="14880" y="30252"/>
                      <a:pt x="20173" y="30332"/>
                    </a:cubicBezTo>
                    <a:cubicBezTo>
                      <a:pt x="20269" y="30333"/>
                      <a:pt x="20365" y="30333"/>
                      <a:pt x="20461" y="30332"/>
                    </a:cubicBezTo>
                    <a:cubicBezTo>
                      <a:pt x="25542" y="30332"/>
                      <a:pt x="29682" y="26256"/>
                      <a:pt x="29761" y="21175"/>
                    </a:cubicBezTo>
                    <a:lnTo>
                      <a:pt x="29761" y="20174"/>
                    </a:lnTo>
                    <a:cubicBezTo>
                      <a:pt x="29840" y="15039"/>
                      <a:pt x="25741" y="10811"/>
                      <a:pt x="20606" y="10732"/>
                    </a:cubicBezTo>
                    <a:cubicBezTo>
                      <a:pt x="20557" y="10731"/>
                      <a:pt x="20510" y="10731"/>
                      <a:pt x="20461"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81" name="Freeform: Shape 580">
                <a:extLst>
                  <a:ext uri="{FF2B5EF4-FFF2-40B4-BE49-F238E27FC236}">
                    <a16:creationId xmlns:a16="http://schemas.microsoft.com/office/drawing/2014/main" id="{D486C354-B6AA-4901-B991-25FEB646B1AE}"/>
                  </a:ext>
                </a:extLst>
              </p:cNvPr>
              <p:cNvSpPr/>
              <p:nvPr/>
            </p:nvSpPr>
            <p:spPr>
              <a:xfrm>
                <a:off x="6097271" y="5914905"/>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80" y="25040"/>
                      <a:pt x="15021" y="29182"/>
                      <a:pt x="20174" y="29330"/>
                    </a:cubicBezTo>
                    <a:cubicBezTo>
                      <a:pt x="25333" y="29252"/>
                      <a:pt x="29473" y="25047"/>
                      <a:pt x="29473" y="19887"/>
                    </a:cubicBezTo>
                    <a:cubicBezTo>
                      <a:pt x="29395" y="14807"/>
                      <a:pt x="25254" y="10731"/>
                      <a:pt x="20174"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82" name="Freeform: Shape 581">
                <a:extLst>
                  <a:ext uri="{FF2B5EF4-FFF2-40B4-BE49-F238E27FC236}">
                    <a16:creationId xmlns:a16="http://schemas.microsoft.com/office/drawing/2014/main" id="{D513A81E-00B7-42B9-A91F-54ABF33F21BD}"/>
                  </a:ext>
                </a:extLst>
              </p:cNvPr>
              <p:cNvSpPr/>
              <p:nvPr/>
            </p:nvSpPr>
            <p:spPr>
              <a:xfrm>
                <a:off x="6097414" y="5964552"/>
                <a:ext cx="28615" cy="28615"/>
              </a:xfrm>
              <a:custGeom>
                <a:avLst/>
                <a:gdLst>
                  <a:gd name="connsiteX0" fmla="*/ 20030 w 28614"/>
                  <a:gd name="connsiteY0" fmla="*/ 10731 h 28614"/>
                  <a:gd name="connsiteX1" fmla="*/ 10731 w 28614"/>
                  <a:gd name="connsiteY1" fmla="*/ 20030 h 28614"/>
                  <a:gd name="connsiteX2" fmla="*/ 20030 w 28614"/>
                  <a:gd name="connsiteY2" fmla="*/ 29330 h 28614"/>
                  <a:gd name="connsiteX3" fmla="*/ 29330 w 28614"/>
                  <a:gd name="connsiteY3" fmla="*/ 20174 h 28614"/>
                  <a:gd name="connsiteX4" fmla="*/ 2003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10731"/>
                    </a:moveTo>
                    <a:cubicBezTo>
                      <a:pt x="14894" y="10731"/>
                      <a:pt x="10731" y="14894"/>
                      <a:pt x="10731" y="20030"/>
                    </a:cubicBezTo>
                    <a:cubicBezTo>
                      <a:pt x="10731" y="25167"/>
                      <a:pt x="14894" y="29330"/>
                      <a:pt x="20030" y="29330"/>
                    </a:cubicBezTo>
                    <a:cubicBezTo>
                      <a:pt x="25111" y="29330"/>
                      <a:pt x="29252" y="25254"/>
                      <a:pt x="29330" y="20174"/>
                    </a:cubicBezTo>
                    <a:cubicBezTo>
                      <a:pt x="29330" y="15014"/>
                      <a:pt x="25190" y="10809"/>
                      <a:pt x="20030"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83" name="Freeform: Shape 582">
                <a:extLst>
                  <a:ext uri="{FF2B5EF4-FFF2-40B4-BE49-F238E27FC236}">
                    <a16:creationId xmlns:a16="http://schemas.microsoft.com/office/drawing/2014/main" id="{B94862F8-4985-4973-AC9D-3A8EF9227C54}"/>
                  </a:ext>
                </a:extLst>
              </p:cNvPr>
              <p:cNvSpPr/>
              <p:nvPr/>
            </p:nvSpPr>
            <p:spPr>
              <a:xfrm>
                <a:off x="6097271" y="5864257"/>
                <a:ext cx="28615" cy="28615"/>
              </a:xfrm>
              <a:custGeom>
                <a:avLst/>
                <a:gdLst>
                  <a:gd name="connsiteX0" fmla="*/ 20174 w 28614"/>
                  <a:gd name="connsiteY0" fmla="*/ 10731 h 28614"/>
                  <a:gd name="connsiteX1" fmla="*/ 10731 w 28614"/>
                  <a:gd name="connsiteY1" fmla="*/ 20174 h 28614"/>
                  <a:gd name="connsiteX2" fmla="*/ 20174 w 28614"/>
                  <a:gd name="connsiteY2" fmla="*/ 29330 h 28614"/>
                  <a:gd name="connsiteX3" fmla="*/ 29473 w 28614"/>
                  <a:gd name="connsiteY3" fmla="*/ 20174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21" y="10879"/>
                      <a:pt x="10880" y="15021"/>
                      <a:pt x="10731" y="20174"/>
                    </a:cubicBezTo>
                    <a:cubicBezTo>
                      <a:pt x="10885" y="25277"/>
                      <a:pt x="15069" y="29333"/>
                      <a:pt x="20174" y="29330"/>
                    </a:cubicBezTo>
                    <a:cubicBezTo>
                      <a:pt x="25254" y="29330"/>
                      <a:pt x="29395" y="25254"/>
                      <a:pt x="29473" y="20174"/>
                    </a:cubicBezTo>
                    <a:cubicBezTo>
                      <a:pt x="29473" y="15014"/>
                      <a:pt x="25333" y="10809"/>
                      <a:pt x="20174"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84" name="Freeform: Shape 583">
                <a:extLst>
                  <a:ext uri="{FF2B5EF4-FFF2-40B4-BE49-F238E27FC236}">
                    <a16:creationId xmlns:a16="http://schemas.microsoft.com/office/drawing/2014/main" id="{9F196FFF-EA43-43EA-9222-3976BC97ADBC}"/>
                  </a:ext>
                </a:extLst>
              </p:cNvPr>
              <p:cNvSpPr/>
              <p:nvPr/>
            </p:nvSpPr>
            <p:spPr>
              <a:xfrm>
                <a:off x="6015719" y="5813604"/>
                <a:ext cx="28615" cy="28615"/>
              </a:xfrm>
              <a:custGeom>
                <a:avLst/>
                <a:gdLst>
                  <a:gd name="connsiteX0" fmla="*/ 21032 w 28614"/>
                  <a:gd name="connsiteY0" fmla="*/ 10735 h 28614"/>
                  <a:gd name="connsiteX1" fmla="*/ 10735 w 28614"/>
                  <a:gd name="connsiteY1" fmla="*/ 20460 h 28614"/>
                  <a:gd name="connsiteX2" fmla="*/ 10731 w 28614"/>
                  <a:gd name="connsiteY2" fmla="*/ 20750 h 28614"/>
                  <a:gd name="connsiteX3" fmla="*/ 10731 w 28614"/>
                  <a:gd name="connsiteY3" fmla="*/ 20750 h 28614"/>
                  <a:gd name="connsiteX4" fmla="*/ 21032 w 28614"/>
                  <a:gd name="connsiteY4" fmla="*/ 31194 h 28614"/>
                  <a:gd name="connsiteX5" fmla="*/ 31332 w 28614"/>
                  <a:gd name="connsiteY5" fmla="*/ 21181 h 28614"/>
                  <a:gd name="connsiteX6" fmla="*/ 31333 w 28614"/>
                  <a:gd name="connsiteY6" fmla="*/ 21036 h 28614"/>
                  <a:gd name="connsiteX7" fmla="*/ 31333 w 28614"/>
                  <a:gd name="connsiteY7" fmla="*/ 21036 h 28614"/>
                  <a:gd name="connsiteX8" fmla="*/ 21320 w 28614"/>
                  <a:gd name="connsiteY8" fmla="*/ 10735 h 28614"/>
                  <a:gd name="connsiteX9" fmla="*/ 21032 w 28614"/>
                  <a:gd name="connsiteY9"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032" y="10735"/>
                    </a:moveTo>
                    <a:cubicBezTo>
                      <a:pt x="15504" y="10577"/>
                      <a:pt x="10892" y="14931"/>
                      <a:pt x="10735" y="20460"/>
                    </a:cubicBezTo>
                    <a:cubicBezTo>
                      <a:pt x="10732" y="20557"/>
                      <a:pt x="10731" y="20653"/>
                      <a:pt x="10731" y="20750"/>
                    </a:cubicBezTo>
                    <a:lnTo>
                      <a:pt x="10731" y="20750"/>
                    </a:lnTo>
                    <a:cubicBezTo>
                      <a:pt x="10731" y="26463"/>
                      <a:pt x="15319" y="31116"/>
                      <a:pt x="21032" y="31194"/>
                    </a:cubicBezTo>
                    <a:cubicBezTo>
                      <a:pt x="26642" y="31273"/>
                      <a:pt x="31253" y="26791"/>
                      <a:pt x="31332" y="21181"/>
                    </a:cubicBezTo>
                    <a:cubicBezTo>
                      <a:pt x="31333" y="21132"/>
                      <a:pt x="31333" y="21085"/>
                      <a:pt x="31333" y="21036"/>
                    </a:cubicBezTo>
                    <a:lnTo>
                      <a:pt x="31333" y="21036"/>
                    </a:lnTo>
                    <a:cubicBezTo>
                      <a:pt x="31414" y="15426"/>
                      <a:pt x="26930" y="10815"/>
                      <a:pt x="21320" y="10735"/>
                    </a:cubicBezTo>
                    <a:cubicBezTo>
                      <a:pt x="21224" y="10733"/>
                      <a:pt x="21128" y="10733"/>
                      <a:pt x="21032" y="1073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85" name="Freeform: Shape 584">
                <a:extLst>
                  <a:ext uri="{FF2B5EF4-FFF2-40B4-BE49-F238E27FC236}">
                    <a16:creationId xmlns:a16="http://schemas.microsoft.com/office/drawing/2014/main" id="{B6D0BD7C-A5DF-4572-955E-F5AE64484C1D}"/>
                  </a:ext>
                </a:extLst>
              </p:cNvPr>
              <p:cNvSpPr/>
              <p:nvPr/>
            </p:nvSpPr>
            <p:spPr>
              <a:xfrm>
                <a:off x="5458299" y="6060842"/>
                <a:ext cx="42922" cy="42922"/>
              </a:xfrm>
              <a:custGeom>
                <a:avLst/>
                <a:gdLst>
                  <a:gd name="connsiteX0" fmla="*/ 22892 w 42922"/>
                  <a:gd name="connsiteY0" fmla="*/ 11160 h 42922"/>
                  <a:gd name="connsiteX1" fmla="*/ 10731 w 42922"/>
                  <a:gd name="connsiteY1" fmla="*/ 22892 h 42922"/>
                  <a:gd name="connsiteX2" fmla="*/ 10731 w 42922"/>
                  <a:gd name="connsiteY2" fmla="*/ 22892 h 42922"/>
                  <a:gd name="connsiteX3" fmla="*/ 22892 w 42922"/>
                  <a:gd name="connsiteY3" fmla="*/ 35053 h 42922"/>
                  <a:gd name="connsiteX4" fmla="*/ 35053 w 42922"/>
                  <a:gd name="connsiteY4" fmla="*/ 22892 h 42922"/>
                  <a:gd name="connsiteX5" fmla="*/ 22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2" y="11160"/>
                    </a:moveTo>
                    <a:cubicBezTo>
                      <a:pt x="16309" y="11080"/>
                      <a:pt x="10887" y="16311"/>
                      <a:pt x="10731" y="22892"/>
                    </a:cubicBezTo>
                    <a:lnTo>
                      <a:pt x="10731" y="22892"/>
                    </a:ln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86" name="Freeform: Shape 585">
                <a:extLst>
                  <a:ext uri="{FF2B5EF4-FFF2-40B4-BE49-F238E27FC236}">
                    <a16:creationId xmlns:a16="http://schemas.microsoft.com/office/drawing/2014/main" id="{E6E05EC9-87EE-4E15-B665-898FF83B8DFB}"/>
                  </a:ext>
                </a:extLst>
              </p:cNvPr>
              <p:cNvSpPr/>
              <p:nvPr/>
            </p:nvSpPr>
            <p:spPr>
              <a:xfrm>
                <a:off x="6037037" y="5873700"/>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87" name="Freeform: Shape 586">
                <a:extLst>
                  <a:ext uri="{FF2B5EF4-FFF2-40B4-BE49-F238E27FC236}">
                    <a16:creationId xmlns:a16="http://schemas.microsoft.com/office/drawing/2014/main" id="{387D22DD-EFB5-4663-80AF-F0F8A33359A7}"/>
                  </a:ext>
                </a:extLst>
              </p:cNvPr>
              <p:cNvSpPr/>
              <p:nvPr/>
            </p:nvSpPr>
            <p:spPr>
              <a:xfrm>
                <a:off x="5694659" y="6009192"/>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88" name="Freeform: Shape 587">
                <a:extLst>
                  <a:ext uri="{FF2B5EF4-FFF2-40B4-BE49-F238E27FC236}">
                    <a16:creationId xmlns:a16="http://schemas.microsoft.com/office/drawing/2014/main" id="{B89FBA04-4163-4410-8E5F-D1E1D27EA9A8}"/>
                  </a:ext>
                </a:extLst>
              </p:cNvPr>
              <p:cNvSpPr/>
              <p:nvPr/>
            </p:nvSpPr>
            <p:spPr>
              <a:xfrm>
                <a:off x="5694659" y="5959831"/>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89" name="Freeform: Shape 588">
                <a:extLst>
                  <a:ext uri="{FF2B5EF4-FFF2-40B4-BE49-F238E27FC236}">
                    <a16:creationId xmlns:a16="http://schemas.microsoft.com/office/drawing/2014/main" id="{31E162FE-AEF8-4673-AAD6-D00BC493898C}"/>
                  </a:ext>
                </a:extLst>
              </p:cNvPr>
              <p:cNvSpPr/>
              <p:nvPr/>
            </p:nvSpPr>
            <p:spPr>
              <a:xfrm>
                <a:off x="5694802" y="605912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90" name="Freeform: Shape 589">
                <a:extLst>
                  <a:ext uri="{FF2B5EF4-FFF2-40B4-BE49-F238E27FC236}">
                    <a16:creationId xmlns:a16="http://schemas.microsoft.com/office/drawing/2014/main" id="{1F5C90E5-DBDB-4C65-8D0D-312CF44E40CF}"/>
                  </a:ext>
                </a:extLst>
              </p:cNvPr>
              <p:cNvSpPr/>
              <p:nvPr/>
            </p:nvSpPr>
            <p:spPr>
              <a:xfrm>
                <a:off x="5694659" y="5909898"/>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91" name="Freeform: Shape 590">
                <a:extLst>
                  <a:ext uri="{FF2B5EF4-FFF2-40B4-BE49-F238E27FC236}">
                    <a16:creationId xmlns:a16="http://schemas.microsoft.com/office/drawing/2014/main" id="{CBAF9033-9905-405E-AB50-E8B0A0D1B2D9}"/>
                  </a:ext>
                </a:extLst>
              </p:cNvPr>
              <p:cNvSpPr/>
              <p:nvPr/>
            </p:nvSpPr>
            <p:spPr>
              <a:xfrm>
                <a:off x="5458577" y="5911472"/>
                <a:ext cx="42922" cy="42922"/>
              </a:xfrm>
              <a:custGeom>
                <a:avLst/>
                <a:gdLst>
                  <a:gd name="connsiteX0" fmla="*/ 22900 w 42922"/>
                  <a:gd name="connsiteY0" fmla="*/ 10731 h 42922"/>
                  <a:gd name="connsiteX1" fmla="*/ 10739 w 42922"/>
                  <a:gd name="connsiteY1" fmla="*/ 22892 h 42922"/>
                  <a:gd name="connsiteX2" fmla="*/ 22034 w 42922"/>
                  <a:gd name="connsiteY2" fmla="*/ 35045 h 42922"/>
                  <a:gd name="connsiteX3" fmla="*/ 22471 w 42922"/>
                  <a:gd name="connsiteY3" fmla="*/ 35053 h 42922"/>
                  <a:gd name="connsiteX4" fmla="*/ 22471 w 42922"/>
                  <a:gd name="connsiteY4" fmla="*/ 35053 h 42922"/>
                  <a:gd name="connsiteX5" fmla="*/ 34632 w 42922"/>
                  <a:gd name="connsiteY5" fmla="*/ 22892 h 42922"/>
                  <a:gd name="connsiteX6" fmla="*/ 22471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900" y="10731"/>
                    </a:moveTo>
                    <a:cubicBezTo>
                      <a:pt x="16184" y="10731"/>
                      <a:pt x="10739" y="16176"/>
                      <a:pt x="10739" y="22892"/>
                    </a:cubicBezTo>
                    <a:cubicBezTo>
                      <a:pt x="10501" y="29368"/>
                      <a:pt x="15559" y="34809"/>
                      <a:pt x="22034" y="35045"/>
                    </a:cubicBezTo>
                    <a:cubicBezTo>
                      <a:pt x="22179" y="35051"/>
                      <a:pt x="22325" y="35053"/>
                      <a:pt x="22471" y="35053"/>
                    </a:cubicBezTo>
                    <a:lnTo>
                      <a:pt x="22471" y="35053"/>
                    </a:lnTo>
                    <a:cubicBezTo>
                      <a:pt x="29187" y="35053"/>
                      <a:pt x="34632" y="29608"/>
                      <a:pt x="34632" y="22892"/>
                    </a:cubicBezTo>
                    <a:cubicBezTo>
                      <a:pt x="34632" y="16176"/>
                      <a:pt x="29187" y="10731"/>
                      <a:pt x="22471"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92" name="Freeform: Shape 591">
                <a:extLst>
                  <a:ext uri="{FF2B5EF4-FFF2-40B4-BE49-F238E27FC236}">
                    <a16:creationId xmlns:a16="http://schemas.microsoft.com/office/drawing/2014/main" id="{22B93F23-3B09-4855-A1E4-378EFC1AA98E}"/>
                  </a:ext>
                </a:extLst>
              </p:cNvPr>
              <p:cNvSpPr/>
              <p:nvPr/>
            </p:nvSpPr>
            <p:spPr>
              <a:xfrm>
                <a:off x="5458585" y="5811749"/>
                <a:ext cx="42922" cy="42922"/>
              </a:xfrm>
              <a:custGeom>
                <a:avLst/>
                <a:gdLst>
                  <a:gd name="connsiteX0" fmla="*/ 24753 w 42922"/>
                  <a:gd name="connsiteY0" fmla="*/ 10731 h 42922"/>
                  <a:gd name="connsiteX1" fmla="*/ 22893 w 42922"/>
                  <a:gd name="connsiteY1" fmla="*/ 10731 h 42922"/>
                  <a:gd name="connsiteX2" fmla="*/ 10732 w 42922"/>
                  <a:gd name="connsiteY2" fmla="*/ 22892 h 42922"/>
                  <a:gd name="connsiteX3" fmla="*/ 10732 w 42922"/>
                  <a:gd name="connsiteY3" fmla="*/ 24752 h 42922"/>
                  <a:gd name="connsiteX4" fmla="*/ 22464 w 42922"/>
                  <a:gd name="connsiteY4" fmla="*/ 36913 h 42922"/>
                  <a:gd name="connsiteX5" fmla="*/ 22464 w 42922"/>
                  <a:gd name="connsiteY5" fmla="*/ 36913 h 42922"/>
                  <a:gd name="connsiteX6" fmla="*/ 34841 w 42922"/>
                  <a:gd name="connsiteY6" fmla="*/ 23009 h 42922"/>
                  <a:gd name="connsiteX7" fmla="*/ 24324 w 42922"/>
                  <a:gd name="connsiteY7" fmla="*/ 1087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4753" y="10731"/>
                    </a:moveTo>
                    <a:lnTo>
                      <a:pt x="22893" y="10731"/>
                    </a:lnTo>
                    <a:cubicBezTo>
                      <a:pt x="16177" y="10731"/>
                      <a:pt x="10732" y="16176"/>
                      <a:pt x="10732" y="22892"/>
                    </a:cubicBezTo>
                    <a:lnTo>
                      <a:pt x="10732" y="24752"/>
                    </a:lnTo>
                    <a:cubicBezTo>
                      <a:pt x="10651" y="31335"/>
                      <a:pt x="15882" y="36757"/>
                      <a:pt x="22464" y="36913"/>
                    </a:cubicBezTo>
                    <a:lnTo>
                      <a:pt x="22464" y="36913"/>
                    </a:lnTo>
                    <a:cubicBezTo>
                      <a:pt x="29720" y="36491"/>
                      <a:pt x="35263" y="30267"/>
                      <a:pt x="34841" y="23009"/>
                    </a:cubicBezTo>
                    <a:cubicBezTo>
                      <a:pt x="34495" y="17046"/>
                      <a:pt x="30177" y="12064"/>
                      <a:pt x="24324" y="1087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93" name="Freeform: Shape 592">
                <a:extLst>
                  <a:ext uri="{FF2B5EF4-FFF2-40B4-BE49-F238E27FC236}">
                    <a16:creationId xmlns:a16="http://schemas.microsoft.com/office/drawing/2014/main" id="{7BCBFAC9-3532-4716-9B35-D9FFCACB8EDC}"/>
                  </a:ext>
                </a:extLst>
              </p:cNvPr>
              <p:cNvSpPr/>
              <p:nvPr/>
            </p:nvSpPr>
            <p:spPr>
              <a:xfrm>
                <a:off x="5457726" y="6011195"/>
                <a:ext cx="42922" cy="42922"/>
              </a:xfrm>
              <a:custGeom>
                <a:avLst/>
                <a:gdLst>
                  <a:gd name="connsiteX0" fmla="*/ 22893 w 42922"/>
                  <a:gd name="connsiteY0" fmla="*/ 35339 h 42922"/>
                  <a:gd name="connsiteX1" fmla="*/ 35339 w 42922"/>
                  <a:gd name="connsiteY1" fmla="*/ 23178 h 42922"/>
                  <a:gd name="connsiteX2" fmla="*/ 23178 w 42922"/>
                  <a:gd name="connsiteY2" fmla="*/ 10731 h 42922"/>
                  <a:gd name="connsiteX3" fmla="*/ 10732 w 42922"/>
                  <a:gd name="connsiteY3" fmla="*/ 22893 h 42922"/>
                  <a:gd name="connsiteX4" fmla="*/ 10732 w 42922"/>
                  <a:gd name="connsiteY4" fmla="*/ 23178 h 42922"/>
                  <a:gd name="connsiteX5" fmla="*/ 22893 w 42922"/>
                  <a:gd name="connsiteY5" fmla="*/ 353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35339"/>
                    </a:moveTo>
                    <a:cubicBezTo>
                      <a:pt x="29688" y="35418"/>
                      <a:pt x="35260" y="29972"/>
                      <a:pt x="35339" y="23178"/>
                    </a:cubicBezTo>
                    <a:cubicBezTo>
                      <a:pt x="35418" y="16383"/>
                      <a:pt x="29972" y="10810"/>
                      <a:pt x="23178" y="10731"/>
                    </a:cubicBezTo>
                    <a:cubicBezTo>
                      <a:pt x="16383" y="10653"/>
                      <a:pt x="10810" y="16098"/>
                      <a:pt x="10732" y="22893"/>
                    </a:cubicBezTo>
                    <a:cubicBezTo>
                      <a:pt x="10730" y="22987"/>
                      <a:pt x="10730" y="23083"/>
                      <a:pt x="10732" y="23178"/>
                    </a:cubicBezTo>
                    <a:cubicBezTo>
                      <a:pt x="10809" y="29862"/>
                      <a:pt x="16209" y="35262"/>
                      <a:pt x="22893" y="3533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94" name="Freeform: Shape 593">
                <a:extLst>
                  <a:ext uri="{FF2B5EF4-FFF2-40B4-BE49-F238E27FC236}">
                    <a16:creationId xmlns:a16="http://schemas.microsoft.com/office/drawing/2014/main" id="{AB53D7C6-4274-4A64-8145-5930D63149BE}"/>
                  </a:ext>
                </a:extLst>
              </p:cNvPr>
              <p:cNvSpPr/>
              <p:nvPr/>
            </p:nvSpPr>
            <p:spPr>
              <a:xfrm>
                <a:off x="5457727" y="6256711"/>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95" name="Freeform: Shape 594">
                <a:extLst>
                  <a:ext uri="{FF2B5EF4-FFF2-40B4-BE49-F238E27FC236}">
                    <a16:creationId xmlns:a16="http://schemas.microsoft.com/office/drawing/2014/main" id="{8379C178-4FFB-4633-985C-90BB53600AB9}"/>
                  </a:ext>
                </a:extLst>
              </p:cNvPr>
              <p:cNvSpPr/>
              <p:nvPr/>
            </p:nvSpPr>
            <p:spPr>
              <a:xfrm>
                <a:off x="5222226" y="6159993"/>
                <a:ext cx="28615" cy="28615"/>
              </a:xfrm>
              <a:custGeom>
                <a:avLst/>
                <a:gdLst>
                  <a:gd name="connsiteX0" fmla="*/ 20030 w 28614"/>
                  <a:gd name="connsiteY0" fmla="*/ 29330 h 28614"/>
                  <a:gd name="connsiteX1" fmla="*/ 29473 w 28614"/>
                  <a:gd name="connsiteY1" fmla="*/ 20173 h 28614"/>
                  <a:gd name="connsiteX2" fmla="*/ 20030 w 28614"/>
                  <a:gd name="connsiteY2" fmla="*/ 10731 h 28614"/>
                  <a:gd name="connsiteX3" fmla="*/ 10731 w 28614"/>
                  <a:gd name="connsiteY3" fmla="*/ 20173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35" y="29333"/>
                      <a:pt x="29319" y="25277"/>
                      <a:pt x="29473" y="20173"/>
                    </a:cubicBezTo>
                    <a:cubicBezTo>
                      <a:pt x="29325" y="15021"/>
                      <a:pt x="25183" y="10879"/>
                      <a:pt x="20030" y="10731"/>
                    </a:cubicBezTo>
                    <a:cubicBezTo>
                      <a:pt x="14871" y="10809"/>
                      <a:pt x="10731" y="15014"/>
                      <a:pt x="10731" y="20173"/>
                    </a:cubicBezTo>
                    <a:cubicBezTo>
                      <a:pt x="10809" y="25254"/>
                      <a:pt x="14950" y="29330"/>
                      <a:pt x="20030" y="2933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96" name="Freeform: Shape 595">
                <a:extLst>
                  <a:ext uri="{FF2B5EF4-FFF2-40B4-BE49-F238E27FC236}">
                    <a16:creationId xmlns:a16="http://schemas.microsoft.com/office/drawing/2014/main" id="{9BDEDC6D-59C2-44AF-BF4D-B42C24297EAD}"/>
                  </a:ext>
                </a:extLst>
              </p:cNvPr>
              <p:cNvSpPr/>
              <p:nvPr/>
            </p:nvSpPr>
            <p:spPr>
              <a:xfrm>
                <a:off x="6013467" y="6158027"/>
                <a:ext cx="42922" cy="28615"/>
              </a:xfrm>
              <a:custGeom>
                <a:avLst/>
                <a:gdLst>
                  <a:gd name="connsiteX0" fmla="*/ 18133 w 42922"/>
                  <a:gd name="connsiteY0" fmla="*/ 30724 h 28614"/>
                  <a:gd name="connsiteX1" fmla="*/ 23713 w 42922"/>
                  <a:gd name="connsiteY1" fmla="*/ 30724 h 28614"/>
                  <a:gd name="connsiteX2" fmla="*/ 33871 w 42922"/>
                  <a:gd name="connsiteY2" fmla="*/ 20852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83" y="30652"/>
                      <a:pt x="33644" y="26317"/>
                      <a:pt x="33871" y="20852"/>
                    </a:cubicBezTo>
                    <a:cubicBezTo>
                      <a:pt x="33641" y="15409"/>
                      <a:pt x="29160" y="11118"/>
                      <a:pt x="23713" y="11123"/>
                    </a:cubicBezTo>
                    <a:cubicBezTo>
                      <a:pt x="18301" y="9582"/>
                      <a:pt x="12664" y="12721"/>
                      <a:pt x="11123" y="18133"/>
                    </a:cubicBezTo>
                    <a:cubicBezTo>
                      <a:pt x="9582" y="23546"/>
                      <a:pt x="12721" y="29183"/>
                      <a:pt x="18133" y="3072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97" name="Freeform: Shape 596">
                <a:extLst>
                  <a:ext uri="{FF2B5EF4-FFF2-40B4-BE49-F238E27FC236}">
                    <a16:creationId xmlns:a16="http://schemas.microsoft.com/office/drawing/2014/main" id="{44DF46BE-A44C-40C6-AE3C-2415CB7F0A9A}"/>
                  </a:ext>
                </a:extLst>
              </p:cNvPr>
              <p:cNvSpPr/>
              <p:nvPr/>
            </p:nvSpPr>
            <p:spPr>
              <a:xfrm>
                <a:off x="5614680" y="6203487"/>
                <a:ext cx="42922" cy="42922"/>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98" name="Freeform: Shape 597">
                <a:extLst>
                  <a:ext uri="{FF2B5EF4-FFF2-40B4-BE49-F238E27FC236}">
                    <a16:creationId xmlns:a16="http://schemas.microsoft.com/office/drawing/2014/main" id="{0AA02AA0-8186-4DA7-8220-74477224DBB6}"/>
                  </a:ext>
                </a:extLst>
              </p:cNvPr>
              <p:cNvSpPr/>
              <p:nvPr/>
            </p:nvSpPr>
            <p:spPr>
              <a:xfrm>
                <a:off x="5614537" y="6154126"/>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99" name="Freeform: Shape 598">
                <a:extLst>
                  <a:ext uri="{FF2B5EF4-FFF2-40B4-BE49-F238E27FC236}">
                    <a16:creationId xmlns:a16="http://schemas.microsoft.com/office/drawing/2014/main" id="{F4CBCB08-2A22-497D-8993-2CC18382F8F4}"/>
                  </a:ext>
                </a:extLst>
              </p:cNvPr>
              <p:cNvSpPr/>
              <p:nvPr/>
            </p:nvSpPr>
            <p:spPr>
              <a:xfrm>
                <a:off x="5614951" y="6105767"/>
                <a:ext cx="42922" cy="42922"/>
              </a:xfrm>
              <a:custGeom>
                <a:avLst/>
                <a:gdLst>
                  <a:gd name="connsiteX0" fmla="*/ 23480 w 42922"/>
                  <a:gd name="connsiteY0" fmla="*/ 38916 h 42922"/>
                  <a:gd name="connsiteX1" fmla="*/ 38645 w 42922"/>
                  <a:gd name="connsiteY1" fmla="*/ 26040 h 42922"/>
                  <a:gd name="connsiteX2" fmla="*/ 25769 w 42922"/>
                  <a:gd name="connsiteY2" fmla="*/ 10731 h 42922"/>
                  <a:gd name="connsiteX3" fmla="*/ 25769 w 42922"/>
                  <a:gd name="connsiteY3" fmla="*/ 10731 h 42922"/>
                  <a:gd name="connsiteX4" fmla="*/ 11461 w 42922"/>
                  <a:gd name="connsiteY4" fmla="*/ 25038 h 42922"/>
                  <a:gd name="connsiteX5" fmla="*/ 10746 w 42922"/>
                  <a:gd name="connsiteY5" fmla="*/ 24037 h 42922"/>
                  <a:gd name="connsiteX6" fmla="*/ 23480 w 42922"/>
                  <a:gd name="connsiteY6" fmla="*/ 3891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3480" y="38916"/>
                    </a:moveTo>
                    <a:cubicBezTo>
                      <a:pt x="31180" y="39417"/>
                      <a:pt x="37890" y="33720"/>
                      <a:pt x="38645" y="26040"/>
                    </a:cubicBezTo>
                    <a:cubicBezTo>
                      <a:pt x="39226" y="18285"/>
                      <a:pt x="33508" y="11486"/>
                      <a:pt x="25769" y="10731"/>
                    </a:cubicBezTo>
                    <a:lnTo>
                      <a:pt x="25769" y="10731"/>
                    </a:lnTo>
                    <a:cubicBezTo>
                      <a:pt x="17867" y="10731"/>
                      <a:pt x="11461" y="17136"/>
                      <a:pt x="11461" y="25038"/>
                    </a:cubicBezTo>
                    <a:lnTo>
                      <a:pt x="10746" y="24037"/>
                    </a:lnTo>
                    <a:cubicBezTo>
                      <a:pt x="10400" y="31579"/>
                      <a:pt x="15974" y="38094"/>
                      <a:pt x="23480" y="3891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00" name="Freeform: Shape 599">
                <a:extLst>
                  <a:ext uri="{FF2B5EF4-FFF2-40B4-BE49-F238E27FC236}">
                    <a16:creationId xmlns:a16="http://schemas.microsoft.com/office/drawing/2014/main" id="{BD42D278-9C60-4D3E-A5F3-4784A794B93A}"/>
                  </a:ext>
                </a:extLst>
              </p:cNvPr>
              <p:cNvSpPr/>
              <p:nvPr/>
            </p:nvSpPr>
            <p:spPr>
              <a:xfrm>
                <a:off x="5614537" y="6253564"/>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01" name="Freeform: Shape 600">
                <a:extLst>
                  <a:ext uri="{FF2B5EF4-FFF2-40B4-BE49-F238E27FC236}">
                    <a16:creationId xmlns:a16="http://schemas.microsoft.com/office/drawing/2014/main" id="{38587EAA-3C9D-41C4-98CA-41D04DE3FF39}"/>
                  </a:ext>
                </a:extLst>
              </p:cNvPr>
              <p:cNvSpPr/>
              <p:nvPr/>
            </p:nvSpPr>
            <p:spPr>
              <a:xfrm>
                <a:off x="5379322" y="6258229"/>
                <a:ext cx="28615" cy="28615"/>
              </a:xfrm>
              <a:custGeom>
                <a:avLst/>
                <a:gdLst>
                  <a:gd name="connsiteX0" fmla="*/ 23464 w 28614"/>
                  <a:gd name="connsiteY0" fmla="*/ 30387 h 28614"/>
                  <a:gd name="connsiteX1" fmla="*/ 30385 w 28614"/>
                  <a:gd name="connsiteY1" fmla="*/ 18030 h 28614"/>
                  <a:gd name="connsiteX2" fmla="*/ 18026 w 28614"/>
                  <a:gd name="connsiteY2" fmla="*/ 11110 h 28614"/>
                  <a:gd name="connsiteX3" fmla="*/ 10731 w 28614"/>
                  <a:gd name="connsiteY3" fmla="*/ 20658 h 28614"/>
                  <a:gd name="connsiteX4" fmla="*/ 23407 w 28614"/>
                  <a:gd name="connsiteY4" fmla="*/ 30395 h 28614"/>
                  <a:gd name="connsiteX5" fmla="*/ 23464 w 28614"/>
                  <a:gd name="connsiteY5" fmla="*/ 3038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464" y="30387"/>
                    </a:moveTo>
                    <a:cubicBezTo>
                      <a:pt x="28788" y="28885"/>
                      <a:pt x="31886" y="23352"/>
                      <a:pt x="30385" y="18030"/>
                    </a:cubicBezTo>
                    <a:cubicBezTo>
                      <a:pt x="28883" y="12706"/>
                      <a:pt x="23350" y="9607"/>
                      <a:pt x="18026" y="11110"/>
                    </a:cubicBezTo>
                    <a:cubicBezTo>
                      <a:pt x="13742" y="12317"/>
                      <a:pt x="10771" y="16207"/>
                      <a:pt x="10731" y="20658"/>
                    </a:cubicBezTo>
                    <a:cubicBezTo>
                      <a:pt x="11543" y="26848"/>
                      <a:pt x="17218" y="31207"/>
                      <a:pt x="23407" y="30395"/>
                    </a:cubicBezTo>
                    <a:cubicBezTo>
                      <a:pt x="23427" y="30392"/>
                      <a:pt x="23446" y="30390"/>
                      <a:pt x="23464" y="3038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02" name="Freeform: Shape 601">
                <a:extLst>
                  <a:ext uri="{FF2B5EF4-FFF2-40B4-BE49-F238E27FC236}">
                    <a16:creationId xmlns:a16="http://schemas.microsoft.com/office/drawing/2014/main" id="{86C1F8E6-F8D9-438D-B19D-FCFE76583AB5}"/>
                  </a:ext>
                </a:extLst>
              </p:cNvPr>
              <p:cNvSpPr/>
              <p:nvPr/>
            </p:nvSpPr>
            <p:spPr>
              <a:xfrm>
                <a:off x="5379322" y="6158420"/>
                <a:ext cx="42922" cy="28615"/>
              </a:xfrm>
              <a:custGeom>
                <a:avLst/>
                <a:gdLst>
                  <a:gd name="connsiteX0" fmla="*/ 23464 w 42922"/>
                  <a:gd name="connsiteY0" fmla="*/ 30760 h 28614"/>
                  <a:gd name="connsiteX1" fmla="*/ 33374 w 42922"/>
                  <a:gd name="connsiteY1" fmla="*/ 20639 h 28614"/>
                  <a:gd name="connsiteX2" fmla="*/ 23253 w 42922"/>
                  <a:gd name="connsiteY2" fmla="*/ 10731 h 28614"/>
                  <a:gd name="connsiteX3" fmla="*/ 20460 w 42922"/>
                  <a:gd name="connsiteY3" fmla="*/ 11159 h 28614"/>
                  <a:gd name="connsiteX4" fmla="*/ 10731 w 42922"/>
                  <a:gd name="connsiteY4" fmla="*/ 20888 h 28614"/>
                  <a:gd name="connsiteX5" fmla="*/ 23284 w 42922"/>
                  <a:gd name="connsiteY5" fmla="*/ 30783 h 28614"/>
                  <a:gd name="connsiteX6" fmla="*/ 23464 w 42922"/>
                  <a:gd name="connsiteY6" fmla="*/ 3076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28614">
                    <a:moveTo>
                      <a:pt x="23464" y="30760"/>
                    </a:moveTo>
                    <a:cubicBezTo>
                      <a:pt x="28996" y="30702"/>
                      <a:pt x="33431" y="26170"/>
                      <a:pt x="33374" y="20639"/>
                    </a:cubicBezTo>
                    <a:cubicBezTo>
                      <a:pt x="33315" y="15109"/>
                      <a:pt x="28784" y="10673"/>
                      <a:pt x="23253" y="10731"/>
                    </a:cubicBezTo>
                    <a:cubicBezTo>
                      <a:pt x="22305" y="10741"/>
                      <a:pt x="21365" y="10884"/>
                      <a:pt x="20460" y="11159"/>
                    </a:cubicBezTo>
                    <a:cubicBezTo>
                      <a:pt x="15342" y="11730"/>
                      <a:pt x="11301" y="15769"/>
                      <a:pt x="10731" y="20888"/>
                    </a:cubicBezTo>
                    <a:cubicBezTo>
                      <a:pt x="11465" y="27088"/>
                      <a:pt x="17086" y="31517"/>
                      <a:pt x="23284" y="30783"/>
                    </a:cubicBezTo>
                    <a:cubicBezTo>
                      <a:pt x="23344" y="30776"/>
                      <a:pt x="23404" y="30769"/>
                      <a:pt x="23464" y="3076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03" name="Freeform: Shape 602">
                <a:extLst>
                  <a:ext uri="{FF2B5EF4-FFF2-40B4-BE49-F238E27FC236}">
                    <a16:creationId xmlns:a16="http://schemas.microsoft.com/office/drawing/2014/main" id="{2DAF413C-39B0-496F-AD67-906F24043732}"/>
                  </a:ext>
                </a:extLst>
              </p:cNvPr>
              <p:cNvSpPr/>
              <p:nvPr/>
            </p:nvSpPr>
            <p:spPr>
              <a:xfrm>
                <a:off x="5223084" y="6208638"/>
                <a:ext cx="28615" cy="28615"/>
              </a:xfrm>
              <a:custGeom>
                <a:avLst/>
                <a:gdLst>
                  <a:gd name="connsiteX0" fmla="*/ 10731 w 28614"/>
                  <a:gd name="connsiteY0" fmla="*/ 19887 h 28614"/>
                  <a:gd name="connsiteX1" fmla="*/ 19887 w 28614"/>
                  <a:gd name="connsiteY1" fmla="*/ 29330 h 28614"/>
                  <a:gd name="connsiteX2" fmla="*/ 29187 w 28614"/>
                  <a:gd name="connsiteY2" fmla="*/ 20030 h 28614"/>
                  <a:gd name="connsiteX3" fmla="*/ 19887 w 28614"/>
                  <a:gd name="connsiteY3" fmla="*/ 10731 h 28614"/>
                  <a:gd name="connsiteX4" fmla="*/ 10731 w 28614"/>
                  <a:gd name="connsiteY4" fmla="*/ 19887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0731" y="19887"/>
                    </a:moveTo>
                    <a:cubicBezTo>
                      <a:pt x="10728" y="24992"/>
                      <a:pt x="14784" y="29176"/>
                      <a:pt x="19887" y="29330"/>
                    </a:cubicBezTo>
                    <a:cubicBezTo>
                      <a:pt x="25024" y="29330"/>
                      <a:pt x="29187" y="25167"/>
                      <a:pt x="29187" y="20030"/>
                    </a:cubicBezTo>
                    <a:cubicBezTo>
                      <a:pt x="29187" y="14894"/>
                      <a:pt x="25024" y="10731"/>
                      <a:pt x="19887" y="10731"/>
                    </a:cubicBezTo>
                    <a:cubicBezTo>
                      <a:pt x="14830" y="10731"/>
                      <a:pt x="10731" y="14830"/>
                      <a:pt x="10731" y="1988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04" name="Freeform: Shape 603">
                <a:extLst>
                  <a:ext uri="{FF2B5EF4-FFF2-40B4-BE49-F238E27FC236}">
                    <a16:creationId xmlns:a16="http://schemas.microsoft.com/office/drawing/2014/main" id="{BB7FD2A6-E8DE-4EF5-86DA-A7A86DD69E2F}"/>
                  </a:ext>
                </a:extLst>
              </p:cNvPr>
              <p:cNvSpPr/>
              <p:nvPr/>
            </p:nvSpPr>
            <p:spPr>
              <a:xfrm>
                <a:off x="5536275" y="6155414"/>
                <a:ext cx="42922" cy="42922"/>
              </a:xfrm>
              <a:custGeom>
                <a:avLst/>
                <a:gdLst>
                  <a:gd name="connsiteX0" fmla="*/ 23893 w 42922"/>
                  <a:gd name="connsiteY0" fmla="*/ 37056 h 42922"/>
                  <a:gd name="connsiteX1" fmla="*/ 37056 w 42922"/>
                  <a:gd name="connsiteY1" fmla="*/ 23893 h 42922"/>
                  <a:gd name="connsiteX2" fmla="*/ 23893 w 42922"/>
                  <a:gd name="connsiteY2" fmla="*/ 10731 h 42922"/>
                  <a:gd name="connsiteX3" fmla="*/ 10731 w 42922"/>
                  <a:gd name="connsiteY3" fmla="*/ 23893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3"/>
                    </a:cubicBezTo>
                    <a:cubicBezTo>
                      <a:pt x="37056" y="16624"/>
                      <a:pt x="31163" y="10731"/>
                      <a:pt x="23893" y="10731"/>
                    </a:cubicBezTo>
                    <a:cubicBezTo>
                      <a:pt x="16624" y="10731"/>
                      <a:pt x="10731" y="16624"/>
                      <a:pt x="10731" y="23893"/>
                    </a:cubicBezTo>
                    <a:cubicBezTo>
                      <a:pt x="10731" y="31163"/>
                      <a:pt x="16624" y="37056"/>
                      <a:pt x="23893" y="3705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05" name="Freeform: Shape 604">
                <a:extLst>
                  <a:ext uri="{FF2B5EF4-FFF2-40B4-BE49-F238E27FC236}">
                    <a16:creationId xmlns:a16="http://schemas.microsoft.com/office/drawing/2014/main" id="{034B5C67-AF8C-46F2-B782-2918D4F08D80}"/>
                  </a:ext>
                </a:extLst>
              </p:cNvPr>
              <p:cNvSpPr/>
              <p:nvPr/>
            </p:nvSpPr>
            <p:spPr>
              <a:xfrm>
                <a:off x="5457727" y="6156559"/>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06" name="Freeform: Shape 605">
                <a:extLst>
                  <a:ext uri="{FF2B5EF4-FFF2-40B4-BE49-F238E27FC236}">
                    <a16:creationId xmlns:a16="http://schemas.microsoft.com/office/drawing/2014/main" id="{412A2542-D290-43AC-B415-75CB8F239AB9}"/>
                  </a:ext>
                </a:extLst>
              </p:cNvPr>
              <p:cNvSpPr/>
              <p:nvPr/>
            </p:nvSpPr>
            <p:spPr>
              <a:xfrm>
                <a:off x="5536274" y="6254708"/>
                <a:ext cx="42922" cy="42922"/>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6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3"/>
                      <a:pt x="37056" y="23892"/>
                    </a:cubicBezTo>
                    <a:cubicBezTo>
                      <a:pt x="37056" y="16622"/>
                      <a:pt x="31163" y="10731"/>
                      <a:pt x="23893" y="10731"/>
                    </a:cubicBezTo>
                    <a:cubicBezTo>
                      <a:pt x="16624" y="10731"/>
                      <a:pt x="10731" y="16625"/>
                      <a:pt x="10731" y="23895"/>
                    </a:cubicBezTo>
                    <a:cubicBezTo>
                      <a:pt x="10731" y="23942"/>
                      <a:pt x="10732" y="23989"/>
                      <a:pt x="10732" y="24036"/>
                    </a:cubicBezTo>
                    <a:cubicBezTo>
                      <a:pt x="10811" y="31250"/>
                      <a:pt x="16681" y="37056"/>
                      <a:pt x="23895" y="3705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07" name="Freeform: Shape 606">
                <a:extLst>
                  <a:ext uri="{FF2B5EF4-FFF2-40B4-BE49-F238E27FC236}">
                    <a16:creationId xmlns:a16="http://schemas.microsoft.com/office/drawing/2014/main" id="{336C0592-29E3-4795-AEC2-867FAAE6A740}"/>
                  </a:ext>
                </a:extLst>
              </p:cNvPr>
              <p:cNvSpPr/>
              <p:nvPr/>
            </p:nvSpPr>
            <p:spPr>
              <a:xfrm>
                <a:off x="6037037" y="6167862"/>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08" name="Freeform: Shape 607">
                <a:extLst>
                  <a:ext uri="{FF2B5EF4-FFF2-40B4-BE49-F238E27FC236}">
                    <a16:creationId xmlns:a16="http://schemas.microsoft.com/office/drawing/2014/main" id="{8D527F5E-68B2-4E65-8E6C-55222DA67F79}"/>
                  </a:ext>
                </a:extLst>
              </p:cNvPr>
              <p:cNvSpPr/>
              <p:nvPr/>
            </p:nvSpPr>
            <p:spPr>
              <a:xfrm>
                <a:off x="6015719" y="6107769"/>
                <a:ext cx="28615" cy="28615"/>
              </a:xfrm>
              <a:custGeom>
                <a:avLst/>
                <a:gdLst>
                  <a:gd name="connsiteX0" fmla="*/ 21032 w 28614"/>
                  <a:gd name="connsiteY0" fmla="*/ 10732 h 28614"/>
                  <a:gd name="connsiteX1" fmla="*/ 10731 w 28614"/>
                  <a:gd name="connsiteY1" fmla="*/ 20745 h 28614"/>
                  <a:gd name="connsiteX2" fmla="*/ 10731 w 28614"/>
                  <a:gd name="connsiteY2" fmla="*/ 20747 h 28614"/>
                  <a:gd name="connsiteX3" fmla="*/ 10731 w 28614"/>
                  <a:gd name="connsiteY3" fmla="*/ 20747 h 28614"/>
                  <a:gd name="connsiteX4" fmla="*/ 21032 w 28614"/>
                  <a:gd name="connsiteY4" fmla="*/ 31191 h 28614"/>
                  <a:gd name="connsiteX5" fmla="*/ 31332 w 28614"/>
                  <a:gd name="connsiteY5" fmla="*/ 21178 h 28614"/>
                  <a:gd name="connsiteX6" fmla="*/ 31333 w 28614"/>
                  <a:gd name="connsiteY6" fmla="*/ 21033 h 28614"/>
                  <a:gd name="connsiteX7" fmla="*/ 31333 w 28614"/>
                  <a:gd name="connsiteY7" fmla="*/ 21033 h 28614"/>
                  <a:gd name="connsiteX8" fmla="*/ 21320 w 28614"/>
                  <a:gd name="connsiteY8" fmla="*/ 10732 h 28614"/>
                  <a:gd name="connsiteX9" fmla="*/ 21032 w 28614"/>
                  <a:gd name="connsiteY9"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032" y="10732"/>
                    </a:moveTo>
                    <a:cubicBezTo>
                      <a:pt x="15422" y="10652"/>
                      <a:pt x="10811" y="15136"/>
                      <a:pt x="10731" y="20745"/>
                    </a:cubicBezTo>
                    <a:cubicBezTo>
                      <a:pt x="10731" y="20745"/>
                      <a:pt x="10731" y="20747"/>
                      <a:pt x="10731" y="20747"/>
                    </a:cubicBezTo>
                    <a:lnTo>
                      <a:pt x="10731" y="20747"/>
                    </a:lnTo>
                    <a:cubicBezTo>
                      <a:pt x="10731" y="26460"/>
                      <a:pt x="15319" y="31113"/>
                      <a:pt x="21032" y="31191"/>
                    </a:cubicBezTo>
                    <a:cubicBezTo>
                      <a:pt x="26642" y="31270"/>
                      <a:pt x="31253" y="26788"/>
                      <a:pt x="31332" y="21178"/>
                    </a:cubicBezTo>
                    <a:cubicBezTo>
                      <a:pt x="31333" y="21129"/>
                      <a:pt x="31333" y="21082"/>
                      <a:pt x="31333" y="21033"/>
                    </a:cubicBezTo>
                    <a:lnTo>
                      <a:pt x="31333" y="21033"/>
                    </a:lnTo>
                    <a:cubicBezTo>
                      <a:pt x="31414" y="15423"/>
                      <a:pt x="26930" y="10812"/>
                      <a:pt x="21320" y="10732"/>
                    </a:cubicBezTo>
                    <a:cubicBezTo>
                      <a:pt x="21224" y="10730"/>
                      <a:pt x="21128" y="10730"/>
                      <a:pt x="21032"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09" name="Freeform: Shape 608">
                <a:extLst>
                  <a:ext uri="{FF2B5EF4-FFF2-40B4-BE49-F238E27FC236}">
                    <a16:creationId xmlns:a16="http://schemas.microsoft.com/office/drawing/2014/main" id="{9B819DD1-3F40-4B8E-A9F4-CD42748DE2BD}"/>
                  </a:ext>
                </a:extLst>
              </p:cNvPr>
              <p:cNvSpPr/>
              <p:nvPr/>
            </p:nvSpPr>
            <p:spPr>
              <a:xfrm>
                <a:off x="5067314" y="6311365"/>
                <a:ext cx="28615" cy="28615"/>
              </a:xfrm>
              <a:custGeom>
                <a:avLst/>
                <a:gdLst>
                  <a:gd name="connsiteX0" fmla="*/ 16129 w 28614"/>
                  <a:gd name="connsiteY0" fmla="*/ 25325 h 28614"/>
                  <a:gd name="connsiteX1" fmla="*/ 25326 w 28614"/>
                  <a:gd name="connsiteY1" fmla="*/ 20214 h 28614"/>
                  <a:gd name="connsiteX2" fmla="*/ 20216 w 28614"/>
                  <a:gd name="connsiteY2" fmla="*/ 11017 h 28614"/>
                  <a:gd name="connsiteX3" fmla="*/ 16129 w 28614"/>
                  <a:gd name="connsiteY3" fmla="*/ 11017 h 28614"/>
                  <a:gd name="connsiteX4" fmla="*/ 11019 w 28614"/>
                  <a:gd name="connsiteY4" fmla="*/ 20214 h 28614"/>
                  <a:gd name="connsiteX5" fmla="*/ 16129 w 28614"/>
                  <a:gd name="connsiteY5"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6129" y="25325"/>
                    </a:moveTo>
                    <a:cubicBezTo>
                      <a:pt x="20080" y="26454"/>
                      <a:pt x="24198" y="24166"/>
                      <a:pt x="25326" y="20214"/>
                    </a:cubicBezTo>
                    <a:cubicBezTo>
                      <a:pt x="26455" y="16264"/>
                      <a:pt x="24167" y="12146"/>
                      <a:pt x="20216" y="11017"/>
                    </a:cubicBezTo>
                    <a:cubicBezTo>
                      <a:pt x="18880" y="10635"/>
                      <a:pt x="17464" y="10635"/>
                      <a:pt x="16129" y="11017"/>
                    </a:cubicBezTo>
                    <a:cubicBezTo>
                      <a:pt x="12178" y="12146"/>
                      <a:pt x="9890" y="16264"/>
                      <a:pt x="11019" y="20214"/>
                    </a:cubicBezTo>
                    <a:cubicBezTo>
                      <a:pt x="11725" y="22686"/>
                      <a:pt x="13657" y="24618"/>
                      <a:pt x="16129" y="2532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10" name="Freeform: Shape 609">
                <a:extLst>
                  <a:ext uri="{FF2B5EF4-FFF2-40B4-BE49-F238E27FC236}">
                    <a16:creationId xmlns:a16="http://schemas.microsoft.com/office/drawing/2014/main" id="{F9E8AD14-4B1B-4D56-A2AB-3C4EC87E4C3C}"/>
                  </a:ext>
                </a:extLst>
              </p:cNvPr>
              <p:cNvSpPr/>
              <p:nvPr/>
            </p:nvSpPr>
            <p:spPr>
              <a:xfrm>
                <a:off x="5935740" y="6356001"/>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4"/>
                      <a:pt x="15745" y="33327"/>
                      <a:pt x="22033" y="33483"/>
                    </a:cubicBezTo>
                    <a:lnTo>
                      <a:pt x="22033" y="33483"/>
                    </a:lnTo>
                    <a:cubicBezTo>
                      <a:pt x="28316" y="32778"/>
                      <a:pt x="32836" y="27114"/>
                      <a:pt x="32130" y="20831"/>
                    </a:cubicBezTo>
                    <a:cubicBezTo>
                      <a:pt x="31534" y="15522"/>
                      <a:pt x="27343" y="11331"/>
                      <a:pt x="22033" y="1073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11" name="Freeform: Shape 610">
                <a:extLst>
                  <a:ext uri="{FF2B5EF4-FFF2-40B4-BE49-F238E27FC236}">
                    <a16:creationId xmlns:a16="http://schemas.microsoft.com/office/drawing/2014/main" id="{A89B6943-4F81-4E09-A45E-967418ED3EC2}"/>
                  </a:ext>
                </a:extLst>
              </p:cNvPr>
              <p:cNvSpPr/>
              <p:nvPr/>
            </p:nvSpPr>
            <p:spPr>
              <a:xfrm>
                <a:off x="5935740" y="6256564"/>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5"/>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12" name="Freeform: Shape 611">
                <a:extLst>
                  <a:ext uri="{FF2B5EF4-FFF2-40B4-BE49-F238E27FC236}">
                    <a16:creationId xmlns:a16="http://schemas.microsoft.com/office/drawing/2014/main" id="{4B821695-2086-4FB6-B8B7-EB0DA1DD6F04}"/>
                  </a:ext>
                </a:extLst>
              </p:cNvPr>
              <p:cNvSpPr/>
              <p:nvPr/>
            </p:nvSpPr>
            <p:spPr>
              <a:xfrm>
                <a:off x="6013620" y="6307050"/>
                <a:ext cx="42922" cy="28615"/>
              </a:xfrm>
              <a:custGeom>
                <a:avLst/>
                <a:gdLst>
                  <a:gd name="connsiteX0" fmla="*/ 23989 w 42922"/>
                  <a:gd name="connsiteY0" fmla="*/ 11184 h 28614"/>
                  <a:gd name="connsiteX1" fmla="*/ 11184 w 42922"/>
                  <a:gd name="connsiteY1" fmla="*/ 17980 h 28614"/>
                  <a:gd name="connsiteX2" fmla="*/ 17980 w 42922"/>
                  <a:gd name="connsiteY2" fmla="*/ 30785 h 28614"/>
                  <a:gd name="connsiteX3" fmla="*/ 23560 w 42922"/>
                  <a:gd name="connsiteY3" fmla="*/ 30785 h 28614"/>
                  <a:gd name="connsiteX4" fmla="*/ 33718 w 42922"/>
                  <a:gd name="connsiteY4" fmla="*/ 21056 h 28614"/>
                  <a:gd name="connsiteX5" fmla="*/ 23989 w 42922"/>
                  <a:gd name="connsiteY5" fmla="*/ 1118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989" y="11184"/>
                    </a:moveTo>
                    <a:cubicBezTo>
                      <a:pt x="18576" y="9524"/>
                      <a:pt x="12843" y="12567"/>
                      <a:pt x="11184" y="17980"/>
                    </a:cubicBezTo>
                    <a:cubicBezTo>
                      <a:pt x="9524" y="23392"/>
                      <a:pt x="12567" y="29125"/>
                      <a:pt x="17980" y="30785"/>
                    </a:cubicBezTo>
                    <a:cubicBezTo>
                      <a:pt x="19795" y="31356"/>
                      <a:pt x="21744" y="31356"/>
                      <a:pt x="23560" y="30785"/>
                    </a:cubicBezTo>
                    <a:cubicBezTo>
                      <a:pt x="29006" y="30789"/>
                      <a:pt x="33488" y="26497"/>
                      <a:pt x="33718" y="21056"/>
                    </a:cubicBezTo>
                    <a:cubicBezTo>
                      <a:pt x="33505" y="15749"/>
                      <a:pt x="29291" y="11474"/>
                      <a:pt x="23989" y="1118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13" name="Freeform: Shape 612">
                <a:extLst>
                  <a:ext uri="{FF2B5EF4-FFF2-40B4-BE49-F238E27FC236}">
                    <a16:creationId xmlns:a16="http://schemas.microsoft.com/office/drawing/2014/main" id="{CD74D2DE-6838-4F43-BE09-E845765E5BC1}"/>
                  </a:ext>
                </a:extLst>
              </p:cNvPr>
              <p:cNvSpPr/>
              <p:nvPr/>
            </p:nvSpPr>
            <p:spPr>
              <a:xfrm>
                <a:off x="5854903" y="6105767"/>
                <a:ext cx="42922" cy="42922"/>
              </a:xfrm>
              <a:custGeom>
                <a:avLst/>
                <a:gdLst>
                  <a:gd name="connsiteX0" fmla="*/ 24609 w 42922"/>
                  <a:gd name="connsiteY0" fmla="*/ 10731 h 42922"/>
                  <a:gd name="connsiteX1" fmla="*/ 22892 w 42922"/>
                  <a:gd name="connsiteY1" fmla="*/ 10731 h 42922"/>
                  <a:gd name="connsiteX2" fmla="*/ 10731 w 42922"/>
                  <a:gd name="connsiteY2" fmla="*/ 22892 h 42922"/>
                  <a:gd name="connsiteX3" fmla="*/ 22892 w 42922"/>
                  <a:gd name="connsiteY3" fmla="*/ 35053 h 42922"/>
                  <a:gd name="connsiteX4" fmla="*/ 35045 w 42922"/>
                  <a:gd name="connsiteY4" fmla="*/ 23758 h 42922"/>
                  <a:gd name="connsiteX5" fmla="*/ 35053 w 42922"/>
                  <a:gd name="connsiteY5" fmla="*/ 23321 h 42922"/>
                  <a:gd name="connsiteX6" fmla="*/ 35053 w 42922"/>
                  <a:gd name="connsiteY6" fmla="*/ 23321 h 42922"/>
                  <a:gd name="connsiteX7" fmla="*/ 35912 w 42922"/>
                  <a:gd name="connsiteY7" fmla="*/ 24180 h 42922"/>
                  <a:gd name="connsiteX8" fmla="*/ 25135 w 42922"/>
                  <a:gd name="connsiteY8" fmla="*/ 10776 h 42922"/>
                  <a:gd name="connsiteX9" fmla="*/ 24609 w 42922"/>
                  <a:gd name="connsiteY9"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4609" y="10731"/>
                    </a:moveTo>
                    <a:lnTo>
                      <a:pt x="22892" y="10731"/>
                    </a:lnTo>
                    <a:cubicBezTo>
                      <a:pt x="16176" y="10731"/>
                      <a:pt x="10731" y="16176"/>
                      <a:pt x="10731" y="22892"/>
                    </a:cubicBezTo>
                    <a:cubicBezTo>
                      <a:pt x="10731" y="29608"/>
                      <a:pt x="16176" y="35053"/>
                      <a:pt x="22892" y="35053"/>
                    </a:cubicBezTo>
                    <a:cubicBezTo>
                      <a:pt x="29367" y="35291"/>
                      <a:pt x="34809" y="30233"/>
                      <a:pt x="35045" y="23758"/>
                    </a:cubicBezTo>
                    <a:cubicBezTo>
                      <a:pt x="35050" y="23613"/>
                      <a:pt x="35053" y="23467"/>
                      <a:pt x="35053" y="23321"/>
                    </a:cubicBezTo>
                    <a:lnTo>
                      <a:pt x="35053" y="23321"/>
                    </a:lnTo>
                    <a:lnTo>
                      <a:pt x="35912" y="24180"/>
                    </a:lnTo>
                    <a:cubicBezTo>
                      <a:pt x="36637" y="17502"/>
                      <a:pt x="31813" y="11502"/>
                      <a:pt x="25135" y="10776"/>
                    </a:cubicBezTo>
                    <a:cubicBezTo>
                      <a:pt x="24959" y="10758"/>
                      <a:pt x="24785" y="10742"/>
                      <a:pt x="24609"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14" name="Freeform: Shape 613">
                <a:extLst>
                  <a:ext uri="{FF2B5EF4-FFF2-40B4-BE49-F238E27FC236}">
                    <a16:creationId xmlns:a16="http://schemas.microsoft.com/office/drawing/2014/main" id="{20475C2C-3934-4243-9F3C-E2DF5932A9C5}"/>
                  </a:ext>
                </a:extLst>
              </p:cNvPr>
              <p:cNvSpPr/>
              <p:nvPr/>
            </p:nvSpPr>
            <p:spPr>
              <a:xfrm>
                <a:off x="5935130" y="6108112"/>
                <a:ext cx="42922" cy="28615"/>
              </a:xfrm>
              <a:custGeom>
                <a:avLst/>
                <a:gdLst>
                  <a:gd name="connsiteX0" fmla="*/ 23645 w 42922"/>
                  <a:gd name="connsiteY0" fmla="*/ 30419 h 28614"/>
                  <a:gd name="connsiteX1" fmla="*/ 33374 w 42922"/>
                  <a:gd name="connsiteY1" fmla="*/ 20547 h 28614"/>
                  <a:gd name="connsiteX2" fmla="*/ 20640 w 42922"/>
                  <a:gd name="connsiteY2" fmla="*/ 10818 h 28614"/>
                  <a:gd name="connsiteX3" fmla="*/ 10731 w 42922"/>
                  <a:gd name="connsiteY3" fmla="*/ 20939 h 28614"/>
                  <a:gd name="connsiteX4" fmla="*/ 20852 w 42922"/>
                  <a:gd name="connsiteY4" fmla="*/ 30847 h 28614"/>
                  <a:gd name="connsiteX5" fmla="*/ 23645 w 42922"/>
                  <a:gd name="connsiteY5" fmla="*/ 3041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645" y="30419"/>
                    </a:moveTo>
                    <a:cubicBezTo>
                      <a:pt x="28716" y="29644"/>
                      <a:pt x="32673" y="25628"/>
                      <a:pt x="33374" y="20547"/>
                    </a:cubicBezTo>
                    <a:cubicBezTo>
                      <a:pt x="32487" y="14378"/>
                      <a:pt x="26826" y="10054"/>
                      <a:pt x="20640" y="10818"/>
                    </a:cubicBezTo>
                    <a:cubicBezTo>
                      <a:pt x="15109" y="10877"/>
                      <a:pt x="10674" y="15408"/>
                      <a:pt x="10731" y="20939"/>
                    </a:cubicBezTo>
                    <a:cubicBezTo>
                      <a:pt x="10790" y="26469"/>
                      <a:pt x="15321" y="30906"/>
                      <a:pt x="20852" y="30847"/>
                    </a:cubicBezTo>
                    <a:cubicBezTo>
                      <a:pt x="21799" y="30837"/>
                      <a:pt x="22739" y="30694"/>
                      <a:pt x="23645" y="3041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15" name="Freeform: Shape 614">
                <a:extLst>
                  <a:ext uri="{FF2B5EF4-FFF2-40B4-BE49-F238E27FC236}">
                    <a16:creationId xmlns:a16="http://schemas.microsoft.com/office/drawing/2014/main" id="{C95FEFB2-39DA-4A9B-BFAE-AB12B42C91D7}"/>
                  </a:ext>
                </a:extLst>
              </p:cNvPr>
              <p:cNvSpPr/>
              <p:nvPr/>
            </p:nvSpPr>
            <p:spPr>
              <a:xfrm>
                <a:off x="6016577" y="6357150"/>
                <a:ext cx="28615" cy="28615"/>
              </a:xfrm>
              <a:custGeom>
                <a:avLst/>
                <a:gdLst>
                  <a:gd name="connsiteX0" fmla="*/ 21175 w 28614"/>
                  <a:gd name="connsiteY0" fmla="*/ 10731 h 28614"/>
                  <a:gd name="connsiteX1" fmla="*/ 21175 w 28614"/>
                  <a:gd name="connsiteY1" fmla="*/ 10731 h 28614"/>
                  <a:gd name="connsiteX2" fmla="*/ 10731 w 28614"/>
                  <a:gd name="connsiteY2" fmla="*/ 21175 h 28614"/>
                  <a:gd name="connsiteX3" fmla="*/ 20889 w 28614"/>
                  <a:gd name="connsiteY3" fmla="*/ 31333 h 28614"/>
                  <a:gd name="connsiteX4" fmla="*/ 20889 w 28614"/>
                  <a:gd name="connsiteY4" fmla="*/ 31333 h 28614"/>
                  <a:gd name="connsiteX5" fmla="*/ 31190 w 28614"/>
                  <a:gd name="connsiteY5" fmla="*/ 21032 h 28614"/>
                  <a:gd name="connsiteX6" fmla="*/ 20889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175" y="10731"/>
                    </a:moveTo>
                    <a:lnTo>
                      <a:pt x="21175" y="10731"/>
                    </a:lnTo>
                    <a:cubicBezTo>
                      <a:pt x="15406" y="10731"/>
                      <a:pt x="10731" y="15406"/>
                      <a:pt x="10731" y="21175"/>
                    </a:cubicBezTo>
                    <a:cubicBezTo>
                      <a:pt x="10731" y="26785"/>
                      <a:pt x="15279" y="31333"/>
                      <a:pt x="20889" y="31333"/>
                    </a:cubicBezTo>
                    <a:lnTo>
                      <a:pt x="20889" y="31333"/>
                    </a:lnTo>
                    <a:cubicBezTo>
                      <a:pt x="26578" y="31333"/>
                      <a:pt x="31190" y="26721"/>
                      <a:pt x="31190" y="21032"/>
                    </a:cubicBezTo>
                    <a:cubicBezTo>
                      <a:pt x="31190" y="15343"/>
                      <a:pt x="26578" y="10731"/>
                      <a:pt x="20889"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16" name="Freeform: Shape 615">
                <a:extLst>
                  <a:ext uri="{FF2B5EF4-FFF2-40B4-BE49-F238E27FC236}">
                    <a16:creationId xmlns:a16="http://schemas.microsoft.com/office/drawing/2014/main" id="{A1877F57-0155-4A9B-94BF-383739CFC366}"/>
                  </a:ext>
                </a:extLst>
              </p:cNvPr>
              <p:cNvSpPr/>
              <p:nvPr/>
            </p:nvSpPr>
            <p:spPr>
              <a:xfrm>
                <a:off x="5855761" y="6156416"/>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17" name="Freeform: Shape 616">
                <a:extLst>
                  <a:ext uri="{FF2B5EF4-FFF2-40B4-BE49-F238E27FC236}">
                    <a16:creationId xmlns:a16="http://schemas.microsoft.com/office/drawing/2014/main" id="{43DE3FB8-3A6F-4772-9976-828F5A3E1061}"/>
                  </a:ext>
                </a:extLst>
              </p:cNvPr>
              <p:cNvSpPr/>
              <p:nvPr/>
            </p:nvSpPr>
            <p:spPr>
              <a:xfrm>
                <a:off x="6037037" y="6317804"/>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18" name="Freeform: Shape 617">
                <a:extLst>
                  <a:ext uri="{FF2B5EF4-FFF2-40B4-BE49-F238E27FC236}">
                    <a16:creationId xmlns:a16="http://schemas.microsoft.com/office/drawing/2014/main" id="{9E077B06-D2F7-485D-AFB9-916C5B3EF6BC}"/>
                  </a:ext>
                </a:extLst>
              </p:cNvPr>
              <p:cNvSpPr/>
              <p:nvPr/>
            </p:nvSpPr>
            <p:spPr>
              <a:xfrm>
                <a:off x="5935739" y="6156984"/>
                <a:ext cx="42922" cy="42922"/>
              </a:xfrm>
              <a:custGeom>
                <a:avLst/>
                <a:gdLst>
                  <a:gd name="connsiteX0" fmla="*/ 22321 w 42922"/>
                  <a:gd name="connsiteY0" fmla="*/ 10734 h 42922"/>
                  <a:gd name="connsiteX1" fmla="*/ 10734 w 42922"/>
                  <a:gd name="connsiteY1" fmla="*/ 21747 h 42922"/>
                  <a:gd name="connsiteX2" fmla="*/ 10732 w 42922"/>
                  <a:gd name="connsiteY2" fmla="*/ 21894 h 42922"/>
                  <a:gd name="connsiteX3" fmla="*/ 22033 w 42922"/>
                  <a:gd name="connsiteY3" fmla="*/ 33483 h 42922"/>
                  <a:gd name="connsiteX4" fmla="*/ 22034 w 42922"/>
                  <a:gd name="connsiteY4" fmla="*/ 33483 h 42922"/>
                  <a:gd name="connsiteX5" fmla="*/ 22034 w 42922"/>
                  <a:gd name="connsiteY5" fmla="*/ 33483 h 42922"/>
                  <a:gd name="connsiteX6" fmla="*/ 33336 w 42922"/>
                  <a:gd name="connsiteY6" fmla="*/ 22468 h 42922"/>
                  <a:gd name="connsiteX7" fmla="*/ 33337 w 42922"/>
                  <a:gd name="connsiteY7" fmla="*/ 22323 h 42922"/>
                  <a:gd name="connsiteX8" fmla="*/ 22328 w 42922"/>
                  <a:gd name="connsiteY8" fmla="*/ 10734 h 42922"/>
                  <a:gd name="connsiteX9" fmla="*/ 22321 w 42922"/>
                  <a:gd name="connsiteY9"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2321" y="10734"/>
                    </a:moveTo>
                    <a:cubicBezTo>
                      <a:pt x="16080" y="10576"/>
                      <a:pt x="10893" y="15506"/>
                      <a:pt x="10734" y="21747"/>
                    </a:cubicBezTo>
                    <a:cubicBezTo>
                      <a:pt x="10733" y="21795"/>
                      <a:pt x="10732" y="21845"/>
                      <a:pt x="10732" y="21894"/>
                    </a:cubicBezTo>
                    <a:cubicBezTo>
                      <a:pt x="10651" y="28215"/>
                      <a:pt x="15712" y="33403"/>
                      <a:pt x="22033" y="33483"/>
                    </a:cubicBezTo>
                    <a:cubicBezTo>
                      <a:pt x="22033" y="33483"/>
                      <a:pt x="22034" y="33483"/>
                      <a:pt x="22034" y="33483"/>
                    </a:cubicBezTo>
                    <a:lnTo>
                      <a:pt x="22034" y="33483"/>
                    </a:lnTo>
                    <a:cubicBezTo>
                      <a:pt x="28197" y="33562"/>
                      <a:pt x="33257" y="28630"/>
                      <a:pt x="33336" y="22468"/>
                    </a:cubicBezTo>
                    <a:cubicBezTo>
                      <a:pt x="33337" y="22419"/>
                      <a:pt x="33337" y="22372"/>
                      <a:pt x="33337" y="22323"/>
                    </a:cubicBezTo>
                    <a:cubicBezTo>
                      <a:pt x="33498" y="16082"/>
                      <a:pt x="28569" y="10895"/>
                      <a:pt x="22328" y="10734"/>
                    </a:cubicBezTo>
                    <a:cubicBezTo>
                      <a:pt x="22325" y="10734"/>
                      <a:pt x="22323" y="10734"/>
                      <a:pt x="22321" y="1073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19" name="Freeform: Shape 618">
                <a:extLst>
                  <a:ext uri="{FF2B5EF4-FFF2-40B4-BE49-F238E27FC236}">
                    <a16:creationId xmlns:a16="http://schemas.microsoft.com/office/drawing/2014/main" id="{3439B628-82AE-42FC-B479-151A019DD4FF}"/>
                  </a:ext>
                </a:extLst>
              </p:cNvPr>
              <p:cNvSpPr/>
              <p:nvPr/>
            </p:nvSpPr>
            <p:spPr>
              <a:xfrm>
                <a:off x="5938456" y="6208390"/>
                <a:ext cx="28615" cy="28615"/>
              </a:xfrm>
              <a:custGeom>
                <a:avLst/>
                <a:gdLst>
                  <a:gd name="connsiteX0" fmla="*/ 18030 w 28614"/>
                  <a:gd name="connsiteY0" fmla="*/ 10835 h 28614"/>
                  <a:gd name="connsiteX1" fmla="*/ 11109 w 28614"/>
                  <a:gd name="connsiteY1" fmla="*/ 23193 h 28614"/>
                  <a:gd name="connsiteX2" fmla="*/ 23468 w 28614"/>
                  <a:gd name="connsiteY2" fmla="*/ 30113 h 28614"/>
                  <a:gd name="connsiteX3" fmla="*/ 30763 w 28614"/>
                  <a:gd name="connsiteY3" fmla="*/ 20564 h 28614"/>
                  <a:gd name="connsiteX4" fmla="*/ 18085 w 28614"/>
                  <a:gd name="connsiteY4" fmla="*/ 10828 h 28614"/>
                  <a:gd name="connsiteX5" fmla="*/ 18030 w 28614"/>
                  <a:gd name="connsiteY5" fmla="*/ 108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030" y="10835"/>
                    </a:moveTo>
                    <a:cubicBezTo>
                      <a:pt x="12706" y="12338"/>
                      <a:pt x="9608" y="17870"/>
                      <a:pt x="11109" y="23193"/>
                    </a:cubicBezTo>
                    <a:cubicBezTo>
                      <a:pt x="12611" y="28516"/>
                      <a:pt x="18144" y="31615"/>
                      <a:pt x="23468" y="30113"/>
                    </a:cubicBezTo>
                    <a:cubicBezTo>
                      <a:pt x="27751" y="28906"/>
                      <a:pt x="30723" y="25015"/>
                      <a:pt x="30763" y="20564"/>
                    </a:cubicBezTo>
                    <a:cubicBezTo>
                      <a:pt x="29951" y="14375"/>
                      <a:pt x="24275" y="10015"/>
                      <a:pt x="18085" y="10828"/>
                    </a:cubicBezTo>
                    <a:cubicBezTo>
                      <a:pt x="18067" y="10830"/>
                      <a:pt x="18048" y="10832"/>
                      <a:pt x="18030" y="1083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20" name="Freeform: Shape 619">
                <a:extLst>
                  <a:ext uri="{FF2B5EF4-FFF2-40B4-BE49-F238E27FC236}">
                    <a16:creationId xmlns:a16="http://schemas.microsoft.com/office/drawing/2014/main" id="{95D500FB-DEE5-437B-AE8B-045C2E648CAE}"/>
                  </a:ext>
                </a:extLst>
              </p:cNvPr>
              <p:cNvSpPr/>
              <p:nvPr/>
            </p:nvSpPr>
            <p:spPr>
              <a:xfrm>
                <a:off x="5935946" y="6307833"/>
                <a:ext cx="42922" cy="42922"/>
              </a:xfrm>
              <a:custGeom>
                <a:avLst/>
                <a:gdLst>
                  <a:gd name="connsiteX0" fmla="*/ 20540 w 42922"/>
                  <a:gd name="connsiteY0" fmla="*/ 10829 h 42922"/>
                  <a:gd name="connsiteX1" fmla="*/ 10810 w 42922"/>
                  <a:gd name="connsiteY1" fmla="*/ 20702 h 42922"/>
                  <a:gd name="connsiteX2" fmla="*/ 20703 w 42922"/>
                  <a:gd name="connsiteY2" fmla="*/ 33258 h 42922"/>
                  <a:gd name="connsiteX3" fmla="*/ 33259 w 42922"/>
                  <a:gd name="connsiteY3" fmla="*/ 23364 h 42922"/>
                  <a:gd name="connsiteX4" fmla="*/ 23367 w 42922"/>
                  <a:gd name="connsiteY4" fmla="*/ 10809 h 42922"/>
                  <a:gd name="connsiteX5" fmla="*/ 20540 w 42922"/>
                  <a:gd name="connsiteY5" fmla="*/ 1082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40" y="10829"/>
                    </a:moveTo>
                    <a:cubicBezTo>
                      <a:pt x="15446" y="11559"/>
                      <a:pt x="11466" y="15598"/>
                      <a:pt x="10810" y="20702"/>
                    </a:cubicBezTo>
                    <a:cubicBezTo>
                      <a:pt x="10075" y="26901"/>
                      <a:pt x="14505" y="32523"/>
                      <a:pt x="20703" y="33258"/>
                    </a:cubicBezTo>
                    <a:cubicBezTo>
                      <a:pt x="26902" y="33992"/>
                      <a:pt x="32523" y="29564"/>
                      <a:pt x="33259" y="23364"/>
                    </a:cubicBezTo>
                    <a:cubicBezTo>
                      <a:pt x="33994" y="17165"/>
                      <a:pt x="29565" y="11543"/>
                      <a:pt x="23367" y="10809"/>
                    </a:cubicBezTo>
                    <a:cubicBezTo>
                      <a:pt x="22427" y="10698"/>
                      <a:pt x="21477" y="10705"/>
                      <a:pt x="20540" y="1082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21" name="Freeform: Shape 620">
                <a:extLst>
                  <a:ext uri="{FF2B5EF4-FFF2-40B4-BE49-F238E27FC236}">
                    <a16:creationId xmlns:a16="http://schemas.microsoft.com/office/drawing/2014/main" id="{153C94EF-D090-4A85-B9F5-A35D1A9F83BC}"/>
                  </a:ext>
                </a:extLst>
              </p:cNvPr>
              <p:cNvSpPr/>
              <p:nvPr/>
            </p:nvSpPr>
            <p:spPr>
              <a:xfrm>
                <a:off x="5775210" y="6254994"/>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22" name="Freeform: Shape 621">
                <a:extLst>
                  <a:ext uri="{FF2B5EF4-FFF2-40B4-BE49-F238E27FC236}">
                    <a16:creationId xmlns:a16="http://schemas.microsoft.com/office/drawing/2014/main" id="{FA6486D8-F8AB-4FC3-8F75-776BC9444D0D}"/>
                  </a:ext>
                </a:extLst>
              </p:cNvPr>
              <p:cNvSpPr/>
              <p:nvPr/>
            </p:nvSpPr>
            <p:spPr>
              <a:xfrm>
                <a:off x="5775210" y="6205061"/>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23" name="Freeform: Shape 622">
                <a:extLst>
                  <a:ext uri="{FF2B5EF4-FFF2-40B4-BE49-F238E27FC236}">
                    <a16:creationId xmlns:a16="http://schemas.microsoft.com/office/drawing/2014/main" id="{B4A8DEBA-CA7D-4C67-B6C1-DB4E1CECF6C2}"/>
                  </a:ext>
                </a:extLst>
              </p:cNvPr>
              <p:cNvSpPr/>
              <p:nvPr/>
            </p:nvSpPr>
            <p:spPr>
              <a:xfrm>
                <a:off x="5775210" y="6155414"/>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24" name="Freeform: Shape 623">
                <a:extLst>
                  <a:ext uri="{FF2B5EF4-FFF2-40B4-BE49-F238E27FC236}">
                    <a16:creationId xmlns:a16="http://schemas.microsoft.com/office/drawing/2014/main" id="{BF194537-1713-41C1-85A6-747382DDF708}"/>
                  </a:ext>
                </a:extLst>
              </p:cNvPr>
              <p:cNvSpPr/>
              <p:nvPr/>
            </p:nvSpPr>
            <p:spPr>
              <a:xfrm>
                <a:off x="5775210" y="6354431"/>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25" name="Freeform: Shape 624">
                <a:extLst>
                  <a:ext uri="{FF2B5EF4-FFF2-40B4-BE49-F238E27FC236}">
                    <a16:creationId xmlns:a16="http://schemas.microsoft.com/office/drawing/2014/main" id="{B0525BBC-19A7-4AA5-A8F2-490B9A34C839}"/>
                  </a:ext>
                </a:extLst>
              </p:cNvPr>
              <p:cNvSpPr/>
              <p:nvPr/>
            </p:nvSpPr>
            <p:spPr>
              <a:xfrm>
                <a:off x="5775210" y="6304641"/>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26" name="Freeform: Shape 625">
                <a:extLst>
                  <a:ext uri="{FF2B5EF4-FFF2-40B4-BE49-F238E27FC236}">
                    <a16:creationId xmlns:a16="http://schemas.microsoft.com/office/drawing/2014/main" id="{9FE6909D-BA1F-4709-A2E8-17E2D5979C57}"/>
                  </a:ext>
                </a:extLst>
              </p:cNvPr>
              <p:cNvSpPr/>
              <p:nvPr/>
            </p:nvSpPr>
            <p:spPr>
              <a:xfrm>
                <a:off x="5855761" y="6305643"/>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27" name="Freeform: Shape 626">
                <a:extLst>
                  <a:ext uri="{FF2B5EF4-FFF2-40B4-BE49-F238E27FC236}">
                    <a16:creationId xmlns:a16="http://schemas.microsoft.com/office/drawing/2014/main" id="{3BC65A74-4914-4743-82E0-18863B13982B}"/>
                  </a:ext>
                </a:extLst>
              </p:cNvPr>
              <p:cNvSpPr/>
              <p:nvPr/>
            </p:nvSpPr>
            <p:spPr>
              <a:xfrm>
                <a:off x="5775210" y="6105624"/>
                <a:ext cx="42922" cy="42922"/>
              </a:xfrm>
              <a:custGeom>
                <a:avLst/>
                <a:gdLst>
                  <a:gd name="connsiteX0" fmla="*/ 37056 w 42922"/>
                  <a:gd name="connsiteY0" fmla="*/ 23894 h 42922"/>
                  <a:gd name="connsiteX1" fmla="*/ 23893 w 42922"/>
                  <a:gd name="connsiteY1" fmla="*/ 37056 h 42922"/>
                  <a:gd name="connsiteX2" fmla="*/ 10731 w 42922"/>
                  <a:gd name="connsiteY2" fmla="*/ 23894 h 42922"/>
                  <a:gd name="connsiteX3" fmla="*/ 23893 w 42922"/>
                  <a:gd name="connsiteY3" fmla="*/ 10731 h 42922"/>
                  <a:gd name="connsiteX4" fmla="*/ 37056 w 42922"/>
                  <a:gd name="connsiteY4" fmla="*/ 23894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4"/>
                    </a:moveTo>
                    <a:cubicBezTo>
                      <a:pt x="37056" y="31163"/>
                      <a:pt x="31163" y="37056"/>
                      <a:pt x="23893" y="37056"/>
                    </a:cubicBezTo>
                    <a:cubicBezTo>
                      <a:pt x="16624" y="37056"/>
                      <a:pt x="10731" y="31163"/>
                      <a:pt x="10731" y="23894"/>
                    </a:cubicBezTo>
                    <a:cubicBezTo>
                      <a:pt x="10731" y="16624"/>
                      <a:pt x="16624" y="10731"/>
                      <a:pt x="23893" y="10731"/>
                    </a:cubicBezTo>
                    <a:cubicBezTo>
                      <a:pt x="31163" y="10731"/>
                      <a:pt x="37056" y="16624"/>
                      <a:pt x="37056" y="2389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28" name="Freeform: Shape 627">
                <a:extLst>
                  <a:ext uri="{FF2B5EF4-FFF2-40B4-BE49-F238E27FC236}">
                    <a16:creationId xmlns:a16="http://schemas.microsoft.com/office/drawing/2014/main" id="{EBAFC1AD-FB45-4E74-87AA-2E0247F01FF9}"/>
                  </a:ext>
                </a:extLst>
              </p:cNvPr>
              <p:cNvSpPr/>
              <p:nvPr/>
            </p:nvSpPr>
            <p:spPr>
              <a:xfrm>
                <a:off x="5855761" y="6255996"/>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29" name="Freeform: Shape 628">
                <a:extLst>
                  <a:ext uri="{FF2B5EF4-FFF2-40B4-BE49-F238E27FC236}">
                    <a16:creationId xmlns:a16="http://schemas.microsoft.com/office/drawing/2014/main" id="{BC9B08E6-7AED-4641-BE12-DA1865E4BEE1}"/>
                  </a:ext>
                </a:extLst>
              </p:cNvPr>
              <p:cNvSpPr/>
              <p:nvPr/>
            </p:nvSpPr>
            <p:spPr>
              <a:xfrm>
                <a:off x="5855761" y="6206063"/>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3321 h 42922"/>
                  <a:gd name="connsiteX4" fmla="*/ 35053 w 42922"/>
                  <a:gd name="connsiteY4" fmla="*/ 23321 h 42922"/>
                  <a:gd name="connsiteX5" fmla="*/ 23328 w 42922"/>
                  <a:gd name="connsiteY5" fmla="*/ 10738 h 42922"/>
                  <a:gd name="connsiteX6" fmla="*/ 22892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1"/>
                    </a:moveTo>
                    <a:cubicBezTo>
                      <a:pt x="16176" y="10731"/>
                      <a:pt x="10731" y="16176"/>
                      <a:pt x="10731" y="22892"/>
                    </a:cubicBezTo>
                    <a:cubicBezTo>
                      <a:pt x="10731" y="29608"/>
                      <a:pt x="16176" y="35053"/>
                      <a:pt x="22892" y="35053"/>
                    </a:cubicBezTo>
                    <a:cubicBezTo>
                      <a:pt x="29475" y="35133"/>
                      <a:pt x="34897" y="29903"/>
                      <a:pt x="35053" y="23321"/>
                    </a:cubicBezTo>
                    <a:lnTo>
                      <a:pt x="35053" y="23321"/>
                    </a:lnTo>
                    <a:cubicBezTo>
                      <a:pt x="35291" y="16610"/>
                      <a:pt x="30041" y="10975"/>
                      <a:pt x="23328" y="10738"/>
                    </a:cubicBezTo>
                    <a:cubicBezTo>
                      <a:pt x="23184" y="10733"/>
                      <a:pt x="23038" y="10731"/>
                      <a:pt x="22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30" name="Freeform: Shape 629">
                <a:extLst>
                  <a:ext uri="{FF2B5EF4-FFF2-40B4-BE49-F238E27FC236}">
                    <a16:creationId xmlns:a16="http://schemas.microsoft.com/office/drawing/2014/main" id="{F3C76544-F45D-4BAA-8D55-5C7E89FD31B7}"/>
                  </a:ext>
                </a:extLst>
              </p:cNvPr>
              <p:cNvSpPr/>
              <p:nvPr/>
            </p:nvSpPr>
            <p:spPr>
              <a:xfrm>
                <a:off x="5856190" y="6355432"/>
                <a:ext cx="42922" cy="42922"/>
              </a:xfrm>
              <a:custGeom>
                <a:avLst/>
                <a:gdLst>
                  <a:gd name="connsiteX0" fmla="*/ 22892 w 42922"/>
                  <a:gd name="connsiteY0" fmla="*/ 10732 h 42922"/>
                  <a:gd name="connsiteX1" fmla="*/ 22892 w 42922"/>
                  <a:gd name="connsiteY1" fmla="*/ 10732 h 42922"/>
                  <a:gd name="connsiteX2" fmla="*/ 10731 w 42922"/>
                  <a:gd name="connsiteY2" fmla="*/ 22893 h 42922"/>
                  <a:gd name="connsiteX3" fmla="*/ 22892 w 42922"/>
                  <a:gd name="connsiteY3" fmla="*/ 35054 h 42922"/>
                  <a:gd name="connsiteX4" fmla="*/ 35053 w 42922"/>
                  <a:gd name="connsiteY4" fmla="*/ 22893 h 42922"/>
                  <a:gd name="connsiteX5" fmla="*/ 23180 w 42922"/>
                  <a:gd name="connsiteY5" fmla="*/ 10732 h 42922"/>
                  <a:gd name="connsiteX6" fmla="*/ 22892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2"/>
                    </a:moveTo>
                    <a:lnTo>
                      <a:pt x="22892" y="10732"/>
                    </a:lnTo>
                    <a:cubicBezTo>
                      <a:pt x="16176" y="10732"/>
                      <a:pt x="10731" y="16177"/>
                      <a:pt x="10731" y="22893"/>
                    </a:cubicBezTo>
                    <a:cubicBezTo>
                      <a:pt x="10731" y="29609"/>
                      <a:pt x="16176" y="35054"/>
                      <a:pt x="22892" y="35054"/>
                    </a:cubicBezTo>
                    <a:cubicBezTo>
                      <a:pt x="29608" y="35054"/>
                      <a:pt x="35053" y="29609"/>
                      <a:pt x="35053" y="22893"/>
                    </a:cubicBezTo>
                    <a:cubicBezTo>
                      <a:pt x="35132" y="16256"/>
                      <a:pt x="29817" y="10812"/>
                      <a:pt x="23180" y="10732"/>
                    </a:cubicBezTo>
                    <a:cubicBezTo>
                      <a:pt x="23084" y="10730"/>
                      <a:pt x="22988" y="10730"/>
                      <a:pt x="22892"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31" name="Freeform: Shape 630">
                <a:extLst>
                  <a:ext uri="{FF2B5EF4-FFF2-40B4-BE49-F238E27FC236}">
                    <a16:creationId xmlns:a16="http://schemas.microsoft.com/office/drawing/2014/main" id="{E09A86CF-7812-4DB5-A2E2-F8CE353EC206}"/>
                  </a:ext>
                </a:extLst>
              </p:cNvPr>
              <p:cNvSpPr/>
              <p:nvPr/>
            </p:nvSpPr>
            <p:spPr>
              <a:xfrm>
                <a:off x="6016434" y="6208062"/>
                <a:ext cx="28615" cy="28615"/>
              </a:xfrm>
              <a:custGeom>
                <a:avLst/>
                <a:gdLst>
                  <a:gd name="connsiteX0" fmla="*/ 21175 w 28614"/>
                  <a:gd name="connsiteY0" fmla="*/ 10735 h 28614"/>
                  <a:gd name="connsiteX1" fmla="*/ 10733 w 28614"/>
                  <a:gd name="connsiteY1" fmla="*/ 20603 h 28614"/>
                  <a:gd name="connsiteX2" fmla="*/ 10731 w 28614"/>
                  <a:gd name="connsiteY2" fmla="*/ 20750 h 28614"/>
                  <a:gd name="connsiteX3" fmla="*/ 10731 w 28614"/>
                  <a:gd name="connsiteY3" fmla="*/ 20750 h 28614"/>
                  <a:gd name="connsiteX4" fmla="*/ 21175 w 28614"/>
                  <a:gd name="connsiteY4" fmla="*/ 31194 h 28614"/>
                  <a:gd name="connsiteX5" fmla="*/ 31333 w 28614"/>
                  <a:gd name="connsiteY5" fmla="*/ 21036 h 28614"/>
                  <a:gd name="connsiteX6" fmla="*/ 31333 w 28614"/>
                  <a:gd name="connsiteY6" fmla="*/ 21036 h 28614"/>
                  <a:gd name="connsiteX7" fmla="*/ 21320 w 28614"/>
                  <a:gd name="connsiteY7" fmla="*/ 10736 h 28614"/>
                  <a:gd name="connsiteX8" fmla="*/ 21175 w 28614"/>
                  <a:gd name="connsiteY8"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175" y="10735"/>
                    </a:moveTo>
                    <a:cubicBezTo>
                      <a:pt x="15567" y="10576"/>
                      <a:pt x="10892" y="14994"/>
                      <a:pt x="10733" y="20603"/>
                    </a:cubicBezTo>
                    <a:cubicBezTo>
                      <a:pt x="10732" y="20651"/>
                      <a:pt x="10731" y="20700"/>
                      <a:pt x="10731" y="20750"/>
                    </a:cubicBezTo>
                    <a:lnTo>
                      <a:pt x="10731" y="20750"/>
                    </a:lnTo>
                    <a:cubicBezTo>
                      <a:pt x="10731" y="26519"/>
                      <a:pt x="15406" y="31194"/>
                      <a:pt x="21175" y="31194"/>
                    </a:cubicBezTo>
                    <a:cubicBezTo>
                      <a:pt x="26785" y="31194"/>
                      <a:pt x="31333" y="26646"/>
                      <a:pt x="31333" y="21036"/>
                    </a:cubicBezTo>
                    <a:lnTo>
                      <a:pt x="31333" y="21036"/>
                    </a:lnTo>
                    <a:cubicBezTo>
                      <a:pt x="31412" y="15426"/>
                      <a:pt x="26929" y="10815"/>
                      <a:pt x="21320" y="10736"/>
                    </a:cubicBezTo>
                    <a:cubicBezTo>
                      <a:pt x="21271" y="10735"/>
                      <a:pt x="21224" y="10735"/>
                      <a:pt x="21175" y="1073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32" name="Freeform: Shape 631">
                <a:extLst>
                  <a:ext uri="{FF2B5EF4-FFF2-40B4-BE49-F238E27FC236}">
                    <a16:creationId xmlns:a16="http://schemas.microsoft.com/office/drawing/2014/main" id="{9894329A-2430-4CB9-8B94-2FF65753B85F}"/>
                  </a:ext>
                </a:extLst>
              </p:cNvPr>
              <p:cNvSpPr/>
              <p:nvPr/>
            </p:nvSpPr>
            <p:spPr>
              <a:xfrm>
                <a:off x="6254612" y="6111774"/>
                <a:ext cx="28615" cy="28615"/>
              </a:xfrm>
              <a:custGeom>
                <a:avLst/>
                <a:gdLst>
                  <a:gd name="connsiteX0" fmla="*/ 20216 w 28614"/>
                  <a:gd name="connsiteY0" fmla="*/ 25326 h 28614"/>
                  <a:gd name="connsiteX1" fmla="*/ 25326 w 28614"/>
                  <a:gd name="connsiteY1" fmla="*/ 16129 h 28614"/>
                  <a:gd name="connsiteX2" fmla="*/ 20216 w 28614"/>
                  <a:gd name="connsiteY2" fmla="*/ 11019 h 28614"/>
                  <a:gd name="connsiteX3" fmla="*/ 11019 w 28614"/>
                  <a:gd name="connsiteY3" fmla="*/ 16129 h 28614"/>
                  <a:gd name="connsiteX4" fmla="*/ 16128 w 28614"/>
                  <a:gd name="connsiteY4" fmla="*/ 25326 h 28614"/>
                  <a:gd name="connsiteX5" fmla="*/ 20216 w 28614"/>
                  <a:gd name="connsiteY5" fmla="*/ 2532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216" y="25326"/>
                    </a:moveTo>
                    <a:cubicBezTo>
                      <a:pt x="24166" y="24197"/>
                      <a:pt x="26455" y="20080"/>
                      <a:pt x="25326" y="16129"/>
                    </a:cubicBezTo>
                    <a:cubicBezTo>
                      <a:pt x="24620" y="13657"/>
                      <a:pt x="22688" y="11726"/>
                      <a:pt x="20216" y="11019"/>
                    </a:cubicBezTo>
                    <a:cubicBezTo>
                      <a:pt x="16265" y="9890"/>
                      <a:pt x="12148" y="12178"/>
                      <a:pt x="11019" y="16129"/>
                    </a:cubicBezTo>
                    <a:cubicBezTo>
                      <a:pt x="9890" y="20080"/>
                      <a:pt x="12178" y="24197"/>
                      <a:pt x="16128" y="25326"/>
                    </a:cubicBezTo>
                    <a:cubicBezTo>
                      <a:pt x="17464" y="25708"/>
                      <a:pt x="18879" y="25708"/>
                      <a:pt x="20216" y="2532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33" name="Freeform: Shape 632">
                <a:extLst>
                  <a:ext uri="{FF2B5EF4-FFF2-40B4-BE49-F238E27FC236}">
                    <a16:creationId xmlns:a16="http://schemas.microsoft.com/office/drawing/2014/main" id="{1C10C899-ADFF-417D-BC67-4E2DF6F205E8}"/>
                  </a:ext>
                </a:extLst>
              </p:cNvPr>
              <p:cNvSpPr/>
              <p:nvPr/>
            </p:nvSpPr>
            <p:spPr>
              <a:xfrm>
                <a:off x="6257658" y="6361156"/>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34" name="Freeform: Shape 633">
                <a:extLst>
                  <a:ext uri="{FF2B5EF4-FFF2-40B4-BE49-F238E27FC236}">
                    <a16:creationId xmlns:a16="http://schemas.microsoft.com/office/drawing/2014/main" id="{7ECD1938-67D0-406B-9703-AF5C71022104}"/>
                  </a:ext>
                </a:extLst>
              </p:cNvPr>
              <p:cNvSpPr/>
              <p:nvPr/>
            </p:nvSpPr>
            <p:spPr>
              <a:xfrm>
                <a:off x="6177102" y="6159133"/>
                <a:ext cx="28615" cy="28615"/>
              </a:xfrm>
              <a:custGeom>
                <a:avLst/>
                <a:gdLst>
                  <a:gd name="connsiteX0" fmla="*/ 19463 w 28614"/>
                  <a:gd name="connsiteY0" fmla="*/ 10732 h 28614"/>
                  <a:gd name="connsiteX1" fmla="*/ 10736 w 28614"/>
                  <a:gd name="connsiteY1" fmla="*/ 19030 h 28614"/>
                  <a:gd name="connsiteX2" fmla="*/ 18744 w 28614"/>
                  <a:gd name="connsiteY2" fmla="*/ 27610 h 28614"/>
                  <a:gd name="connsiteX3" fmla="*/ 19034 w 28614"/>
                  <a:gd name="connsiteY3" fmla="*/ 27615 h 28614"/>
                  <a:gd name="connsiteX4" fmla="*/ 19034 w 28614"/>
                  <a:gd name="connsiteY4" fmla="*/ 27615 h 28614"/>
                  <a:gd name="connsiteX5" fmla="*/ 27189 w 28614"/>
                  <a:gd name="connsiteY5" fmla="*/ 19459 h 28614"/>
                  <a:gd name="connsiteX6" fmla="*/ 19463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463" y="10732"/>
                    </a:moveTo>
                    <a:cubicBezTo>
                      <a:pt x="14776" y="10652"/>
                      <a:pt x="10892" y="14346"/>
                      <a:pt x="10736" y="19030"/>
                    </a:cubicBezTo>
                    <a:cubicBezTo>
                      <a:pt x="10578" y="23610"/>
                      <a:pt x="14162" y="27452"/>
                      <a:pt x="18744" y="27610"/>
                    </a:cubicBezTo>
                    <a:cubicBezTo>
                      <a:pt x="18839" y="27613"/>
                      <a:pt x="18937" y="27615"/>
                      <a:pt x="19034" y="27615"/>
                    </a:cubicBezTo>
                    <a:lnTo>
                      <a:pt x="19034" y="27615"/>
                    </a:lnTo>
                    <a:cubicBezTo>
                      <a:pt x="23538" y="27615"/>
                      <a:pt x="27189" y="23963"/>
                      <a:pt x="27189" y="19459"/>
                    </a:cubicBezTo>
                    <a:cubicBezTo>
                      <a:pt x="27358" y="14954"/>
                      <a:pt x="23956" y="11111"/>
                      <a:pt x="19463"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35" name="Freeform: Shape 634">
                <a:extLst>
                  <a:ext uri="{FF2B5EF4-FFF2-40B4-BE49-F238E27FC236}">
                    <a16:creationId xmlns:a16="http://schemas.microsoft.com/office/drawing/2014/main" id="{F710FDBE-9D7F-474D-B0AC-1881FB53DBDC}"/>
                  </a:ext>
                </a:extLst>
              </p:cNvPr>
              <p:cNvSpPr/>
              <p:nvPr/>
            </p:nvSpPr>
            <p:spPr>
              <a:xfrm>
                <a:off x="6177393" y="6259430"/>
                <a:ext cx="28615" cy="28615"/>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2"/>
                      <a:pt x="19182" y="10731"/>
                    </a:cubicBezTo>
                    <a:cubicBezTo>
                      <a:pt x="19178" y="10731"/>
                      <a:pt x="19175" y="10731"/>
                      <a:pt x="1917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36" name="Freeform: Shape 635">
                <a:extLst>
                  <a:ext uri="{FF2B5EF4-FFF2-40B4-BE49-F238E27FC236}">
                    <a16:creationId xmlns:a16="http://schemas.microsoft.com/office/drawing/2014/main" id="{EE64B10C-29E2-4663-978D-BB237CCED3A0}"/>
                  </a:ext>
                </a:extLst>
              </p:cNvPr>
              <p:cNvSpPr/>
              <p:nvPr/>
            </p:nvSpPr>
            <p:spPr>
              <a:xfrm>
                <a:off x="6177382" y="6309554"/>
                <a:ext cx="28615" cy="28615"/>
              </a:xfrm>
              <a:custGeom>
                <a:avLst/>
                <a:gdLst>
                  <a:gd name="connsiteX0" fmla="*/ 17753 w 28614"/>
                  <a:gd name="connsiteY0" fmla="*/ 10825 h 28614"/>
                  <a:gd name="connsiteX1" fmla="*/ 10742 w 28614"/>
                  <a:gd name="connsiteY1" fmla="*/ 17836 h 28614"/>
                  <a:gd name="connsiteX2" fmla="*/ 18733 w 28614"/>
                  <a:gd name="connsiteY2" fmla="*/ 26705 h 28614"/>
                  <a:gd name="connsiteX3" fmla="*/ 27339 w 28614"/>
                  <a:gd name="connsiteY3" fmla="*/ 20411 h 28614"/>
                  <a:gd name="connsiteX4" fmla="*/ 27339 w 28614"/>
                  <a:gd name="connsiteY4" fmla="*/ 17836 h 28614"/>
                  <a:gd name="connsiteX5" fmla="*/ 17753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753" y="10825"/>
                    </a:moveTo>
                    <a:cubicBezTo>
                      <a:pt x="14145" y="11399"/>
                      <a:pt x="11316" y="14227"/>
                      <a:pt x="10742" y="17836"/>
                    </a:cubicBezTo>
                    <a:cubicBezTo>
                      <a:pt x="10499" y="22491"/>
                      <a:pt x="14077" y="26462"/>
                      <a:pt x="18733" y="26705"/>
                    </a:cubicBezTo>
                    <a:cubicBezTo>
                      <a:pt x="22731" y="26914"/>
                      <a:pt x="26326" y="24284"/>
                      <a:pt x="27339" y="20411"/>
                    </a:cubicBezTo>
                    <a:cubicBezTo>
                      <a:pt x="27483" y="19558"/>
                      <a:pt x="27483" y="18689"/>
                      <a:pt x="27339" y="17836"/>
                    </a:cubicBezTo>
                    <a:cubicBezTo>
                      <a:pt x="26605" y="13266"/>
                      <a:pt x="22330" y="10138"/>
                      <a:pt x="17753" y="1082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37" name="Freeform: Shape 636">
                <a:extLst>
                  <a:ext uri="{FF2B5EF4-FFF2-40B4-BE49-F238E27FC236}">
                    <a16:creationId xmlns:a16="http://schemas.microsoft.com/office/drawing/2014/main" id="{3B6EDC6C-7E59-4E12-8D28-BC54BAA6BB76}"/>
                  </a:ext>
                </a:extLst>
              </p:cNvPr>
              <p:cNvSpPr/>
              <p:nvPr/>
            </p:nvSpPr>
            <p:spPr>
              <a:xfrm>
                <a:off x="6177382" y="6211119"/>
                <a:ext cx="28615" cy="28615"/>
              </a:xfrm>
              <a:custGeom>
                <a:avLst/>
                <a:gdLst>
                  <a:gd name="connsiteX0" fmla="*/ 17753 w 28614"/>
                  <a:gd name="connsiteY0" fmla="*/ 10825 h 28614"/>
                  <a:gd name="connsiteX1" fmla="*/ 10742 w 28614"/>
                  <a:gd name="connsiteY1" fmla="*/ 17835 h 28614"/>
                  <a:gd name="connsiteX2" fmla="*/ 18733 w 28614"/>
                  <a:gd name="connsiteY2" fmla="*/ 26705 h 28614"/>
                  <a:gd name="connsiteX3" fmla="*/ 27339 w 28614"/>
                  <a:gd name="connsiteY3" fmla="*/ 20411 h 28614"/>
                  <a:gd name="connsiteX4" fmla="*/ 27339 w 28614"/>
                  <a:gd name="connsiteY4" fmla="*/ 17835 h 28614"/>
                  <a:gd name="connsiteX5" fmla="*/ 17753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753" y="10825"/>
                    </a:moveTo>
                    <a:cubicBezTo>
                      <a:pt x="14145" y="11399"/>
                      <a:pt x="11316" y="14227"/>
                      <a:pt x="10742" y="17835"/>
                    </a:cubicBezTo>
                    <a:cubicBezTo>
                      <a:pt x="10499" y="22491"/>
                      <a:pt x="14077" y="26463"/>
                      <a:pt x="18733" y="26705"/>
                    </a:cubicBezTo>
                    <a:cubicBezTo>
                      <a:pt x="22731" y="26914"/>
                      <a:pt x="26326" y="24284"/>
                      <a:pt x="27339" y="20411"/>
                    </a:cubicBezTo>
                    <a:cubicBezTo>
                      <a:pt x="27483" y="19558"/>
                      <a:pt x="27483" y="18688"/>
                      <a:pt x="27339" y="17835"/>
                    </a:cubicBezTo>
                    <a:cubicBezTo>
                      <a:pt x="26605" y="13266"/>
                      <a:pt x="22330" y="10139"/>
                      <a:pt x="17753" y="1082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38" name="Freeform: Shape 637">
                <a:extLst>
                  <a:ext uri="{FF2B5EF4-FFF2-40B4-BE49-F238E27FC236}">
                    <a16:creationId xmlns:a16="http://schemas.microsoft.com/office/drawing/2014/main" id="{1D4F32FC-75A8-4F28-A5D9-E13FD87DB98D}"/>
                  </a:ext>
                </a:extLst>
              </p:cNvPr>
              <p:cNvSpPr/>
              <p:nvPr/>
            </p:nvSpPr>
            <p:spPr>
              <a:xfrm>
                <a:off x="6257370" y="6160422"/>
                <a:ext cx="28615" cy="28615"/>
              </a:xfrm>
              <a:custGeom>
                <a:avLst/>
                <a:gdLst>
                  <a:gd name="connsiteX0" fmla="*/ 18459 w 28614"/>
                  <a:gd name="connsiteY0" fmla="*/ 10731 h 28614"/>
                  <a:gd name="connsiteX1" fmla="*/ 11019 w 28614"/>
                  <a:gd name="connsiteY1" fmla="*/ 18170 h 28614"/>
                  <a:gd name="connsiteX2" fmla="*/ 16129 w 28614"/>
                  <a:gd name="connsiteY2" fmla="*/ 27367 h 28614"/>
                  <a:gd name="connsiteX3" fmla="*/ 25326 w 28614"/>
                  <a:gd name="connsiteY3" fmla="*/ 22258 h 28614"/>
                  <a:gd name="connsiteX4" fmla="*/ 25326 w 28614"/>
                  <a:gd name="connsiteY4" fmla="*/ 18170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0"/>
                    </a:cubicBezTo>
                    <a:cubicBezTo>
                      <a:pt x="9890" y="22121"/>
                      <a:pt x="12178" y="26238"/>
                      <a:pt x="16129" y="27367"/>
                    </a:cubicBezTo>
                    <a:cubicBezTo>
                      <a:pt x="20080" y="28496"/>
                      <a:pt x="24197" y="26208"/>
                      <a:pt x="25326" y="22258"/>
                    </a:cubicBezTo>
                    <a:cubicBezTo>
                      <a:pt x="25708" y="20922"/>
                      <a:pt x="25708" y="19505"/>
                      <a:pt x="25326" y="18170"/>
                    </a:cubicBezTo>
                    <a:cubicBezTo>
                      <a:pt x="25338" y="14275"/>
                      <a:pt x="22343" y="11030"/>
                      <a:pt x="18459"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39" name="Freeform: Shape 638">
                <a:extLst>
                  <a:ext uri="{FF2B5EF4-FFF2-40B4-BE49-F238E27FC236}">
                    <a16:creationId xmlns:a16="http://schemas.microsoft.com/office/drawing/2014/main" id="{98720EF2-6D0F-47BD-AAB5-BFF5F58C82E3}"/>
                  </a:ext>
                </a:extLst>
              </p:cNvPr>
              <p:cNvSpPr/>
              <p:nvPr/>
            </p:nvSpPr>
            <p:spPr>
              <a:xfrm>
                <a:off x="6257658" y="6210784"/>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40" name="Freeform: Shape 639">
                <a:extLst>
                  <a:ext uri="{FF2B5EF4-FFF2-40B4-BE49-F238E27FC236}">
                    <a16:creationId xmlns:a16="http://schemas.microsoft.com/office/drawing/2014/main" id="{F3A05663-F380-4BB7-8A12-DD534F84BD8D}"/>
                  </a:ext>
                </a:extLst>
              </p:cNvPr>
              <p:cNvSpPr/>
              <p:nvPr/>
            </p:nvSpPr>
            <p:spPr>
              <a:xfrm>
                <a:off x="6257372" y="6260573"/>
                <a:ext cx="28615" cy="28615"/>
              </a:xfrm>
              <a:custGeom>
                <a:avLst/>
                <a:gdLst>
                  <a:gd name="connsiteX0" fmla="*/ 18457 w 28614"/>
                  <a:gd name="connsiteY0" fmla="*/ 10732 h 28614"/>
                  <a:gd name="connsiteX1" fmla="*/ 10732 w 28614"/>
                  <a:gd name="connsiteY1" fmla="*/ 18170 h 28614"/>
                  <a:gd name="connsiteX2" fmla="*/ 18171 w 28614"/>
                  <a:gd name="connsiteY2" fmla="*/ 25895 h 28614"/>
                  <a:gd name="connsiteX3" fmla="*/ 25895 w 28614"/>
                  <a:gd name="connsiteY3" fmla="*/ 18457 h 28614"/>
                  <a:gd name="connsiteX4" fmla="*/ 25896 w 28614"/>
                  <a:gd name="connsiteY4" fmla="*/ 18315 h 28614"/>
                  <a:gd name="connsiteX5" fmla="*/ 18601 w 28614"/>
                  <a:gd name="connsiteY5" fmla="*/ 10733 h 28614"/>
                  <a:gd name="connsiteX6" fmla="*/ 18457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7" y="10732"/>
                    </a:moveTo>
                    <a:cubicBezTo>
                      <a:pt x="14269" y="10653"/>
                      <a:pt x="10811" y="13983"/>
                      <a:pt x="10732" y="18170"/>
                    </a:cubicBezTo>
                    <a:cubicBezTo>
                      <a:pt x="10653" y="22358"/>
                      <a:pt x="13983" y="25816"/>
                      <a:pt x="18171" y="25895"/>
                    </a:cubicBezTo>
                    <a:cubicBezTo>
                      <a:pt x="22358" y="25974"/>
                      <a:pt x="25816" y="22644"/>
                      <a:pt x="25895" y="18457"/>
                    </a:cubicBezTo>
                    <a:cubicBezTo>
                      <a:pt x="25896" y="18409"/>
                      <a:pt x="25896" y="18362"/>
                      <a:pt x="25896" y="18315"/>
                    </a:cubicBezTo>
                    <a:cubicBezTo>
                      <a:pt x="25975" y="14207"/>
                      <a:pt x="22709" y="10812"/>
                      <a:pt x="18601" y="10733"/>
                    </a:cubicBezTo>
                    <a:cubicBezTo>
                      <a:pt x="18552" y="10732"/>
                      <a:pt x="18505" y="10732"/>
                      <a:pt x="18457"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41" name="Freeform: Shape 640">
                <a:extLst>
                  <a:ext uri="{FF2B5EF4-FFF2-40B4-BE49-F238E27FC236}">
                    <a16:creationId xmlns:a16="http://schemas.microsoft.com/office/drawing/2014/main" id="{55340C74-A72A-43E1-A5BE-9AFC3DD37184}"/>
                  </a:ext>
                </a:extLst>
              </p:cNvPr>
              <p:cNvSpPr/>
              <p:nvPr/>
            </p:nvSpPr>
            <p:spPr>
              <a:xfrm>
                <a:off x="6257658" y="6309506"/>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42" name="Freeform: Shape 641">
                <a:extLst>
                  <a:ext uri="{FF2B5EF4-FFF2-40B4-BE49-F238E27FC236}">
                    <a16:creationId xmlns:a16="http://schemas.microsoft.com/office/drawing/2014/main" id="{1DD3A891-5E7F-4B19-AD2E-A7D5C850D366}"/>
                  </a:ext>
                </a:extLst>
              </p:cNvPr>
              <p:cNvSpPr/>
              <p:nvPr/>
            </p:nvSpPr>
            <p:spPr>
              <a:xfrm>
                <a:off x="6097414" y="6258714"/>
                <a:ext cx="28615" cy="28615"/>
              </a:xfrm>
              <a:custGeom>
                <a:avLst/>
                <a:gdLst>
                  <a:gd name="connsiteX0" fmla="*/ 20030 w 28614"/>
                  <a:gd name="connsiteY0" fmla="*/ 10731 h 28614"/>
                  <a:gd name="connsiteX1" fmla="*/ 10731 w 28614"/>
                  <a:gd name="connsiteY1" fmla="*/ 20030 h 28614"/>
                  <a:gd name="connsiteX2" fmla="*/ 20030 w 28614"/>
                  <a:gd name="connsiteY2" fmla="*/ 29330 h 28614"/>
                  <a:gd name="connsiteX3" fmla="*/ 29330 w 28614"/>
                  <a:gd name="connsiteY3" fmla="*/ 20173 h 28614"/>
                  <a:gd name="connsiteX4" fmla="*/ 2003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10731"/>
                    </a:moveTo>
                    <a:cubicBezTo>
                      <a:pt x="14894" y="10731"/>
                      <a:pt x="10731" y="14894"/>
                      <a:pt x="10731" y="20030"/>
                    </a:cubicBezTo>
                    <a:cubicBezTo>
                      <a:pt x="10731" y="25167"/>
                      <a:pt x="14894" y="29330"/>
                      <a:pt x="20030" y="29330"/>
                    </a:cubicBezTo>
                    <a:cubicBezTo>
                      <a:pt x="25111" y="29332"/>
                      <a:pt x="29252" y="25254"/>
                      <a:pt x="29330" y="20173"/>
                    </a:cubicBezTo>
                    <a:cubicBezTo>
                      <a:pt x="29330" y="15014"/>
                      <a:pt x="25190" y="10809"/>
                      <a:pt x="20030"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43" name="Freeform: Shape 642">
                <a:extLst>
                  <a:ext uri="{FF2B5EF4-FFF2-40B4-BE49-F238E27FC236}">
                    <a16:creationId xmlns:a16="http://schemas.microsoft.com/office/drawing/2014/main" id="{9331D66E-0995-4228-9B13-23884CF66CEF}"/>
                  </a:ext>
                </a:extLst>
              </p:cNvPr>
              <p:cNvSpPr/>
              <p:nvPr/>
            </p:nvSpPr>
            <p:spPr>
              <a:xfrm>
                <a:off x="6094510" y="6108699"/>
                <a:ext cx="28615" cy="28615"/>
              </a:xfrm>
              <a:custGeom>
                <a:avLst/>
                <a:gdLst>
                  <a:gd name="connsiteX0" fmla="*/ 21790 w 28614"/>
                  <a:gd name="connsiteY0" fmla="*/ 30404 h 28614"/>
                  <a:gd name="connsiteX1" fmla="*/ 30947 w 28614"/>
                  <a:gd name="connsiteY1" fmla="*/ 21248 h 28614"/>
                  <a:gd name="connsiteX2" fmla="*/ 30947 w 28614"/>
                  <a:gd name="connsiteY2" fmla="*/ 19960 h 28614"/>
                  <a:gd name="connsiteX3" fmla="*/ 21790 w 28614"/>
                  <a:gd name="connsiteY3" fmla="*/ 10803 h 28614"/>
                  <a:gd name="connsiteX4" fmla="*/ 10803 w 28614"/>
                  <a:gd name="connsiteY4" fmla="*/ 19418 h 28614"/>
                  <a:gd name="connsiteX5" fmla="*/ 19418 w 28614"/>
                  <a:gd name="connsiteY5" fmla="*/ 30404 h 28614"/>
                  <a:gd name="connsiteX6" fmla="*/ 21790 w 28614"/>
                  <a:gd name="connsiteY6" fmla="*/ 3040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790" y="30404"/>
                    </a:moveTo>
                    <a:cubicBezTo>
                      <a:pt x="26848" y="30404"/>
                      <a:pt x="30947" y="26305"/>
                      <a:pt x="30947" y="21248"/>
                    </a:cubicBezTo>
                    <a:lnTo>
                      <a:pt x="30947" y="19960"/>
                    </a:lnTo>
                    <a:cubicBezTo>
                      <a:pt x="30947" y="14902"/>
                      <a:pt x="26848" y="10803"/>
                      <a:pt x="21790" y="10803"/>
                    </a:cubicBezTo>
                    <a:cubicBezTo>
                      <a:pt x="16377" y="10148"/>
                      <a:pt x="11458" y="14005"/>
                      <a:pt x="10803" y="19418"/>
                    </a:cubicBezTo>
                    <a:cubicBezTo>
                      <a:pt x="10148" y="24830"/>
                      <a:pt x="14005" y="29749"/>
                      <a:pt x="19418" y="30404"/>
                    </a:cubicBezTo>
                    <a:cubicBezTo>
                      <a:pt x="20205" y="30500"/>
                      <a:pt x="21002" y="30500"/>
                      <a:pt x="21790" y="3040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44" name="Freeform: Shape 643">
                <a:extLst>
                  <a:ext uri="{FF2B5EF4-FFF2-40B4-BE49-F238E27FC236}">
                    <a16:creationId xmlns:a16="http://schemas.microsoft.com/office/drawing/2014/main" id="{5B22E0DA-A0B8-4808-A7A3-0490DF86B2E0}"/>
                  </a:ext>
                </a:extLst>
              </p:cNvPr>
              <p:cNvSpPr/>
              <p:nvPr/>
            </p:nvSpPr>
            <p:spPr>
              <a:xfrm>
                <a:off x="6096984" y="6358151"/>
                <a:ext cx="28615" cy="28615"/>
              </a:xfrm>
              <a:custGeom>
                <a:avLst/>
                <a:gdLst>
                  <a:gd name="connsiteX0" fmla="*/ 20461 w 28614"/>
                  <a:gd name="connsiteY0" fmla="*/ 10731 h 28614"/>
                  <a:gd name="connsiteX1" fmla="*/ 20461 w 28614"/>
                  <a:gd name="connsiteY1" fmla="*/ 10731 h 28614"/>
                  <a:gd name="connsiteX2" fmla="*/ 10731 w 28614"/>
                  <a:gd name="connsiteY2" fmla="*/ 20458 h 28614"/>
                  <a:gd name="connsiteX3" fmla="*/ 10732 w 28614"/>
                  <a:gd name="connsiteY3" fmla="*/ 20603 h 28614"/>
                  <a:gd name="connsiteX4" fmla="*/ 20173 w 28614"/>
                  <a:gd name="connsiteY4" fmla="*/ 30332 h 28614"/>
                  <a:gd name="connsiteX5" fmla="*/ 20461 w 28614"/>
                  <a:gd name="connsiteY5" fmla="*/ 30332 h 28614"/>
                  <a:gd name="connsiteX6" fmla="*/ 29761 w 28614"/>
                  <a:gd name="connsiteY6" fmla="*/ 21175 h 28614"/>
                  <a:gd name="connsiteX7" fmla="*/ 29761 w 28614"/>
                  <a:gd name="connsiteY7" fmla="*/ 20174 h 28614"/>
                  <a:gd name="connsiteX8" fmla="*/ 20606 w 28614"/>
                  <a:gd name="connsiteY8" fmla="*/ 10732 h 28614"/>
                  <a:gd name="connsiteX9" fmla="*/ 20461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0461" y="10731"/>
                    </a:moveTo>
                    <a:lnTo>
                      <a:pt x="20461" y="10731"/>
                    </a:lnTo>
                    <a:cubicBezTo>
                      <a:pt x="15087" y="10731"/>
                      <a:pt x="10732" y="15086"/>
                      <a:pt x="10731" y="20458"/>
                    </a:cubicBezTo>
                    <a:cubicBezTo>
                      <a:pt x="10731" y="20507"/>
                      <a:pt x="10731" y="20554"/>
                      <a:pt x="10732" y="20603"/>
                    </a:cubicBezTo>
                    <a:cubicBezTo>
                      <a:pt x="10652" y="25897"/>
                      <a:pt x="14880" y="30252"/>
                      <a:pt x="20173" y="30332"/>
                    </a:cubicBezTo>
                    <a:cubicBezTo>
                      <a:pt x="20269" y="30333"/>
                      <a:pt x="20365" y="30333"/>
                      <a:pt x="20461" y="30332"/>
                    </a:cubicBezTo>
                    <a:cubicBezTo>
                      <a:pt x="25542" y="30332"/>
                      <a:pt x="29682" y="26256"/>
                      <a:pt x="29761" y="21175"/>
                    </a:cubicBezTo>
                    <a:lnTo>
                      <a:pt x="29761" y="20174"/>
                    </a:lnTo>
                    <a:cubicBezTo>
                      <a:pt x="29840" y="15039"/>
                      <a:pt x="25741" y="10811"/>
                      <a:pt x="20606" y="10732"/>
                    </a:cubicBezTo>
                    <a:cubicBezTo>
                      <a:pt x="20557" y="10731"/>
                      <a:pt x="20510" y="10731"/>
                      <a:pt x="20461"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45" name="Freeform: Shape 644">
                <a:extLst>
                  <a:ext uri="{FF2B5EF4-FFF2-40B4-BE49-F238E27FC236}">
                    <a16:creationId xmlns:a16="http://schemas.microsoft.com/office/drawing/2014/main" id="{B5E3F812-F447-42EB-A577-4347CF577F14}"/>
                  </a:ext>
                </a:extLst>
              </p:cNvPr>
              <p:cNvSpPr/>
              <p:nvPr/>
            </p:nvSpPr>
            <p:spPr>
              <a:xfrm>
                <a:off x="5694659" y="6104623"/>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46" name="Freeform: Shape 645">
                <a:extLst>
                  <a:ext uri="{FF2B5EF4-FFF2-40B4-BE49-F238E27FC236}">
                    <a16:creationId xmlns:a16="http://schemas.microsoft.com/office/drawing/2014/main" id="{CCB4259C-6C81-4BF8-ADB0-596E362546DB}"/>
                  </a:ext>
                </a:extLst>
              </p:cNvPr>
              <p:cNvSpPr/>
              <p:nvPr/>
            </p:nvSpPr>
            <p:spPr>
              <a:xfrm>
                <a:off x="6097271" y="6307787"/>
                <a:ext cx="28615" cy="28615"/>
              </a:xfrm>
              <a:custGeom>
                <a:avLst/>
                <a:gdLst>
                  <a:gd name="connsiteX0" fmla="*/ 20174 w 28614"/>
                  <a:gd name="connsiteY0" fmla="*/ 10732 h 28614"/>
                  <a:gd name="connsiteX1" fmla="*/ 10731 w 28614"/>
                  <a:gd name="connsiteY1" fmla="*/ 19889 h 28614"/>
                  <a:gd name="connsiteX2" fmla="*/ 20174 w 28614"/>
                  <a:gd name="connsiteY2" fmla="*/ 29332 h 28614"/>
                  <a:gd name="connsiteX3" fmla="*/ 29473 w 28614"/>
                  <a:gd name="connsiteY3" fmla="*/ 19889 h 28614"/>
                  <a:gd name="connsiteX4" fmla="*/ 20318 w 28614"/>
                  <a:gd name="connsiteY4" fmla="*/ 10731 h 28614"/>
                  <a:gd name="connsiteX5" fmla="*/ 20174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174" y="10732"/>
                    </a:moveTo>
                    <a:cubicBezTo>
                      <a:pt x="15069" y="10729"/>
                      <a:pt x="10885" y="14785"/>
                      <a:pt x="10731" y="19889"/>
                    </a:cubicBezTo>
                    <a:cubicBezTo>
                      <a:pt x="10880" y="25041"/>
                      <a:pt x="15021" y="29183"/>
                      <a:pt x="20174" y="29332"/>
                    </a:cubicBezTo>
                    <a:cubicBezTo>
                      <a:pt x="25333" y="29253"/>
                      <a:pt x="29473" y="25048"/>
                      <a:pt x="29473" y="19889"/>
                    </a:cubicBezTo>
                    <a:cubicBezTo>
                      <a:pt x="29473" y="14831"/>
                      <a:pt x="25374" y="10732"/>
                      <a:pt x="20318" y="10731"/>
                    </a:cubicBezTo>
                    <a:cubicBezTo>
                      <a:pt x="20269" y="10731"/>
                      <a:pt x="20222" y="10731"/>
                      <a:pt x="20174"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47" name="Freeform: Shape 646">
                <a:extLst>
                  <a:ext uri="{FF2B5EF4-FFF2-40B4-BE49-F238E27FC236}">
                    <a16:creationId xmlns:a16="http://schemas.microsoft.com/office/drawing/2014/main" id="{324ED6C4-5C93-4026-B8DE-27A21B31A170}"/>
                  </a:ext>
                </a:extLst>
              </p:cNvPr>
              <p:cNvSpPr/>
              <p:nvPr/>
            </p:nvSpPr>
            <p:spPr>
              <a:xfrm>
                <a:off x="6016577" y="6257713"/>
                <a:ext cx="28615" cy="28615"/>
              </a:xfrm>
              <a:custGeom>
                <a:avLst/>
                <a:gdLst>
                  <a:gd name="connsiteX0" fmla="*/ 21175 w 28614"/>
                  <a:gd name="connsiteY0" fmla="*/ 10731 h 28614"/>
                  <a:gd name="connsiteX1" fmla="*/ 21175 w 28614"/>
                  <a:gd name="connsiteY1" fmla="*/ 10731 h 28614"/>
                  <a:gd name="connsiteX2" fmla="*/ 10731 w 28614"/>
                  <a:gd name="connsiteY2" fmla="*/ 21175 h 28614"/>
                  <a:gd name="connsiteX3" fmla="*/ 20889 w 28614"/>
                  <a:gd name="connsiteY3" fmla="*/ 31333 h 28614"/>
                  <a:gd name="connsiteX4" fmla="*/ 20889 w 28614"/>
                  <a:gd name="connsiteY4" fmla="*/ 31333 h 28614"/>
                  <a:gd name="connsiteX5" fmla="*/ 31190 w 28614"/>
                  <a:gd name="connsiteY5" fmla="*/ 21032 h 28614"/>
                  <a:gd name="connsiteX6" fmla="*/ 20889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175" y="10731"/>
                    </a:moveTo>
                    <a:lnTo>
                      <a:pt x="21175" y="10731"/>
                    </a:lnTo>
                    <a:cubicBezTo>
                      <a:pt x="15406" y="10731"/>
                      <a:pt x="10731" y="15406"/>
                      <a:pt x="10731" y="21175"/>
                    </a:cubicBezTo>
                    <a:cubicBezTo>
                      <a:pt x="10731" y="26785"/>
                      <a:pt x="15279" y="31333"/>
                      <a:pt x="20889" y="31333"/>
                    </a:cubicBezTo>
                    <a:lnTo>
                      <a:pt x="20889" y="31333"/>
                    </a:lnTo>
                    <a:cubicBezTo>
                      <a:pt x="26578" y="31333"/>
                      <a:pt x="31190" y="26721"/>
                      <a:pt x="31190" y="21032"/>
                    </a:cubicBezTo>
                    <a:cubicBezTo>
                      <a:pt x="31190" y="15343"/>
                      <a:pt x="26578" y="10731"/>
                      <a:pt x="20889"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48" name="Freeform: Shape 647">
                <a:extLst>
                  <a:ext uri="{FF2B5EF4-FFF2-40B4-BE49-F238E27FC236}">
                    <a16:creationId xmlns:a16="http://schemas.microsoft.com/office/drawing/2014/main" id="{251D2CB9-275D-4A03-8BAB-C0D9B23A4C14}"/>
                  </a:ext>
                </a:extLst>
              </p:cNvPr>
              <p:cNvSpPr/>
              <p:nvPr/>
            </p:nvSpPr>
            <p:spPr>
              <a:xfrm>
                <a:off x="6177102" y="6359868"/>
                <a:ext cx="28615" cy="28615"/>
              </a:xfrm>
              <a:custGeom>
                <a:avLst/>
                <a:gdLst>
                  <a:gd name="connsiteX0" fmla="*/ 19463 w 28614"/>
                  <a:gd name="connsiteY0" fmla="*/ 10731 h 28614"/>
                  <a:gd name="connsiteX1" fmla="*/ 10736 w 28614"/>
                  <a:gd name="connsiteY1" fmla="*/ 19029 h 28614"/>
                  <a:gd name="connsiteX2" fmla="*/ 18744 w 28614"/>
                  <a:gd name="connsiteY2" fmla="*/ 27609 h 28614"/>
                  <a:gd name="connsiteX3" fmla="*/ 19034 w 28614"/>
                  <a:gd name="connsiteY3" fmla="*/ 27613 h 28614"/>
                  <a:gd name="connsiteX4" fmla="*/ 19034 w 28614"/>
                  <a:gd name="connsiteY4" fmla="*/ 27613 h 28614"/>
                  <a:gd name="connsiteX5" fmla="*/ 27189 w 28614"/>
                  <a:gd name="connsiteY5" fmla="*/ 19747 h 28614"/>
                  <a:gd name="connsiteX6" fmla="*/ 27189 w 28614"/>
                  <a:gd name="connsiteY6" fmla="*/ 19458 h 28614"/>
                  <a:gd name="connsiteX7" fmla="*/ 19463 w 28614"/>
                  <a:gd name="connsiteY7"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63" y="10731"/>
                    </a:moveTo>
                    <a:cubicBezTo>
                      <a:pt x="14806" y="10725"/>
                      <a:pt x="10965" y="14378"/>
                      <a:pt x="10736" y="19029"/>
                    </a:cubicBezTo>
                    <a:cubicBezTo>
                      <a:pt x="10578" y="23609"/>
                      <a:pt x="14162" y="27450"/>
                      <a:pt x="18744" y="27609"/>
                    </a:cubicBezTo>
                    <a:cubicBezTo>
                      <a:pt x="18839" y="27612"/>
                      <a:pt x="18937" y="27613"/>
                      <a:pt x="19034" y="27613"/>
                    </a:cubicBezTo>
                    <a:lnTo>
                      <a:pt x="19034" y="27613"/>
                    </a:lnTo>
                    <a:cubicBezTo>
                      <a:pt x="23458" y="27694"/>
                      <a:pt x="27109" y="24171"/>
                      <a:pt x="27189" y="19747"/>
                    </a:cubicBezTo>
                    <a:cubicBezTo>
                      <a:pt x="27191" y="19651"/>
                      <a:pt x="27191" y="19554"/>
                      <a:pt x="27189" y="19458"/>
                    </a:cubicBezTo>
                    <a:cubicBezTo>
                      <a:pt x="27358" y="14953"/>
                      <a:pt x="23956" y="11110"/>
                      <a:pt x="1946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49" name="Freeform: Shape 648">
                <a:extLst>
                  <a:ext uri="{FF2B5EF4-FFF2-40B4-BE49-F238E27FC236}">
                    <a16:creationId xmlns:a16="http://schemas.microsoft.com/office/drawing/2014/main" id="{8BD64C0D-2166-494B-B095-5E5006F0B06C}"/>
                  </a:ext>
                </a:extLst>
              </p:cNvPr>
              <p:cNvSpPr/>
              <p:nvPr/>
            </p:nvSpPr>
            <p:spPr>
              <a:xfrm>
                <a:off x="6176443" y="6111825"/>
                <a:ext cx="28615" cy="28615"/>
              </a:xfrm>
              <a:custGeom>
                <a:avLst/>
                <a:gdLst>
                  <a:gd name="connsiteX0" fmla="*/ 17976 w 28614"/>
                  <a:gd name="connsiteY0" fmla="*/ 27422 h 28614"/>
                  <a:gd name="connsiteX1" fmla="*/ 27562 w 28614"/>
                  <a:gd name="connsiteY1" fmla="*/ 20411 h 28614"/>
                  <a:gd name="connsiteX2" fmla="*/ 27562 w 28614"/>
                  <a:gd name="connsiteY2" fmla="*/ 17836 h 28614"/>
                  <a:gd name="connsiteX3" fmla="*/ 17976 w 28614"/>
                  <a:gd name="connsiteY3" fmla="*/ 10825 h 28614"/>
                  <a:gd name="connsiteX4" fmla="*/ 10822 w 28614"/>
                  <a:gd name="connsiteY4" fmla="*/ 17836 h 28614"/>
                  <a:gd name="connsiteX5" fmla="*/ 17943 w 28614"/>
                  <a:gd name="connsiteY5" fmla="*/ 27418 h 28614"/>
                  <a:gd name="connsiteX6" fmla="*/ 17976 w 28614"/>
                  <a:gd name="connsiteY6" fmla="*/ 2742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7976" y="27422"/>
                    </a:moveTo>
                    <a:cubicBezTo>
                      <a:pt x="22553" y="28107"/>
                      <a:pt x="26828" y="24981"/>
                      <a:pt x="27562" y="20411"/>
                    </a:cubicBezTo>
                    <a:cubicBezTo>
                      <a:pt x="27706" y="19558"/>
                      <a:pt x="27706" y="18689"/>
                      <a:pt x="27562" y="17836"/>
                    </a:cubicBezTo>
                    <a:cubicBezTo>
                      <a:pt x="26828" y="13266"/>
                      <a:pt x="22553" y="10138"/>
                      <a:pt x="17976" y="10825"/>
                    </a:cubicBezTo>
                    <a:cubicBezTo>
                      <a:pt x="14313" y="11342"/>
                      <a:pt x="11413" y="14183"/>
                      <a:pt x="10822" y="17836"/>
                    </a:cubicBezTo>
                    <a:cubicBezTo>
                      <a:pt x="10142" y="22449"/>
                      <a:pt x="13331" y="26738"/>
                      <a:pt x="17943" y="27418"/>
                    </a:cubicBezTo>
                    <a:cubicBezTo>
                      <a:pt x="17954" y="27419"/>
                      <a:pt x="17964" y="27420"/>
                      <a:pt x="17976" y="2742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0" name="Freeform: Shape 649">
                <a:extLst>
                  <a:ext uri="{FF2B5EF4-FFF2-40B4-BE49-F238E27FC236}">
                    <a16:creationId xmlns:a16="http://schemas.microsoft.com/office/drawing/2014/main" id="{003E332F-B8A0-4285-B678-DC101F2739B6}"/>
                  </a:ext>
                </a:extLst>
              </p:cNvPr>
              <p:cNvSpPr/>
              <p:nvPr/>
            </p:nvSpPr>
            <p:spPr>
              <a:xfrm>
                <a:off x="5222224" y="6258714"/>
                <a:ext cx="28615" cy="28615"/>
              </a:xfrm>
              <a:custGeom>
                <a:avLst/>
                <a:gdLst>
                  <a:gd name="connsiteX0" fmla="*/ 20032 w 28614"/>
                  <a:gd name="connsiteY0" fmla="*/ 29330 h 28614"/>
                  <a:gd name="connsiteX1" fmla="*/ 29330 w 28614"/>
                  <a:gd name="connsiteY1" fmla="*/ 20029 h 28614"/>
                  <a:gd name="connsiteX2" fmla="*/ 20029 w 28614"/>
                  <a:gd name="connsiteY2" fmla="*/ 10731 h 28614"/>
                  <a:gd name="connsiteX3" fmla="*/ 10731 w 28614"/>
                  <a:gd name="connsiteY3" fmla="*/ 20032 h 28614"/>
                  <a:gd name="connsiteX4" fmla="*/ 10732 w 28614"/>
                  <a:gd name="connsiteY4" fmla="*/ 20173 h 28614"/>
                  <a:gd name="connsiteX5" fmla="*/ 20032 w 28614"/>
                  <a:gd name="connsiteY5" fmla="*/ 293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2" y="29330"/>
                    </a:moveTo>
                    <a:cubicBezTo>
                      <a:pt x="25168" y="29330"/>
                      <a:pt x="29332" y="25165"/>
                      <a:pt x="29330" y="20029"/>
                    </a:cubicBezTo>
                    <a:cubicBezTo>
                      <a:pt x="29330" y="14893"/>
                      <a:pt x="25165" y="10731"/>
                      <a:pt x="20029" y="10731"/>
                    </a:cubicBezTo>
                    <a:cubicBezTo>
                      <a:pt x="14894" y="10731"/>
                      <a:pt x="10731" y="14896"/>
                      <a:pt x="10731" y="20032"/>
                    </a:cubicBezTo>
                    <a:cubicBezTo>
                      <a:pt x="10731" y="20079"/>
                      <a:pt x="10731" y="20126"/>
                      <a:pt x="10732" y="20173"/>
                    </a:cubicBezTo>
                    <a:cubicBezTo>
                      <a:pt x="10811" y="25254"/>
                      <a:pt x="14951" y="29330"/>
                      <a:pt x="20032" y="2933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1" name="Freeform: Shape 650">
                <a:extLst>
                  <a:ext uri="{FF2B5EF4-FFF2-40B4-BE49-F238E27FC236}">
                    <a16:creationId xmlns:a16="http://schemas.microsoft.com/office/drawing/2014/main" id="{EBE280DF-329A-4D9B-AA83-E44E1A07AC0D}"/>
                  </a:ext>
                </a:extLst>
              </p:cNvPr>
              <p:cNvSpPr/>
              <p:nvPr/>
            </p:nvSpPr>
            <p:spPr>
              <a:xfrm>
                <a:off x="6097271" y="6209496"/>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80" y="25040"/>
                      <a:pt x="15021" y="29181"/>
                      <a:pt x="20174" y="29330"/>
                    </a:cubicBezTo>
                    <a:cubicBezTo>
                      <a:pt x="25333" y="29252"/>
                      <a:pt x="29473" y="25047"/>
                      <a:pt x="29473" y="19887"/>
                    </a:cubicBezTo>
                    <a:cubicBezTo>
                      <a:pt x="29395" y="14807"/>
                      <a:pt x="25254" y="10731"/>
                      <a:pt x="20174"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2" name="Freeform: Shape 651">
                <a:extLst>
                  <a:ext uri="{FF2B5EF4-FFF2-40B4-BE49-F238E27FC236}">
                    <a16:creationId xmlns:a16="http://schemas.microsoft.com/office/drawing/2014/main" id="{9D35D0E7-411D-4B63-BEE6-CD3300CE0173}"/>
                  </a:ext>
                </a:extLst>
              </p:cNvPr>
              <p:cNvSpPr/>
              <p:nvPr/>
            </p:nvSpPr>
            <p:spPr>
              <a:xfrm>
                <a:off x="6097271" y="6158419"/>
                <a:ext cx="28615" cy="28615"/>
              </a:xfrm>
              <a:custGeom>
                <a:avLst/>
                <a:gdLst>
                  <a:gd name="connsiteX0" fmla="*/ 20174 w 28614"/>
                  <a:gd name="connsiteY0" fmla="*/ 10731 h 28614"/>
                  <a:gd name="connsiteX1" fmla="*/ 10731 w 28614"/>
                  <a:gd name="connsiteY1" fmla="*/ 20173 h 28614"/>
                  <a:gd name="connsiteX2" fmla="*/ 20174 w 28614"/>
                  <a:gd name="connsiteY2" fmla="*/ 29330 h 28614"/>
                  <a:gd name="connsiteX3" fmla="*/ 29473 w 28614"/>
                  <a:gd name="connsiteY3" fmla="*/ 20173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21" y="10879"/>
                      <a:pt x="10880" y="15021"/>
                      <a:pt x="10731" y="20173"/>
                    </a:cubicBezTo>
                    <a:cubicBezTo>
                      <a:pt x="10885" y="25277"/>
                      <a:pt x="15069" y="29333"/>
                      <a:pt x="20174" y="29330"/>
                    </a:cubicBezTo>
                    <a:cubicBezTo>
                      <a:pt x="25254" y="29330"/>
                      <a:pt x="29395" y="25254"/>
                      <a:pt x="29473" y="20173"/>
                    </a:cubicBezTo>
                    <a:cubicBezTo>
                      <a:pt x="29473" y="15014"/>
                      <a:pt x="25333" y="10809"/>
                      <a:pt x="20174"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3" name="Freeform: Shape 652">
                <a:extLst>
                  <a:ext uri="{FF2B5EF4-FFF2-40B4-BE49-F238E27FC236}">
                    <a16:creationId xmlns:a16="http://schemas.microsoft.com/office/drawing/2014/main" id="{12F74700-6077-42FA-BF36-D5007F97940E}"/>
                  </a:ext>
                </a:extLst>
              </p:cNvPr>
              <p:cNvSpPr/>
              <p:nvPr/>
            </p:nvSpPr>
            <p:spPr>
              <a:xfrm>
                <a:off x="5223080" y="6107698"/>
                <a:ext cx="28615" cy="28615"/>
              </a:xfrm>
              <a:custGeom>
                <a:avLst/>
                <a:gdLst>
                  <a:gd name="connsiteX0" fmla="*/ 19892 w 28614"/>
                  <a:gd name="connsiteY0" fmla="*/ 10802 h 28614"/>
                  <a:gd name="connsiteX1" fmla="*/ 10735 w 28614"/>
                  <a:gd name="connsiteY1" fmla="*/ 19959 h 28614"/>
                  <a:gd name="connsiteX2" fmla="*/ 10735 w 28614"/>
                  <a:gd name="connsiteY2" fmla="*/ 20961 h 28614"/>
                  <a:gd name="connsiteX3" fmla="*/ 19600 w 28614"/>
                  <a:gd name="connsiteY3" fmla="*/ 30401 h 28614"/>
                  <a:gd name="connsiteX4" fmla="*/ 19749 w 28614"/>
                  <a:gd name="connsiteY4" fmla="*/ 30404 h 28614"/>
                  <a:gd name="connsiteX5" fmla="*/ 19749 w 28614"/>
                  <a:gd name="connsiteY5" fmla="*/ 30404 h 28614"/>
                  <a:gd name="connsiteX6" fmla="*/ 30736 w 28614"/>
                  <a:gd name="connsiteY6" fmla="*/ 21789 h 28614"/>
                  <a:gd name="connsiteX7" fmla="*/ 22121 w 28614"/>
                  <a:gd name="connsiteY7" fmla="*/ 10802 h 28614"/>
                  <a:gd name="connsiteX8" fmla="*/ 19749 w 28614"/>
                  <a:gd name="connsiteY8" fmla="*/ 108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19892" y="10802"/>
                    </a:moveTo>
                    <a:cubicBezTo>
                      <a:pt x="14834" y="10802"/>
                      <a:pt x="10735" y="14902"/>
                      <a:pt x="10735" y="19959"/>
                    </a:cubicBezTo>
                    <a:lnTo>
                      <a:pt x="10735" y="20961"/>
                    </a:lnTo>
                    <a:cubicBezTo>
                      <a:pt x="10576" y="26016"/>
                      <a:pt x="14545" y="30242"/>
                      <a:pt x="19600" y="30401"/>
                    </a:cubicBezTo>
                    <a:cubicBezTo>
                      <a:pt x="19650" y="30402"/>
                      <a:pt x="19699" y="30402"/>
                      <a:pt x="19749" y="30404"/>
                    </a:cubicBezTo>
                    <a:lnTo>
                      <a:pt x="19749" y="30404"/>
                    </a:lnTo>
                    <a:cubicBezTo>
                      <a:pt x="25161" y="31059"/>
                      <a:pt x="30080" y="27202"/>
                      <a:pt x="30736" y="21789"/>
                    </a:cubicBezTo>
                    <a:cubicBezTo>
                      <a:pt x="31391" y="16377"/>
                      <a:pt x="27534" y="11458"/>
                      <a:pt x="22121" y="10802"/>
                    </a:cubicBezTo>
                    <a:cubicBezTo>
                      <a:pt x="21334" y="10707"/>
                      <a:pt x="20537" y="10707"/>
                      <a:pt x="19749" y="1080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4" name="Freeform: Shape 653">
                <a:extLst>
                  <a:ext uri="{FF2B5EF4-FFF2-40B4-BE49-F238E27FC236}">
                    <a16:creationId xmlns:a16="http://schemas.microsoft.com/office/drawing/2014/main" id="{387393EC-D9BC-4008-A760-E80C678F1FC7}"/>
                  </a:ext>
                </a:extLst>
              </p:cNvPr>
              <p:cNvSpPr/>
              <p:nvPr/>
            </p:nvSpPr>
            <p:spPr>
              <a:xfrm>
                <a:off x="5222940" y="6357150"/>
                <a:ext cx="28615" cy="28615"/>
              </a:xfrm>
              <a:custGeom>
                <a:avLst/>
                <a:gdLst>
                  <a:gd name="connsiteX0" fmla="*/ 19889 w 28614"/>
                  <a:gd name="connsiteY0" fmla="*/ 10731 h 28614"/>
                  <a:gd name="connsiteX1" fmla="*/ 10731 w 28614"/>
                  <a:gd name="connsiteY1" fmla="*/ 19886 h 28614"/>
                  <a:gd name="connsiteX2" fmla="*/ 10732 w 28614"/>
                  <a:gd name="connsiteY2" fmla="*/ 20030 h 28614"/>
                  <a:gd name="connsiteX3" fmla="*/ 10732 w 28614"/>
                  <a:gd name="connsiteY3" fmla="*/ 20030 h 28614"/>
                  <a:gd name="connsiteX4" fmla="*/ 10732 w 28614"/>
                  <a:gd name="connsiteY4" fmla="*/ 21032 h 28614"/>
                  <a:gd name="connsiteX5" fmla="*/ 19600 w 28614"/>
                  <a:gd name="connsiteY5" fmla="*/ 30189 h 28614"/>
                  <a:gd name="connsiteX6" fmla="*/ 19889 w 28614"/>
                  <a:gd name="connsiteY6" fmla="*/ 30189 h 28614"/>
                  <a:gd name="connsiteX7" fmla="*/ 29760 w 28614"/>
                  <a:gd name="connsiteY7" fmla="*/ 20604 h 28614"/>
                  <a:gd name="connsiteX8" fmla="*/ 29761 w 28614"/>
                  <a:gd name="connsiteY8" fmla="*/ 20460 h 28614"/>
                  <a:gd name="connsiteX9" fmla="*/ 19889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19889" y="10731"/>
                    </a:moveTo>
                    <a:cubicBezTo>
                      <a:pt x="14831" y="10731"/>
                      <a:pt x="10732" y="14830"/>
                      <a:pt x="10731" y="19886"/>
                    </a:cubicBezTo>
                    <a:cubicBezTo>
                      <a:pt x="10731" y="19935"/>
                      <a:pt x="10731" y="19982"/>
                      <a:pt x="10732" y="20030"/>
                    </a:cubicBezTo>
                    <a:lnTo>
                      <a:pt x="10732" y="20030"/>
                    </a:lnTo>
                    <a:lnTo>
                      <a:pt x="10732" y="21032"/>
                    </a:lnTo>
                    <a:cubicBezTo>
                      <a:pt x="10652" y="26010"/>
                      <a:pt x="14622" y="30109"/>
                      <a:pt x="19600" y="30189"/>
                    </a:cubicBezTo>
                    <a:cubicBezTo>
                      <a:pt x="19697" y="30190"/>
                      <a:pt x="19793" y="30190"/>
                      <a:pt x="19889" y="30189"/>
                    </a:cubicBezTo>
                    <a:cubicBezTo>
                      <a:pt x="25261" y="30267"/>
                      <a:pt x="29681" y="25977"/>
                      <a:pt x="29760" y="20604"/>
                    </a:cubicBezTo>
                    <a:cubicBezTo>
                      <a:pt x="29761" y="20556"/>
                      <a:pt x="29761" y="20508"/>
                      <a:pt x="29761" y="20460"/>
                    </a:cubicBezTo>
                    <a:cubicBezTo>
                      <a:pt x="29682" y="15063"/>
                      <a:pt x="25286" y="10731"/>
                      <a:pt x="19889"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5" name="Freeform: Shape 654">
                <a:extLst>
                  <a:ext uri="{FF2B5EF4-FFF2-40B4-BE49-F238E27FC236}">
                    <a16:creationId xmlns:a16="http://schemas.microsoft.com/office/drawing/2014/main" id="{A3DFE8E1-55FB-44F2-9EC2-9F2EFEB3BC66}"/>
                  </a:ext>
                </a:extLst>
              </p:cNvPr>
              <p:cNvSpPr/>
              <p:nvPr/>
            </p:nvSpPr>
            <p:spPr>
              <a:xfrm>
                <a:off x="5144964" y="6109344"/>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6" name="Freeform: Shape 655">
                <a:extLst>
                  <a:ext uri="{FF2B5EF4-FFF2-40B4-BE49-F238E27FC236}">
                    <a16:creationId xmlns:a16="http://schemas.microsoft.com/office/drawing/2014/main" id="{EEF87320-4BAD-4C1A-9F9C-07A660E3CFCA}"/>
                  </a:ext>
                </a:extLst>
              </p:cNvPr>
              <p:cNvSpPr/>
              <p:nvPr/>
            </p:nvSpPr>
            <p:spPr>
              <a:xfrm>
                <a:off x="5300773" y="6257855"/>
                <a:ext cx="28615" cy="28615"/>
              </a:xfrm>
              <a:custGeom>
                <a:avLst/>
                <a:gdLst>
                  <a:gd name="connsiteX0" fmla="*/ 20890 w 28614"/>
                  <a:gd name="connsiteY0" fmla="*/ 31191 h 28614"/>
                  <a:gd name="connsiteX1" fmla="*/ 31334 w 28614"/>
                  <a:gd name="connsiteY1" fmla="*/ 21176 h 28614"/>
                  <a:gd name="connsiteX2" fmla="*/ 31334 w 28614"/>
                  <a:gd name="connsiteY2" fmla="*/ 21176 h 28614"/>
                  <a:gd name="connsiteX3" fmla="*/ 21178 w 28614"/>
                  <a:gd name="connsiteY3" fmla="*/ 10732 h 28614"/>
                  <a:gd name="connsiteX4" fmla="*/ 20890 w 28614"/>
                  <a:gd name="connsiteY4" fmla="*/ 10732 h 28614"/>
                  <a:gd name="connsiteX5" fmla="*/ 10732 w 28614"/>
                  <a:gd name="connsiteY5" fmla="*/ 20890 h 28614"/>
                  <a:gd name="connsiteX6" fmla="*/ 10732 w 28614"/>
                  <a:gd name="connsiteY6" fmla="*/ 20890 h 28614"/>
                  <a:gd name="connsiteX7" fmla="*/ 20745 w 28614"/>
                  <a:gd name="connsiteY7" fmla="*/ 31190 h 28614"/>
                  <a:gd name="connsiteX8" fmla="*/ 20890 w 28614"/>
                  <a:gd name="connsiteY8" fmla="*/ 3119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890" y="31191"/>
                    </a:moveTo>
                    <a:cubicBezTo>
                      <a:pt x="26524" y="31271"/>
                      <a:pt x="31178" y="26809"/>
                      <a:pt x="31334" y="21176"/>
                    </a:cubicBezTo>
                    <a:lnTo>
                      <a:pt x="31334" y="21176"/>
                    </a:lnTo>
                    <a:cubicBezTo>
                      <a:pt x="31415" y="15488"/>
                      <a:pt x="26866" y="10812"/>
                      <a:pt x="21178" y="10732"/>
                    </a:cubicBezTo>
                    <a:cubicBezTo>
                      <a:pt x="21082" y="10730"/>
                      <a:pt x="20986" y="10730"/>
                      <a:pt x="20890" y="10732"/>
                    </a:cubicBezTo>
                    <a:cubicBezTo>
                      <a:pt x="15280" y="10732"/>
                      <a:pt x="10732" y="15280"/>
                      <a:pt x="10732" y="20890"/>
                    </a:cubicBezTo>
                    <a:lnTo>
                      <a:pt x="10732" y="20890"/>
                    </a:lnTo>
                    <a:cubicBezTo>
                      <a:pt x="10653" y="26500"/>
                      <a:pt x="15135" y="31111"/>
                      <a:pt x="20745" y="31190"/>
                    </a:cubicBezTo>
                    <a:cubicBezTo>
                      <a:pt x="20794" y="31191"/>
                      <a:pt x="20841" y="31191"/>
                      <a:pt x="20890" y="3119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7" name="Freeform: Shape 656">
                <a:extLst>
                  <a:ext uri="{FF2B5EF4-FFF2-40B4-BE49-F238E27FC236}">
                    <a16:creationId xmlns:a16="http://schemas.microsoft.com/office/drawing/2014/main" id="{6CF7B700-9D9C-4865-9421-C21DFE947B56}"/>
                  </a:ext>
                </a:extLst>
              </p:cNvPr>
              <p:cNvSpPr/>
              <p:nvPr/>
            </p:nvSpPr>
            <p:spPr>
              <a:xfrm>
                <a:off x="5222226" y="6309362"/>
                <a:ext cx="28615" cy="28615"/>
              </a:xfrm>
              <a:custGeom>
                <a:avLst/>
                <a:gdLst>
                  <a:gd name="connsiteX0" fmla="*/ 20030 w 28614"/>
                  <a:gd name="connsiteY0" fmla="*/ 29331 h 28614"/>
                  <a:gd name="connsiteX1" fmla="*/ 29473 w 28614"/>
                  <a:gd name="connsiteY1" fmla="*/ 19889 h 28614"/>
                  <a:gd name="connsiteX2" fmla="*/ 20030 w 28614"/>
                  <a:gd name="connsiteY2" fmla="*/ 10732 h 28614"/>
                  <a:gd name="connsiteX3" fmla="*/ 10732 w 28614"/>
                  <a:gd name="connsiteY3" fmla="*/ 19744 h 28614"/>
                  <a:gd name="connsiteX4" fmla="*/ 10731 w 28614"/>
                  <a:gd name="connsiteY4" fmla="*/ 19889 h 28614"/>
                  <a:gd name="connsiteX5" fmla="*/ 20030 w 28614"/>
                  <a:gd name="connsiteY5" fmla="*/ 293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0" y="29331"/>
                    </a:moveTo>
                    <a:cubicBezTo>
                      <a:pt x="25183" y="29183"/>
                      <a:pt x="29325" y="25041"/>
                      <a:pt x="29473" y="19889"/>
                    </a:cubicBezTo>
                    <a:cubicBezTo>
                      <a:pt x="29319" y="14785"/>
                      <a:pt x="25135" y="10729"/>
                      <a:pt x="20030" y="10732"/>
                    </a:cubicBezTo>
                    <a:cubicBezTo>
                      <a:pt x="14974" y="10653"/>
                      <a:pt x="10811" y="14688"/>
                      <a:pt x="10732" y="19744"/>
                    </a:cubicBezTo>
                    <a:cubicBezTo>
                      <a:pt x="10731" y="19793"/>
                      <a:pt x="10731" y="19840"/>
                      <a:pt x="10731" y="19889"/>
                    </a:cubicBezTo>
                    <a:cubicBezTo>
                      <a:pt x="10731" y="25048"/>
                      <a:pt x="14871" y="29253"/>
                      <a:pt x="20030" y="293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8" name="Freeform: Shape 657">
                <a:extLst>
                  <a:ext uri="{FF2B5EF4-FFF2-40B4-BE49-F238E27FC236}">
                    <a16:creationId xmlns:a16="http://schemas.microsoft.com/office/drawing/2014/main" id="{CC700C77-6F84-4759-9063-BC803AC71E5B}"/>
                  </a:ext>
                </a:extLst>
              </p:cNvPr>
              <p:cNvSpPr/>
              <p:nvPr/>
            </p:nvSpPr>
            <p:spPr>
              <a:xfrm>
                <a:off x="5300917" y="6307931"/>
                <a:ext cx="42922" cy="28615"/>
              </a:xfrm>
              <a:custGeom>
                <a:avLst/>
                <a:gdLst>
                  <a:gd name="connsiteX0" fmla="*/ 26469 w 42922"/>
                  <a:gd name="connsiteY0" fmla="*/ 11161 h 28614"/>
                  <a:gd name="connsiteX1" fmla="*/ 20746 w 42922"/>
                  <a:gd name="connsiteY1" fmla="*/ 11161 h 28614"/>
                  <a:gd name="connsiteX2" fmla="*/ 10731 w 42922"/>
                  <a:gd name="connsiteY2" fmla="*/ 20890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25" y="11159"/>
                      <a:pt x="10885" y="15470"/>
                      <a:pt x="10731" y="20890"/>
                    </a:cubicBezTo>
                    <a:cubicBezTo>
                      <a:pt x="10884" y="26332"/>
                      <a:pt x="15300" y="30688"/>
                      <a:pt x="20746" y="30762"/>
                    </a:cubicBezTo>
                    <a:cubicBezTo>
                      <a:pt x="26158" y="32343"/>
                      <a:pt x="31827" y="29236"/>
                      <a:pt x="33408" y="23823"/>
                    </a:cubicBezTo>
                    <a:cubicBezTo>
                      <a:pt x="34989" y="18410"/>
                      <a:pt x="31881" y="12742"/>
                      <a:pt x="26469" y="1116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9" name="Freeform: Shape 658">
                <a:extLst>
                  <a:ext uri="{FF2B5EF4-FFF2-40B4-BE49-F238E27FC236}">
                    <a16:creationId xmlns:a16="http://schemas.microsoft.com/office/drawing/2014/main" id="{F9989D2F-F1F6-4A0D-A228-080C68A74B37}"/>
                  </a:ext>
                </a:extLst>
              </p:cNvPr>
              <p:cNvSpPr/>
              <p:nvPr/>
            </p:nvSpPr>
            <p:spPr>
              <a:xfrm>
                <a:off x="5694802" y="6154270"/>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60" name="Freeform: Shape 659">
                <a:extLst>
                  <a:ext uri="{FF2B5EF4-FFF2-40B4-BE49-F238E27FC236}">
                    <a16:creationId xmlns:a16="http://schemas.microsoft.com/office/drawing/2014/main" id="{F873F869-1C82-458B-9872-A872DE74D625}"/>
                  </a:ext>
                </a:extLst>
              </p:cNvPr>
              <p:cNvSpPr/>
              <p:nvPr/>
            </p:nvSpPr>
            <p:spPr>
              <a:xfrm>
                <a:off x="5300774" y="6318520"/>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cubicBezTo>
                      <a:pt x="10731" y="10731"/>
                      <a:pt x="10731" y="10731"/>
                      <a:pt x="10731"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61" name="Freeform: Shape 660">
                <a:extLst>
                  <a:ext uri="{FF2B5EF4-FFF2-40B4-BE49-F238E27FC236}">
                    <a16:creationId xmlns:a16="http://schemas.microsoft.com/office/drawing/2014/main" id="{5D21B66C-D9B4-45C9-B311-6E8FD9C379D8}"/>
                  </a:ext>
                </a:extLst>
              </p:cNvPr>
              <p:cNvSpPr/>
              <p:nvPr/>
            </p:nvSpPr>
            <p:spPr>
              <a:xfrm>
                <a:off x="5301346" y="6207635"/>
                <a:ext cx="28615" cy="28615"/>
              </a:xfrm>
              <a:custGeom>
                <a:avLst/>
                <a:gdLst>
                  <a:gd name="connsiteX0" fmla="*/ 20889 w 28614"/>
                  <a:gd name="connsiteY0" fmla="*/ 31335 h 28614"/>
                  <a:gd name="connsiteX1" fmla="*/ 20889 w 28614"/>
                  <a:gd name="connsiteY1" fmla="*/ 31335 h 28614"/>
                  <a:gd name="connsiteX2" fmla="*/ 31333 w 28614"/>
                  <a:gd name="connsiteY2" fmla="*/ 20890 h 28614"/>
                  <a:gd name="connsiteX3" fmla="*/ 21177 w 28614"/>
                  <a:gd name="connsiteY3" fmla="*/ 10731 h 28614"/>
                  <a:gd name="connsiteX4" fmla="*/ 21032 w 28614"/>
                  <a:gd name="connsiteY4" fmla="*/ 10732 h 28614"/>
                  <a:gd name="connsiteX5" fmla="*/ 21032 w 28614"/>
                  <a:gd name="connsiteY5" fmla="*/ 10732 h 28614"/>
                  <a:gd name="connsiteX6" fmla="*/ 10731 w 28614"/>
                  <a:gd name="connsiteY6" fmla="*/ 21033 h 28614"/>
                  <a:gd name="connsiteX7" fmla="*/ 21032 w 28614"/>
                  <a:gd name="connsiteY7" fmla="*/ 313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0889" y="31335"/>
                    </a:moveTo>
                    <a:lnTo>
                      <a:pt x="20889" y="31335"/>
                    </a:lnTo>
                    <a:cubicBezTo>
                      <a:pt x="26658" y="31335"/>
                      <a:pt x="31333" y="26659"/>
                      <a:pt x="31333" y="20890"/>
                    </a:cubicBezTo>
                    <a:cubicBezTo>
                      <a:pt x="31333" y="15280"/>
                      <a:pt x="26786" y="10732"/>
                      <a:pt x="21177" y="10731"/>
                    </a:cubicBezTo>
                    <a:cubicBezTo>
                      <a:pt x="21128" y="10731"/>
                      <a:pt x="21081" y="10731"/>
                      <a:pt x="21032" y="10732"/>
                    </a:cubicBezTo>
                    <a:lnTo>
                      <a:pt x="21032" y="10732"/>
                    </a:lnTo>
                    <a:cubicBezTo>
                      <a:pt x="15343" y="10732"/>
                      <a:pt x="10731" y="15345"/>
                      <a:pt x="10731" y="21033"/>
                    </a:cubicBezTo>
                    <a:cubicBezTo>
                      <a:pt x="10731" y="26722"/>
                      <a:pt x="15343" y="31335"/>
                      <a:pt x="21032" y="3133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62" name="Freeform: Shape 661">
                <a:extLst>
                  <a:ext uri="{FF2B5EF4-FFF2-40B4-BE49-F238E27FC236}">
                    <a16:creationId xmlns:a16="http://schemas.microsoft.com/office/drawing/2014/main" id="{CB0D32B1-1736-4088-8CF4-C758D4BFF3C8}"/>
                  </a:ext>
                </a:extLst>
              </p:cNvPr>
              <p:cNvSpPr/>
              <p:nvPr/>
            </p:nvSpPr>
            <p:spPr>
              <a:xfrm>
                <a:off x="5301346" y="6357150"/>
                <a:ext cx="28615" cy="28615"/>
              </a:xfrm>
              <a:custGeom>
                <a:avLst/>
                <a:gdLst>
                  <a:gd name="connsiteX0" fmla="*/ 21032 w 28614"/>
                  <a:gd name="connsiteY0" fmla="*/ 10731 h 28614"/>
                  <a:gd name="connsiteX1" fmla="*/ 10731 w 28614"/>
                  <a:gd name="connsiteY1" fmla="*/ 21032 h 28614"/>
                  <a:gd name="connsiteX2" fmla="*/ 10731 w 28614"/>
                  <a:gd name="connsiteY2" fmla="*/ 21032 h 28614"/>
                  <a:gd name="connsiteX3" fmla="*/ 20888 w 28614"/>
                  <a:gd name="connsiteY3" fmla="*/ 31192 h 28614"/>
                  <a:gd name="connsiteX4" fmla="*/ 21032 w 28614"/>
                  <a:gd name="connsiteY4" fmla="*/ 31190 h 28614"/>
                  <a:gd name="connsiteX5" fmla="*/ 31333 w 28614"/>
                  <a:gd name="connsiteY5" fmla="*/ 21177 h 28614"/>
                  <a:gd name="connsiteX6" fmla="*/ 31333 w 28614"/>
                  <a:gd name="connsiteY6" fmla="*/ 21175 h 28614"/>
                  <a:gd name="connsiteX7" fmla="*/ 31333 w 28614"/>
                  <a:gd name="connsiteY7" fmla="*/ 21175 h 28614"/>
                  <a:gd name="connsiteX8" fmla="*/ 21032 w 28614"/>
                  <a:gd name="connsiteY8"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032" y="10731"/>
                    </a:moveTo>
                    <a:cubicBezTo>
                      <a:pt x="15343" y="10731"/>
                      <a:pt x="10731" y="15343"/>
                      <a:pt x="10731" y="21032"/>
                    </a:cubicBezTo>
                    <a:lnTo>
                      <a:pt x="10731" y="21032"/>
                    </a:lnTo>
                    <a:cubicBezTo>
                      <a:pt x="10731" y="26642"/>
                      <a:pt x="15278" y="31190"/>
                      <a:pt x="20888" y="31192"/>
                    </a:cubicBezTo>
                    <a:cubicBezTo>
                      <a:pt x="20936" y="31192"/>
                      <a:pt x="20983" y="31190"/>
                      <a:pt x="21032" y="31190"/>
                    </a:cubicBezTo>
                    <a:cubicBezTo>
                      <a:pt x="26642" y="31270"/>
                      <a:pt x="31253" y="26786"/>
                      <a:pt x="31333" y="21177"/>
                    </a:cubicBezTo>
                    <a:cubicBezTo>
                      <a:pt x="31333" y="21177"/>
                      <a:pt x="31333" y="21175"/>
                      <a:pt x="31333" y="21175"/>
                    </a:cubicBezTo>
                    <a:lnTo>
                      <a:pt x="31333" y="21175"/>
                    </a:lnTo>
                    <a:cubicBezTo>
                      <a:pt x="31333" y="15462"/>
                      <a:pt x="26745" y="10809"/>
                      <a:pt x="2103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63" name="Freeform: Shape 662">
                <a:extLst>
                  <a:ext uri="{FF2B5EF4-FFF2-40B4-BE49-F238E27FC236}">
                    <a16:creationId xmlns:a16="http://schemas.microsoft.com/office/drawing/2014/main" id="{208DABE6-74F4-4003-8D64-E74EC9A8F35D}"/>
                  </a:ext>
                </a:extLst>
              </p:cNvPr>
              <p:cNvSpPr/>
              <p:nvPr/>
            </p:nvSpPr>
            <p:spPr>
              <a:xfrm>
                <a:off x="5143712" y="6158980"/>
                <a:ext cx="28615" cy="28615"/>
              </a:xfrm>
              <a:custGeom>
                <a:avLst/>
                <a:gdLst>
                  <a:gd name="connsiteX0" fmla="*/ 20425 w 28614"/>
                  <a:gd name="connsiteY0" fmla="*/ 28197 h 28614"/>
                  <a:gd name="connsiteX1" fmla="*/ 27436 w 28614"/>
                  <a:gd name="connsiteY1" fmla="*/ 21186 h 28614"/>
                  <a:gd name="connsiteX2" fmla="*/ 21249 w 28614"/>
                  <a:gd name="connsiteY2" fmla="*/ 10976 h 28614"/>
                  <a:gd name="connsiteX3" fmla="*/ 11039 w 28614"/>
                  <a:gd name="connsiteY3" fmla="*/ 17161 h 28614"/>
                  <a:gd name="connsiteX4" fmla="*/ 10839 w 28614"/>
                  <a:gd name="connsiteY4" fmla="*/ 18324 h 28614"/>
                  <a:gd name="connsiteX5" fmla="*/ 10839 w 28614"/>
                  <a:gd name="connsiteY5" fmla="*/ 20900 h 28614"/>
                  <a:gd name="connsiteX6" fmla="*/ 20272 w 28614"/>
                  <a:gd name="connsiteY6" fmla="*/ 28218 h 28614"/>
                  <a:gd name="connsiteX7" fmla="*/ 20425 w 28614"/>
                  <a:gd name="connsiteY7" fmla="*/ 2819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0425" y="28197"/>
                    </a:moveTo>
                    <a:cubicBezTo>
                      <a:pt x="24078" y="27711"/>
                      <a:pt x="26951" y="24839"/>
                      <a:pt x="27436" y="21186"/>
                    </a:cubicBezTo>
                    <a:cubicBezTo>
                      <a:pt x="28547" y="16658"/>
                      <a:pt x="25777" y="12086"/>
                      <a:pt x="21249" y="10976"/>
                    </a:cubicBezTo>
                    <a:cubicBezTo>
                      <a:pt x="16722" y="9864"/>
                      <a:pt x="12151" y="12634"/>
                      <a:pt x="11039" y="17161"/>
                    </a:cubicBezTo>
                    <a:cubicBezTo>
                      <a:pt x="10946" y="17545"/>
                      <a:pt x="10879" y="17932"/>
                      <a:pt x="10839" y="18324"/>
                    </a:cubicBezTo>
                    <a:cubicBezTo>
                      <a:pt x="10694" y="19177"/>
                      <a:pt x="10694" y="20047"/>
                      <a:pt x="10839" y="20900"/>
                    </a:cubicBezTo>
                    <a:cubicBezTo>
                      <a:pt x="11423" y="25525"/>
                      <a:pt x="15646" y="28802"/>
                      <a:pt x="20272" y="28218"/>
                    </a:cubicBezTo>
                    <a:cubicBezTo>
                      <a:pt x="20322" y="28211"/>
                      <a:pt x="20373" y="28204"/>
                      <a:pt x="20425" y="2819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64" name="Freeform: Shape 663">
                <a:extLst>
                  <a:ext uri="{FF2B5EF4-FFF2-40B4-BE49-F238E27FC236}">
                    <a16:creationId xmlns:a16="http://schemas.microsoft.com/office/drawing/2014/main" id="{66BCAE01-3B26-4188-A9E1-7C3B39C150A9}"/>
                  </a:ext>
                </a:extLst>
              </p:cNvPr>
              <p:cNvSpPr/>
              <p:nvPr/>
            </p:nvSpPr>
            <p:spPr>
              <a:xfrm>
                <a:off x="5144285" y="6356912"/>
                <a:ext cx="28615" cy="28615"/>
              </a:xfrm>
              <a:custGeom>
                <a:avLst/>
                <a:gdLst>
                  <a:gd name="connsiteX0" fmla="*/ 20425 w 28614"/>
                  <a:gd name="connsiteY0" fmla="*/ 10825 h 28614"/>
                  <a:gd name="connsiteX1" fmla="*/ 10839 w 28614"/>
                  <a:gd name="connsiteY1" fmla="*/ 17836 h 28614"/>
                  <a:gd name="connsiteX2" fmla="*/ 10839 w 28614"/>
                  <a:gd name="connsiteY2" fmla="*/ 20411 h 28614"/>
                  <a:gd name="connsiteX3" fmla="*/ 20305 w 28614"/>
                  <a:gd name="connsiteY3" fmla="*/ 27683 h 28614"/>
                  <a:gd name="connsiteX4" fmla="*/ 27579 w 28614"/>
                  <a:gd name="connsiteY4" fmla="*/ 20411 h 28614"/>
                  <a:gd name="connsiteX5" fmla="*/ 20425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425" y="10825"/>
                    </a:moveTo>
                    <a:cubicBezTo>
                      <a:pt x="15848" y="10140"/>
                      <a:pt x="11573" y="13266"/>
                      <a:pt x="10839" y="17836"/>
                    </a:cubicBezTo>
                    <a:cubicBezTo>
                      <a:pt x="10694" y="18688"/>
                      <a:pt x="10694" y="19558"/>
                      <a:pt x="10839" y="20411"/>
                    </a:cubicBezTo>
                    <a:cubicBezTo>
                      <a:pt x="11444" y="25034"/>
                      <a:pt x="15683" y="28290"/>
                      <a:pt x="20305" y="27683"/>
                    </a:cubicBezTo>
                    <a:cubicBezTo>
                      <a:pt x="24098" y="27187"/>
                      <a:pt x="27082" y="24202"/>
                      <a:pt x="27579" y="20411"/>
                    </a:cubicBezTo>
                    <a:cubicBezTo>
                      <a:pt x="28180" y="15807"/>
                      <a:pt x="25009" y="11560"/>
                      <a:pt x="20425" y="1082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65" name="Freeform: Shape 664">
                <a:extLst>
                  <a:ext uri="{FF2B5EF4-FFF2-40B4-BE49-F238E27FC236}">
                    <a16:creationId xmlns:a16="http://schemas.microsoft.com/office/drawing/2014/main" id="{B9574D0A-8072-443E-8CE7-81C99DF57218}"/>
                  </a:ext>
                </a:extLst>
              </p:cNvPr>
              <p:cNvSpPr/>
              <p:nvPr/>
            </p:nvSpPr>
            <p:spPr>
              <a:xfrm>
                <a:off x="5065843" y="6109343"/>
                <a:ext cx="28615" cy="28615"/>
              </a:xfrm>
              <a:custGeom>
                <a:avLst/>
                <a:gdLst>
                  <a:gd name="connsiteX0" fmla="*/ 18459 w 28614"/>
                  <a:gd name="connsiteY0" fmla="*/ 10732 h 28614"/>
                  <a:gd name="connsiteX1" fmla="*/ 11019 w 28614"/>
                  <a:gd name="connsiteY1" fmla="*/ 17883 h 28614"/>
                  <a:gd name="connsiteX2" fmla="*/ 11019 w 28614"/>
                  <a:gd name="connsiteY2" fmla="*/ 17886 h 28614"/>
                  <a:gd name="connsiteX3" fmla="*/ 16129 w 28614"/>
                  <a:gd name="connsiteY3" fmla="*/ 27083 h 28614"/>
                  <a:gd name="connsiteX4" fmla="*/ 25326 w 28614"/>
                  <a:gd name="connsiteY4" fmla="*/ 21973 h 28614"/>
                  <a:gd name="connsiteX5" fmla="*/ 25326 w 28614"/>
                  <a:gd name="connsiteY5" fmla="*/ 17886 h 28614"/>
                  <a:gd name="connsiteX6" fmla="*/ 18602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9" y="10732"/>
                    </a:moveTo>
                    <a:cubicBezTo>
                      <a:pt x="14429" y="10652"/>
                      <a:pt x="11099" y="13854"/>
                      <a:pt x="11019" y="17883"/>
                    </a:cubicBezTo>
                    <a:cubicBezTo>
                      <a:pt x="11019" y="17884"/>
                      <a:pt x="11019" y="17884"/>
                      <a:pt x="11019" y="17886"/>
                    </a:cubicBezTo>
                    <a:cubicBezTo>
                      <a:pt x="9890" y="21836"/>
                      <a:pt x="12178" y="25954"/>
                      <a:pt x="16129" y="27083"/>
                    </a:cubicBezTo>
                    <a:cubicBezTo>
                      <a:pt x="20080" y="28212"/>
                      <a:pt x="24198" y="25924"/>
                      <a:pt x="25326" y="21973"/>
                    </a:cubicBezTo>
                    <a:cubicBezTo>
                      <a:pt x="25708" y="20637"/>
                      <a:pt x="25708" y="19222"/>
                      <a:pt x="25326" y="17886"/>
                    </a:cubicBezTo>
                    <a:cubicBezTo>
                      <a:pt x="25264" y="14124"/>
                      <a:pt x="22352" y="11027"/>
                      <a:pt x="18602"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66" name="Freeform: Shape 665">
                <a:extLst>
                  <a:ext uri="{FF2B5EF4-FFF2-40B4-BE49-F238E27FC236}">
                    <a16:creationId xmlns:a16="http://schemas.microsoft.com/office/drawing/2014/main" id="{3369A593-9F83-4614-9FA0-4EC8B2439117}"/>
                  </a:ext>
                </a:extLst>
              </p:cNvPr>
              <p:cNvSpPr/>
              <p:nvPr/>
            </p:nvSpPr>
            <p:spPr>
              <a:xfrm>
                <a:off x="5065273" y="6161996"/>
                <a:ext cx="28615" cy="28615"/>
              </a:xfrm>
              <a:custGeom>
                <a:avLst/>
                <a:gdLst>
                  <a:gd name="connsiteX0" fmla="*/ 25610 w 28614"/>
                  <a:gd name="connsiteY0" fmla="*/ 18170 h 28614"/>
                  <a:gd name="connsiteX1" fmla="*/ 18170 w 28614"/>
                  <a:gd name="connsiteY1" fmla="*/ 25610 h 28614"/>
                  <a:gd name="connsiteX2" fmla="*/ 10731 w 28614"/>
                  <a:gd name="connsiteY2" fmla="*/ 18170 h 28614"/>
                  <a:gd name="connsiteX3" fmla="*/ 18170 w 28614"/>
                  <a:gd name="connsiteY3" fmla="*/ 10731 h 28614"/>
                  <a:gd name="connsiteX4" fmla="*/ 25610 w 28614"/>
                  <a:gd name="connsiteY4" fmla="*/ 1817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0"/>
                    </a:moveTo>
                    <a:cubicBezTo>
                      <a:pt x="25610" y="22279"/>
                      <a:pt x="22279" y="25610"/>
                      <a:pt x="18170" y="25610"/>
                    </a:cubicBezTo>
                    <a:cubicBezTo>
                      <a:pt x="14062" y="25610"/>
                      <a:pt x="10731" y="22279"/>
                      <a:pt x="10731" y="18170"/>
                    </a:cubicBezTo>
                    <a:cubicBezTo>
                      <a:pt x="10731" y="14062"/>
                      <a:pt x="14062" y="10731"/>
                      <a:pt x="18170" y="10731"/>
                    </a:cubicBezTo>
                    <a:cubicBezTo>
                      <a:pt x="22279" y="10731"/>
                      <a:pt x="25610" y="14062"/>
                      <a:pt x="25610" y="18170"/>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67" name="Freeform: Shape 666">
                <a:extLst>
                  <a:ext uri="{FF2B5EF4-FFF2-40B4-BE49-F238E27FC236}">
                    <a16:creationId xmlns:a16="http://schemas.microsoft.com/office/drawing/2014/main" id="{B4089234-20D2-4F50-AA95-631AF39741CE}"/>
                  </a:ext>
                </a:extLst>
              </p:cNvPr>
              <p:cNvSpPr/>
              <p:nvPr/>
            </p:nvSpPr>
            <p:spPr>
              <a:xfrm>
                <a:off x="5300774" y="6169435"/>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cubicBezTo>
                      <a:pt x="10731" y="10731"/>
                      <a:pt x="10731" y="10731"/>
                      <a:pt x="10731"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68" name="Freeform: Shape 667">
                <a:extLst>
                  <a:ext uri="{FF2B5EF4-FFF2-40B4-BE49-F238E27FC236}">
                    <a16:creationId xmlns:a16="http://schemas.microsoft.com/office/drawing/2014/main" id="{45BC0144-1109-4A41-B4E9-4D05BD563BA5}"/>
                  </a:ext>
                </a:extLst>
              </p:cNvPr>
              <p:cNvSpPr/>
              <p:nvPr/>
            </p:nvSpPr>
            <p:spPr>
              <a:xfrm>
                <a:off x="5143712" y="6257578"/>
                <a:ext cx="28615" cy="28615"/>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8"/>
                      <a:pt x="21405" y="11007"/>
                    </a:cubicBezTo>
                    <a:cubicBezTo>
                      <a:pt x="16894" y="9828"/>
                      <a:pt x="12283" y="12528"/>
                      <a:pt x="11102" y="17038"/>
                    </a:cubicBezTo>
                    <a:cubicBezTo>
                      <a:pt x="10958" y="17593"/>
                      <a:pt x="10869" y="18161"/>
                      <a:pt x="10839" y="18735"/>
                    </a:cubicBezTo>
                    <a:cubicBezTo>
                      <a:pt x="10694" y="19587"/>
                      <a:pt x="10694" y="20457"/>
                      <a:pt x="10839" y="21310"/>
                    </a:cubicBezTo>
                    <a:cubicBezTo>
                      <a:pt x="11573" y="25880"/>
                      <a:pt x="15848" y="29006"/>
                      <a:pt x="20425" y="2832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69" name="Freeform: Shape 668">
                <a:extLst>
                  <a:ext uri="{FF2B5EF4-FFF2-40B4-BE49-F238E27FC236}">
                    <a16:creationId xmlns:a16="http://schemas.microsoft.com/office/drawing/2014/main" id="{C3589761-FEC9-47EC-8D0F-0C4B8C9CC734}"/>
                  </a:ext>
                </a:extLst>
              </p:cNvPr>
              <p:cNvSpPr/>
              <p:nvPr/>
            </p:nvSpPr>
            <p:spPr>
              <a:xfrm>
                <a:off x="5066168" y="6260574"/>
                <a:ext cx="28615" cy="28615"/>
              </a:xfrm>
              <a:custGeom>
                <a:avLst/>
                <a:gdLst>
                  <a:gd name="connsiteX0" fmla="*/ 17275 w 28614"/>
                  <a:gd name="connsiteY0" fmla="*/ 25754 h 28614"/>
                  <a:gd name="connsiteX1" fmla="*/ 23748 w 28614"/>
                  <a:gd name="connsiteY1" fmla="*/ 17203 h 28614"/>
                  <a:gd name="connsiteX2" fmla="*/ 17275 w 28614"/>
                  <a:gd name="connsiteY2" fmla="*/ 10731 h 28614"/>
                  <a:gd name="connsiteX3" fmla="*/ 10803 w 28614"/>
                  <a:gd name="connsiteY3" fmla="*/ 19281 h 28614"/>
                  <a:gd name="connsiteX4" fmla="*/ 17275 w 28614"/>
                  <a:gd name="connsiteY4" fmla="*/ 25754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7275" y="25754"/>
                    </a:moveTo>
                    <a:cubicBezTo>
                      <a:pt x="21424" y="25180"/>
                      <a:pt x="24321" y="21351"/>
                      <a:pt x="23748" y="17203"/>
                    </a:cubicBezTo>
                    <a:cubicBezTo>
                      <a:pt x="23282" y="13840"/>
                      <a:pt x="20638" y="11196"/>
                      <a:pt x="17275" y="10731"/>
                    </a:cubicBezTo>
                    <a:cubicBezTo>
                      <a:pt x="13127" y="11304"/>
                      <a:pt x="10229" y="15133"/>
                      <a:pt x="10803" y="19281"/>
                    </a:cubicBezTo>
                    <a:cubicBezTo>
                      <a:pt x="11268" y="22644"/>
                      <a:pt x="13912" y="25288"/>
                      <a:pt x="17275" y="2575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70" name="Freeform: Shape 669">
                <a:extLst>
                  <a:ext uri="{FF2B5EF4-FFF2-40B4-BE49-F238E27FC236}">
                    <a16:creationId xmlns:a16="http://schemas.microsoft.com/office/drawing/2014/main" id="{2558B707-AEF9-4236-9718-24CFE9E8F799}"/>
                  </a:ext>
                </a:extLst>
              </p:cNvPr>
              <p:cNvSpPr/>
              <p:nvPr/>
            </p:nvSpPr>
            <p:spPr>
              <a:xfrm>
                <a:off x="5143535" y="6310221"/>
                <a:ext cx="28615" cy="28615"/>
              </a:xfrm>
              <a:custGeom>
                <a:avLst/>
                <a:gdLst>
                  <a:gd name="connsiteX0" fmla="*/ 19172 w 28614"/>
                  <a:gd name="connsiteY0" fmla="*/ 27613 h 28614"/>
                  <a:gd name="connsiteX1" fmla="*/ 27613 w 28614"/>
                  <a:gd name="connsiteY1" fmla="*/ 19172 h 28614"/>
                  <a:gd name="connsiteX2" fmla="*/ 19172 w 28614"/>
                  <a:gd name="connsiteY2" fmla="*/ 10731 h 28614"/>
                  <a:gd name="connsiteX3" fmla="*/ 19172 w 28614"/>
                  <a:gd name="connsiteY3" fmla="*/ 10731 h 28614"/>
                  <a:gd name="connsiteX4" fmla="*/ 10731 w 28614"/>
                  <a:gd name="connsiteY4" fmla="*/ 19172 h 28614"/>
                  <a:gd name="connsiteX5" fmla="*/ 19172 w 28614"/>
                  <a:gd name="connsiteY5" fmla="*/ 2761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172" y="27613"/>
                    </a:moveTo>
                    <a:cubicBezTo>
                      <a:pt x="23833" y="27613"/>
                      <a:pt x="27613" y="23833"/>
                      <a:pt x="27613" y="19172"/>
                    </a:cubicBezTo>
                    <a:cubicBezTo>
                      <a:pt x="27613" y="14511"/>
                      <a:pt x="23833" y="10731"/>
                      <a:pt x="19172" y="10731"/>
                    </a:cubicBezTo>
                    <a:lnTo>
                      <a:pt x="19172" y="10731"/>
                    </a:lnTo>
                    <a:cubicBezTo>
                      <a:pt x="14511" y="10731"/>
                      <a:pt x="10731" y="14511"/>
                      <a:pt x="10731" y="19172"/>
                    </a:cubicBezTo>
                    <a:cubicBezTo>
                      <a:pt x="10731" y="23833"/>
                      <a:pt x="14511" y="27613"/>
                      <a:pt x="19172" y="2761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71" name="Freeform: Shape 670">
                <a:extLst>
                  <a:ext uri="{FF2B5EF4-FFF2-40B4-BE49-F238E27FC236}">
                    <a16:creationId xmlns:a16="http://schemas.microsoft.com/office/drawing/2014/main" id="{225A3062-9BCB-4F27-80C1-173F8E60E2AF}"/>
                  </a:ext>
                </a:extLst>
              </p:cNvPr>
              <p:cNvSpPr/>
              <p:nvPr/>
            </p:nvSpPr>
            <p:spPr>
              <a:xfrm>
                <a:off x="5066131" y="6210355"/>
                <a:ext cx="28615" cy="28615"/>
              </a:xfrm>
              <a:custGeom>
                <a:avLst/>
                <a:gdLst>
                  <a:gd name="connsiteX0" fmla="*/ 25610 w 28614"/>
                  <a:gd name="connsiteY0" fmla="*/ 18171 h 28614"/>
                  <a:gd name="connsiteX1" fmla="*/ 18171 w 28614"/>
                  <a:gd name="connsiteY1" fmla="*/ 25610 h 28614"/>
                  <a:gd name="connsiteX2" fmla="*/ 10731 w 28614"/>
                  <a:gd name="connsiteY2" fmla="*/ 18171 h 28614"/>
                  <a:gd name="connsiteX3" fmla="*/ 18171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1" y="25610"/>
                    </a:cubicBezTo>
                    <a:cubicBezTo>
                      <a:pt x="14062" y="25610"/>
                      <a:pt x="10731" y="22279"/>
                      <a:pt x="10731" y="18171"/>
                    </a:cubicBezTo>
                    <a:cubicBezTo>
                      <a:pt x="10731" y="14062"/>
                      <a:pt x="14062" y="10731"/>
                      <a:pt x="18171" y="10731"/>
                    </a:cubicBezTo>
                    <a:cubicBezTo>
                      <a:pt x="22279" y="10731"/>
                      <a:pt x="25610" y="14062"/>
                      <a:pt x="25610" y="1817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72" name="Freeform: Shape 671">
                <a:extLst>
                  <a:ext uri="{FF2B5EF4-FFF2-40B4-BE49-F238E27FC236}">
                    <a16:creationId xmlns:a16="http://schemas.microsoft.com/office/drawing/2014/main" id="{40B5C7F6-300B-4991-9F09-0663FD8EC6DA}"/>
                  </a:ext>
                </a:extLst>
              </p:cNvPr>
              <p:cNvSpPr/>
              <p:nvPr/>
            </p:nvSpPr>
            <p:spPr>
              <a:xfrm>
                <a:off x="5065994" y="6359151"/>
                <a:ext cx="28615" cy="28615"/>
              </a:xfrm>
              <a:custGeom>
                <a:avLst/>
                <a:gdLst>
                  <a:gd name="connsiteX0" fmla="*/ 18022 w 28614"/>
                  <a:gd name="connsiteY0" fmla="*/ 10732 h 28614"/>
                  <a:gd name="connsiteX1" fmla="*/ 10732 w 28614"/>
                  <a:gd name="connsiteY1" fmla="*/ 18319 h 28614"/>
                  <a:gd name="connsiteX2" fmla="*/ 18319 w 28614"/>
                  <a:gd name="connsiteY2" fmla="*/ 25609 h 28614"/>
                  <a:gd name="connsiteX3" fmla="*/ 25605 w 28614"/>
                  <a:gd name="connsiteY3" fmla="*/ 18458 h 28614"/>
                  <a:gd name="connsiteX4" fmla="*/ 18458 w 28614"/>
                  <a:gd name="connsiteY4" fmla="*/ 10736 h 28614"/>
                  <a:gd name="connsiteX5" fmla="*/ 18022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022" y="10732"/>
                    </a:moveTo>
                    <a:cubicBezTo>
                      <a:pt x="13914" y="10814"/>
                      <a:pt x="10650" y="14212"/>
                      <a:pt x="10732" y="18319"/>
                    </a:cubicBezTo>
                    <a:cubicBezTo>
                      <a:pt x="10814" y="22427"/>
                      <a:pt x="14211" y="25691"/>
                      <a:pt x="18319" y="25609"/>
                    </a:cubicBezTo>
                    <a:cubicBezTo>
                      <a:pt x="22258" y="25530"/>
                      <a:pt x="25453" y="22394"/>
                      <a:pt x="25605" y="18458"/>
                    </a:cubicBezTo>
                    <a:cubicBezTo>
                      <a:pt x="25764" y="14352"/>
                      <a:pt x="22564" y="10895"/>
                      <a:pt x="18458" y="10736"/>
                    </a:cubicBezTo>
                    <a:cubicBezTo>
                      <a:pt x="18313" y="10731"/>
                      <a:pt x="18167" y="10729"/>
                      <a:pt x="18022"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73" name="Freeform: Shape 672">
                <a:extLst>
                  <a:ext uri="{FF2B5EF4-FFF2-40B4-BE49-F238E27FC236}">
                    <a16:creationId xmlns:a16="http://schemas.microsoft.com/office/drawing/2014/main" id="{C7DA8B74-F400-4EE3-83C9-30A700F9C410}"/>
                  </a:ext>
                </a:extLst>
              </p:cNvPr>
              <p:cNvSpPr/>
              <p:nvPr/>
            </p:nvSpPr>
            <p:spPr>
              <a:xfrm>
                <a:off x="5144964" y="6209496"/>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74" name="Freeform: Shape 673">
                <a:extLst>
                  <a:ext uri="{FF2B5EF4-FFF2-40B4-BE49-F238E27FC236}">
                    <a16:creationId xmlns:a16="http://schemas.microsoft.com/office/drawing/2014/main" id="{FD8188C0-1528-4950-A6E2-BB1F176B2A59}"/>
                  </a:ext>
                </a:extLst>
              </p:cNvPr>
              <p:cNvSpPr/>
              <p:nvPr/>
            </p:nvSpPr>
            <p:spPr>
              <a:xfrm>
                <a:off x="5614394" y="6303497"/>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75" name="Freeform: Shape 674">
                <a:extLst>
                  <a:ext uri="{FF2B5EF4-FFF2-40B4-BE49-F238E27FC236}">
                    <a16:creationId xmlns:a16="http://schemas.microsoft.com/office/drawing/2014/main" id="{AA971004-D96F-4A18-B672-16A9F2A00C12}"/>
                  </a:ext>
                </a:extLst>
              </p:cNvPr>
              <p:cNvSpPr/>
              <p:nvPr/>
            </p:nvSpPr>
            <p:spPr>
              <a:xfrm>
                <a:off x="5536990" y="6106626"/>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76" name="Freeform: Shape 675">
                <a:extLst>
                  <a:ext uri="{FF2B5EF4-FFF2-40B4-BE49-F238E27FC236}">
                    <a16:creationId xmlns:a16="http://schemas.microsoft.com/office/drawing/2014/main" id="{80A770E0-EAE9-466C-9429-0F17542CCFC5}"/>
                  </a:ext>
                </a:extLst>
              </p:cNvPr>
              <p:cNvSpPr/>
              <p:nvPr/>
            </p:nvSpPr>
            <p:spPr>
              <a:xfrm>
                <a:off x="5536992" y="6204775"/>
                <a:ext cx="42922" cy="42922"/>
              </a:xfrm>
              <a:custGeom>
                <a:avLst/>
                <a:gdLst>
                  <a:gd name="connsiteX0" fmla="*/ 23892 w 42922"/>
                  <a:gd name="connsiteY0" fmla="*/ 10731 h 42922"/>
                  <a:gd name="connsiteX1" fmla="*/ 10731 w 42922"/>
                  <a:gd name="connsiteY1" fmla="*/ 23893 h 42922"/>
                  <a:gd name="connsiteX2" fmla="*/ 23894 w 42922"/>
                  <a:gd name="connsiteY2" fmla="*/ 37056 h 42922"/>
                  <a:gd name="connsiteX3" fmla="*/ 37056 w 42922"/>
                  <a:gd name="connsiteY3" fmla="*/ 23892 h 42922"/>
                  <a:gd name="connsiteX4" fmla="*/ 37055 w 42922"/>
                  <a:gd name="connsiteY4" fmla="*/ 23750 h 42922"/>
                  <a:gd name="connsiteX5" fmla="*/ 23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2" y="10731"/>
                    </a:moveTo>
                    <a:cubicBezTo>
                      <a:pt x="16622" y="10731"/>
                      <a:pt x="10729" y="16624"/>
                      <a:pt x="10731" y="23893"/>
                    </a:cubicBezTo>
                    <a:cubicBezTo>
                      <a:pt x="10731" y="31165"/>
                      <a:pt x="16624" y="37056"/>
                      <a:pt x="23894" y="37056"/>
                    </a:cubicBezTo>
                    <a:cubicBezTo>
                      <a:pt x="31163" y="37056"/>
                      <a:pt x="37056" y="31162"/>
                      <a:pt x="37056" y="23892"/>
                    </a:cubicBezTo>
                    <a:cubicBezTo>
                      <a:pt x="37056" y="23845"/>
                      <a:pt x="37055" y="23798"/>
                      <a:pt x="37055" y="23750"/>
                    </a:cubicBezTo>
                    <a:cubicBezTo>
                      <a:pt x="36976" y="16537"/>
                      <a:pt x="31106" y="10731"/>
                      <a:pt x="23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77" name="Freeform: Shape 676">
                <a:extLst>
                  <a:ext uri="{FF2B5EF4-FFF2-40B4-BE49-F238E27FC236}">
                    <a16:creationId xmlns:a16="http://schemas.microsoft.com/office/drawing/2014/main" id="{37F34F4F-731F-450B-B490-2FDAC8202967}"/>
                  </a:ext>
                </a:extLst>
              </p:cNvPr>
              <p:cNvSpPr/>
              <p:nvPr/>
            </p:nvSpPr>
            <p:spPr>
              <a:xfrm>
                <a:off x="5300917" y="6158812"/>
                <a:ext cx="42922" cy="28615"/>
              </a:xfrm>
              <a:custGeom>
                <a:avLst/>
                <a:gdLst>
                  <a:gd name="connsiteX0" fmla="*/ 26469 w 42922"/>
                  <a:gd name="connsiteY0" fmla="*/ 11053 h 28614"/>
                  <a:gd name="connsiteX1" fmla="*/ 20746 w 42922"/>
                  <a:gd name="connsiteY1" fmla="*/ 11053 h 28614"/>
                  <a:gd name="connsiteX2" fmla="*/ 10731 w 42922"/>
                  <a:gd name="connsiteY2" fmla="*/ 20925 h 28614"/>
                  <a:gd name="connsiteX3" fmla="*/ 20746 w 42922"/>
                  <a:gd name="connsiteY3" fmla="*/ 30654 h 28614"/>
                  <a:gd name="connsiteX4" fmla="*/ 33480 w 42922"/>
                  <a:gd name="connsiteY4" fmla="*/ 23643 h 28614"/>
                  <a:gd name="connsiteX5" fmla="*/ 26469 w 42922"/>
                  <a:gd name="connsiteY5" fmla="*/ 1105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053"/>
                    </a:moveTo>
                    <a:cubicBezTo>
                      <a:pt x="24586" y="10623"/>
                      <a:pt x="22629" y="10623"/>
                      <a:pt x="20746" y="11053"/>
                    </a:cubicBezTo>
                    <a:cubicBezTo>
                      <a:pt x="15300" y="11127"/>
                      <a:pt x="10884" y="15482"/>
                      <a:pt x="10731" y="20925"/>
                    </a:cubicBezTo>
                    <a:cubicBezTo>
                      <a:pt x="10885" y="26344"/>
                      <a:pt x="15325" y="30657"/>
                      <a:pt x="20746" y="30654"/>
                    </a:cubicBezTo>
                    <a:cubicBezTo>
                      <a:pt x="26197" y="32221"/>
                      <a:pt x="31889" y="29087"/>
                      <a:pt x="33480" y="23643"/>
                    </a:cubicBezTo>
                    <a:cubicBezTo>
                      <a:pt x="34876" y="18248"/>
                      <a:pt x="31790" y="12706"/>
                      <a:pt x="26469" y="11053"/>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78" name="Freeform: Shape 677">
                <a:extLst>
                  <a:ext uri="{FF2B5EF4-FFF2-40B4-BE49-F238E27FC236}">
                    <a16:creationId xmlns:a16="http://schemas.microsoft.com/office/drawing/2014/main" id="{8DABE1F3-FE26-4B25-8249-AEFA63F7BD40}"/>
                  </a:ext>
                </a:extLst>
              </p:cNvPr>
              <p:cNvSpPr/>
              <p:nvPr/>
            </p:nvSpPr>
            <p:spPr>
              <a:xfrm>
                <a:off x="5536847" y="6354431"/>
                <a:ext cx="42922" cy="42922"/>
              </a:xfrm>
              <a:custGeom>
                <a:avLst/>
                <a:gdLst>
                  <a:gd name="connsiteX0" fmla="*/ 23894 w 42922"/>
                  <a:gd name="connsiteY0" fmla="*/ 10731 h 42922"/>
                  <a:gd name="connsiteX1" fmla="*/ 10731 w 42922"/>
                  <a:gd name="connsiteY1" fmla="*/ 23894 h 42922"/>
                  <a:gd name="connsiteX2" fmla="*/ 23894 w 42922"/>
                  <a:gd name="connsiteY2" fmla="*/ 37056 h 42922"/>
                  <a:gd name="connsiteX3" fmla="*/ 37056 w 42922"/>
                  <a:gd name="connsiteY3" fmla="*/ 23894 h 42922"/>
                  <a:gd name="connsiteX4" fmla="*/ 23894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4" y="10731"/>
                    </a:moveTo>
                    <a:cubicBezTo>
                      <a:pt x="16624" y="10731"/>
                      <a:pt x="10731" y="16624"/>
                      <a:pt x="10731" y="23894"/>
                    </a:cubicBezTo>
                    <a:cubicBezTo>
                      <a:pt x="10731" y="31163"/>
                      <a:pt x="16624" y="37056"/>
                      <a:pt x="23894" y="37056"/>
                    </a:cubicBezTo>
                    <a:cubicBezTo>
                      <a:pt x="31163" y="37056"/>
                      <a:pt x="37056" y="31163"/>
                      <a:pt x="37056" y="23894"/>
                    </a:cubicBezTo>
                    <a:cubicBezTo>
                      <a:pt x="37056" y="16624"/>
                      <a:pt x="31163" y="10731"/>
                      <a:pt x="23894"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79" name="Freeform: Shape 678">
                <a:extLst>
                  <a:ext uri="{FF2B5EF4-FFF2-40B4-BE49-F238E27FC236}">
                    <a16:creationId xmlns:a16="http://schemas.microsoft.com/office/drawing/2014/main" id="{F9BC74AF-5438-4416-972F-40DEB969B7D3}"/>
                  </a:ext>
                </a:extLst>
              </p:cNvPr>
              <p:cNvSpPr/>
              <p:nvPr/>
            </p:nvSpPr>
            <p:spPr>
              <a:xfrm>
                <a:off x="5694659" y="6204060"/>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0" name="Freeform: Shape 679">
                <a:extLst>
                  <a:ext uri="{FF2B5EF4-FFF2-40B4-BE49-F238E27FC236}">
                    <a16:creationId xmlns:a16="http://schemas.microsoft.com/office/drawing/2014/main" id="{1417030D-BEB2-4D30-BCEF-3D11EDBA9532}"/>
                  </a:ext>
                </a:extLst>
              </p:cNvPr>
              <p:cNvSpPr/>
              <p:nvPr/>
            </p:nvSpPr>
            <p:spPr>
              <a:xfrm>
                <a:off x="5694659" y="6253993"/>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1" name="Freeform: Shape 680">
                <a:extLst>
                  <a:ext uri="{FF2B5EF4-FFF2-40B4-BE49-F238E27FC236}">
                    <a16:creationId xmlns:a16="http://schemas.microsoft.com/office/drawing/2014/main" id="{21A89F63-EC1C-40E6-A338-3944016B3E1C}"/>
                  </a:ext>
                </a:extLst>
              </p:cNvPr>
              <p:cNvSpPr/>
              <p:nvPr/>
            </p:nvSpPr>
            <p:spPr>
              <a:xfrm>
                <a:off x="5536274" y="6304498"/>
                <a:ext cx="42922" cy="42922"/>
              </a:xfrm>
              <a:custGeom>
                <a:avLst/>
                <a:gdLst>
                  <a:gd name="connsiteX0" fmla="*/ 23895 w 42922"/>
                  <a:gd name="connsiteY0" fmla="*/ 37056 h 42922"/>
                  <a:gd name="connsiteX1" fmla="*/ 37056 w 42922"/>
                  <a:gd name="connsiteY1" fmla="*/ 23893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3"/>
                      <a:pt x="37056" y="23893"/>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2" name="Freeform: Shape 681">
                <a:extLst>
                  <a:ext uri="{FF2B5EF4-FFF2-40B4-BE49-F238E27FC236}">
                    <a16:creationId xmlns:a16="http://schemas.microsoft.com/office/drawing/2014/main" id="{B71DF88F-1832-4F5E-815D-4F7FF5FE3CDF}"/>
                  </a:ext>
                </a:extLst>
              </p:cNvPr>
              <p:cNvSpPr/>
              <p:nvPr/>
            </p:nvSpPr>
            <p:spPr>
              <a:xfrm>
                <a:off x="5694802" y="6353287"/>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3" name="Freeform: Shape 682">
                <a:extLst>
                  <a:ext uri="{FF2B5EF4-FFF2-40B4-BE49-F238E27FC236}">
                    <a16:creationId xmlns:a16="http://schemas.microsoft.com/office/drawing/2014/main" id="{5E2E0CBA-3B7F-4746-949D-C9F7803D6FD4}"/>
                  </a:ext>
                </a:extLst>
              </p:cNvPr>
              <p:cNvSpPr/>
              <p:nvPr/>
            </p:nvSpPr>
            <p:spPr>
              <a:xfrm>
                <a:off x="5694659" y="6303640"/>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4" name="Freeform: Shape 683">
                <a:extLst>
                  <a:ext uri="{FF2B5EF4-FFF2-40B4-BE49-F238E27FC236}">
                    <a16:creationId xmlns:a16="http://schemas.microsoft.com/office/drawing/2014/main" id="{40FC6A5E-3CE2-4D34-AA8C-95242C6D0E98}"/>
                  </a:ext>
                </a:extLst>
              </p:cNvPr>
              <p:cNvSpPr/>
              <p:nvPr/>
            </p:nvSpPr>
            <p:spPr>
              <a:xfrm>
                <a:off x="5615109" y="6353430"/>
                <a:ext cx="42922" cy="42922"/>
              </a:xfrm>
              <a:custGeom>
                <a:avLst/>
                <a:gdLst>
                  <a:gd name="connsiteX0" fmla="*/ 25038 w 42922"/>
                  <a:gd name="connsiteY0" fmla="*/ 10731 h 42922"/>
                  <a:gd name="connsiteX1" fmla="*/ 10731 w 42922"/>
                  <a:gd name="connsiteY1" fmla="*/ 25038 h 42922"/>
                  <a:gd name="connsiteX2" fmla="*/ 10731 w 42922"/>
                  <a:gd name="connsiteY2" fmla="*/ 25038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lnTo>
                      <a:pt x="10731" y="25038"/>
                    </a:lnTo>
                    <a:cubicBezTo>
                      <a:pt x="10731" y="32940"/>
                      <a:pt x="17136" y="39346"/>
                      <a:pt x="25038" y="39346"/>
                    </a:cubicBez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5" name="Freeform: Shape 684">
                <a:extLst>
                  <a:ext uri="{FF2B5EF4-FFF2-40B4-BE49-F238E27FC236}">
                    <a16:creationId xmlns:a16="http://schemas.microsoft.com/office/drawing/2014/main" id="{FC7816F2-294B-4BC7-9F0C-1950F1AF96B4}"/>
                  </a:ext>
                </a:extLst>
              </p:cNvPr>
              <p:cNvSpPr/>
              <p:nvPr/>
            </p:nvSpPr>
            <p:spPr>
              <a:xfrm>
                <a:off x="5379894" y="6357636"/>
                <a:ext cx="42922" cy="28615"/>
              </a:xfrm>
              <a:custGeom>
                <a:avLst/>
                <a:gdLst>
                  <a:gd name="connsiteX0" fmla="*/ 20460 w 42922"/>
                  <a:gd name="connsiteY0" fmla="*/ 10817 h 28614"/>
                  <a:gd name="connsiteX1" fmla="*/ 10731 w 42922"/>
                  <a:gd name="connsiteY1" fmla="*/ 20689 h 28614"/>
                  <a:gd name="connsiteX2" fmla="*/ 23838 w 42922"/>
                  <a:gd name="connsiteY2" fmla="*/ 30188 h 28614"/>
                  <a:gd name="connsiteX3" fmla="*/ 33336 w 42922"/>
                  <a:gd name="connsiteY3" fmla="*/ 20689 h 28614"/>
                  <a:gd name="connsiteX4" fmla="*/ 20460 w 42922"/>
                  <a:gd name="connsiteY4" fmla="*/ 10817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28614">
                    <a:moveTo>
                      <a:pt x="20460" y="10817"/>
                    </a:moveTo>
                    <a:cubicBezTo>
                      <a:pt x="15389" y="11592"/>
                      <a:pt x="11432" y="15609"/>
                      <a:pt x="10731" y="20689"/>
                    </a:cubicBezTo>
                    <a:cubicBezTo>
                      <a:pt x="11726" y="26931"/>
                      <a:pt x="17595" y="31184"/>
                      <a:pt x="23838" y="30188"/>
                    </a:cubicBezTo>
                    <a:cubicBezTo>
                      <a:pt x="28724" y="29408"/>
                      <a:pt x="32557" y="25575"/>
                      <a:pt x="33336" y="20689"/>
                    </a:cubicBezTo>
                    <a:cubicBezTo>
                      <a:pt x="32448" y="14441"/>
                      <a:pt x="26724" y="10053"/>
                      <a:pt x="20460" y="1081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6" name="Freeform: Shape 685">
                <a:extLst>
                  <a:ext uri="{FF2B5EF4-FFF2-40B4-BE49-F238E27FC236}">
                    <a16:creationId xmlns:a16="http://schemas.microsoft.com/office/drawing/2014/main" id="{35D774F6-9E10-4C66-9D64-16EDD519927A}"/>
                  </a:ext>
                </a:extLst>
              </p:cNvPr>
              <p:cNvSpPr/>
              <p:nvPr/>
            </p:nvSpPr>
            <p:spPr>
              <a:xfrm>
                <a:off x="5380313" y="6306429"/>
                <a:ext cx="42922" cy="42922"/>
              </a:xfrm>
              <a:custGeom>
                <a:avLst/>
                <a:gdLst>
                  <a:gd name="connsiteX0" fmla="*/ 20900 w 42922"/>
                  <a:gd name="connsiteY0" fmla="*/ 33551 h 42922"/>
                  <a:gd name="connsiteX1" fmla="*/ 33552 w 42922"/>
                  <a:gd name="connsiteY1" fmla="*/ 23455 h 42922"/>
                  <a:gd name="connsiteX2" fmla="*/ 23455 w 42922"/>
                  <a:gd name="connsiteY2" fmla="*/ 10802 h 42922"/>
                  <a:gd name="connsiteX3" fmla="*/ 20900 w 42922"/>
                  <a:gd name="connsiteY3" fmla="*/ 10802 h 42922"/>
                  <a:gd name="connsiteX4" fmla="*/ 20900 w 42922"/>
                  <a:gd name="connsiteY4" fmla="*/ 10802 h 42922"/>
                  <a:gd name="connsiteX5" fmla="*/ 10803 w 42922"/>
                  <a:gd name="connsiteY5" fmla="*/ 23455 h 42922"/>
                  <a:gd name="connsiteX6" fmla="*/ 20900 w 42922"/>
                  <a:gd name="connsiteY6" fmla="*/ 3355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0900" y="33551"/>
                    </a:moveTo>
                    <a:cubicBezTo>
                      <a:pt x="27182" y="34257"/>
                      <a:pt x="32847" y="29737"/>
                      <a:pt x="33552" y="23455"/>
                    </a:cubicBezTo>
                    <a:cubicBezTo>
                      <a:pt x="34257" y="17172"/>
                      <a:pt x="29738" y="11508"/>
                      <a:pt x="23455" y="10802"/>
                    </a:cubicBezTo>
                    <a:cubicBezTo>
                      <a:pt x="22607" y="10707"/>
                      <a:pt x="21748" y="10707"/>
                      <a:pt x="20900" y="10802"/>
                    </a:cubicBezTo>
                    <a:lnTo>
                      <a:pt x="20900" y="10802"/>
                    </a:lnTo>
                    <a:cubicBezTo>
                      <a:pt x="14617" y="11508"/>
                      <a:pt x="10098" y="17172"/>
                      <a:pt x="10803" y="23455"/>
                    </a:cubicBezTo>
                    <a:cubicBezTo>
                      <a:pt x="11400" y="28764"/>
                      <a:pt x="15590" y="32955"/>
                      <a:pt x="20900" y="3355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7" name="Freeform: Shape 686">
                <a:extLst>
                  <a:ext uri="{FF2B5EF4-FFF2-40B4-BE49-F238E27FC236}">
                    <a16:creationId xmlns:a16="http://schemas.microsoft.com/office/drawing/2014/main" id="{5A8175C4-284F-41C3-BAC4-46275F18171C}"/>
                  </a:ext>
                </a:extLst>
              </p:cNvPr>
              <p:cNvSpPr/>
              <p:nvPr/>
            </p:nvSpPr>
            <p:spPr>
              <a:xfrm>
                <a:off x="5379891" y="6206635"/>
                <a:ext cx="42922" cy="42922"/>
              </a:xfrm>
              <a:custGeom>
                <a:avLst/>
                <a:gdLst>
                  <a:gd name="connsiteX0" fmla="*/ 22180 w 42922"/>
                  <a:gd name="connsiteY0" fmla="*/ 10731 h 42922"/>
                  <a:gd name="connsiteX1" fmla="*/ 22180 w 42922"/>
                  <a:gd name="connsiteY1" fmla="*/ 10731 h 42922"/>
                  <a:gd name="connsiteX2" fmla="*/ 10734 w 42922"/>
                  <a:gd name="connsiteY2" fmla="*/ 21890 h 42922"/>
                  <a:gd name="connsiteX3" fmla="*/ 21891 w 42922"/>
                  <a:gd name="connsiteY3" fmla="*/ 33618 h 42922"/>
                  <a:gd name="connsiteX4" fmla="*/ 33619 w 42922"/>
                  <a:gd name="connsiteY4" fmla="*/ 22463 h 42922"/>
                  <a:gd name="connsiteX5" fmla="*/ 22463 w 42922"/>
                  <a:gd name="connsiteY5" fmla="*/ 10735 h 42922"/>
                  <a:gd name="connsiteX6" fmla="*/ 22180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180" y="10731"/>
                    </a:moveTo>
                    <a:lnTo>
                      <a:pt x="22180" y="10731"/>
                    </a:lnTo>
                    <a:cubicBezTo>
                      <a:pt x="15969" y="10729"/>
                      <a:pt x="10890" y="15681"/>
                      <a:pt x="10734" y="21890"/>
                    </a:cubicBezTo>
                    <a:cubicBezTo>
                      <a:pt x="10577" y="28210"/>
                      <a:pt x="15572" y="33461"/>
                      <a:pt x="21891" y="33618"/>
                    </a:cubicBezTo>
                    <a:cubicBezTo>
                      <a:pt x="28209" y="33777"/>
                      <a:pt x="33462" y="28782"/>
                      <a:pt x="33619" y="22463"/>
                    </a:cubicBezTo>
                    <a:cubicBezTo>
                      <a:pt x="33776" y="16143"/>
                      <a:pt x="28782" y="10892"/>
                      <a:pt x="22463" y="10735"/>
                    </a:cubicBezTo>
                    <a:cubicBezTo>
                      <a:pt x="22369" y="10732"/>
                      <a:pt x="22275" y="10731"/>
                      <a:pt x="22180"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8" name="Freeform: Shape 687">
                <a:extLst>
                  <a:ext uri="{FF2B5EF4-FFF2-40B4-BE49-F238E27FC236}">
                    <a16:creationId xmlns:a16="http://schemas.microsoft.com/office/drawing/2014/main" id="{65ADCE45-1EFE-494E-87D2-01686D706EB4}"/>
                  </a:ext>
                </a:extLst>
              </p:cNvPr>
              <p:cNvSpPr/>
              <p:nvPr/>
            </p:nvSpPr>
            <p:spPr>
              <a:xfrm>
                <a:off x="5301632" y="6107766"/>
                <a:ext cx="28615" cy="28615"/>
              </a:xfrm>
              <a:custGeom>
                <a:avLst/>
                <a:gdLst>
                  <a:gd name="connsiteX0" fmla="*/ 21032 w 28614"/>
                  <a:gd name="connsiteY0" fmla="*/ 10735 h 28614"/>
                  <a:gd name="connsiteX1" fmla="*/ 21032 w 28614"/>
                  <a:gd name="connsiteY1" fmla="*/ 10735 h 28614"/>
                  <a:gd name="connsiteX2" fmla="*/ 10731 w 28614"/>
                  <a:gd name="connsiteY2" fmla="*/ 21036 h 28614"/>
                  <a:gd name="connsiteX3" fmla="*/ 21032 w 28614"/>
                  <a:gd name="connsiteY3" fmla="*/ 31338 h 28614"/>
                  <a:gd name="connsiteX4" fmla="*/ 21032 w 28614"/>
                  <a:gd name="connsiteY4" fmla="*/ 31338 h 28614"/>
                  <a:gd name="connsiteX5" fmla="*/ 31476 w 28614"/>
                  <a:gd name="connsiteY5" fmla="*/ 20893 h 28614"/>
                  <a:gd name="connsiteX6" fmla="*/ 21322 w 28614"/>
                  <a:gd name="connsiteY6" fmla="*/ 10731 h 28614"/>
                  <a:gd name="connsiteX7" fmla="*/ 21032 w 28614"/>
                  <a:gd name="connsiteY7"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5"/>
                    </a:moveTo>
                    <a:lnTo>
                      <a:pt x="21032" y="10735"/>
                    </a:lnTo>
                    <a:cubicBezTo>
                      <a:pt x="15343" y="10735"/>
                      <a:pt x="10731" y="15348"/>
                      <a:pt x="10731" y="21036"/>
                    </a:cubicBezTo>
                    <a:cubicBezTo>
                      <a:pt x="10731" y="26725"/>
                      <a:pt x="15343" y="31338"/>
                      <a:pt x="21032" y="31338"/>
                    </a:cubicBezTo>
                    <a:lnTo>
                      <a:pt x="21032" y="31338"/>
                    </a:lnTo>
                    <a:cubicBezTo>
                      <a:pt x="26801" y="31338"/>
                      <a:pt x="31476" y="26662"/>
                      <a:pt x="31476" y="20893"/>
                    </a:cubicBezTo>
                    <a:cubicBezTo>
                      <a:pt x="31479" y="15283"/>
                      <a:pt x="26932" y="10733"/>
                      <a:pt x="21322" y="10731"/>
                    </a:cubicBezTo>
                    <a:cubicBezTo>
                      <a:pt x="21225" y="10731"/>
                      <a:pt x="21129" y="10732"/>
                      <a:pt x="21032" y="10735"/>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9" name="Freeform: Shape 688">
                <a:extLst>
                  <a:ext uri="{FF2B5EF4-FFF2-40B4-BE49-F238E27FC236}">
                    <a16:creationId xmlns:a16="http://schemas.microsoft.com/office/drawing/2014/main" id="{17BBD971-B931-4831-902F-5B59C5E228BD}"/>
                  </a:ext>
                </a:extLst>
              </p:cNvPr>
              <p:cNvSpPr/>
              <p:nvPr/>
            </p:nvSpPr>
            <p:spPr>
              <a:xfrm>
                <a:off x="5379752" y="6106768"/>
                <a:ext cx="42922" cy="42922"/>
              </a:xfrm>
              <a:custGeom>
                <a:avLst/>
                <a:gdLst>
                  <a:gd name="connsiteX0" fmla="*/ 22319 w 42922"/>
                  <a:gd name="connsiteY0" fmla="*/ 10732 h 42922"/>
                  <a:gd name="connsiteX1" fmla="*/ 22319 w 42922"/>
                  <a:gd name="connsiteY1" fmla="*/ 10732 h 42922"/>
                  <a:gd name="connsiteX2" fmla="*/ 10732 w 42922"/>
                  <a:gd name="connsiteY2" fmla="*/ 22034 h 42922"/>
                  <a:gd name="connsiteX3" fmla="*/ 22034 w 42922"/>
                  <a:gd name="connsiteY3" fmla="*/ 33622 h 42922"/>
                  <a:gd name="connsiteX4" fmla="*/ 33622 w 42922"/>
                  <a:gd name="connsiteY4" fmla="*/ 22321 h 42922"/>
                  <a:gd name="connsiteX5" fmla="*/ 22321 w 42922"/>
                  <a:gd name="connsiteY5" fmla="*/ 10732 h 42922"/>
                  <a:gd name="connsiteX6" fmla="*/ 22319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19" y="10732"/>
                    </a:moveTo>
                    <a:lnTo>
                      <a:pt x="22319" y="10732"/>
                    </a:lnTo>
                    <a:cubicBezTo>
                      <a:pt x="15998" y="10653"/>
                      <a:pt x="10810" y="15713"/>
                      <a:pt x="10732" y="22034"/>
                    </a:cubicBezTo>
                    <a:cubicBezTo>
                      <a:pt x="10653" y="28356"/>
                      <a:pt x="15713" y="33543"/>
                      <a:pt x="22034" y="33622"/>
                    </a:cubicBezTo>
                    <a:cubicBezTo>
                      <a:pt x="28355" y="33701"/>
                      <a:pt x="33542" y="28640"/>
                      <a:pt x="33622" y="22321"/>
                    </a:cubicBezTo>
                    <a:cubicBezTo>
                      <a:pt x="33702" y="16000"/>
                      <a:pt x="28642" y="10812"/>
                      <a:pt x="22321" y="10732"/>
                    </a:cubicBezTo>
                    <a:cubicBezTo>
                      <a:pt x="22321" y="10732"/>
                      <a:pt x="22319" y="10732"/>
                      <a:pt x="22319" y="1073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90" name="Freeform: Shape 689">
                <a:extLst>
                  <a:ext uri="{FF2B5EF4-FFF2-40B4-BE49-F238E27FC236}">
                    <a16:creationId xmlns:a16="http://schemas.microsoft.com/office/drawing/2014/main" id="{CBAAC7DE-D0B3-4869-8CA1-74B57FFF5DD8}"/>
                  </a:ext>
                </a:extLst>
              </p:cNvPr>
              <p:cNvSpPr/>
              <p:nvPr/>
            </p:nvSpPr>
            <p:spPr>
              <a:xfrm>
                <a:off x="5458299" y="6355004"/>
                <a:ext cx="42922" cy="42922"/>
              </a:xfrm>
              <a:custGeom>
                <a:avLst/>
                <a:gdLst>
                  <a:gd name="connsiteX0" fmla="*/ 22892 w 42922"/>
                  <a:gd name="connsiteY0" fmla="*/ 11160 h 42922"/>
                  <a:gd name="connsiteX1" fmla="*/ 10731 w 42922"/>
                  <a:gd name="connsiteY1" fmla="*/ 22892 h 42922"/>
                  <a:gd name="connsiteX2" fmla="*/ 10731 w 42922"/>
                  <a:gd name="connsiteY2" fmla="*/ 22892 h 42922"/>
                  <a:gd name="connsiteX3" fmla="*/ 22892 w 42922"/>
                  <a:gd name="connsiteY3" fmla="*/ 35053 h 42922"/>
                  <a:gd name="connsiteX4" fmla="*/ 35053 w 42922"/>
                  <a:gd name="connsiteY4" fmla="*/ 22892 h 42922"/>
                  <a:gd name="connsiteX5" fmla="*/ 22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2" y="11160"/>
                    </a:moveTo>
                    <a:cubicBezTo>
                      <a:pt x="16309" y="11080"/>
                      <a:pt x="10887" y="16311"/>
                      <a:pt x="10731" y="22892"/>
                    </a:cubicBezTo>
                    <a:lnTo>
                      <a:pt x="10731" y="22892"/>
                    </a:ln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91" name="Freeform: Shape 690">
                <a:extLst>
                  <a:ext uri="{FF2B5EF4-FFF2-40B4-BE49-F238E27FC236}">
                    <a16:creationId xmlns:a16="http://schemas.microsoft.com/office/drawing/2014/main" id="{C028CACB-BB8B-4CD7-9DCD-1473325167A0}"/>
                  </a:ext>
                </a:extLst>
              </p:cNvPr>
              <p:cNvSpPr/>
              <p:nvPr/>
            </p:nvSpPr>
            <p:spPr>
              <a:xfrm>
                <a:off x="5458577" y="6205633"/>
                <a:ext cx="42922" cy="42922"/>
              </a:xfrm>
              <a:custGeom>
                <a:avLst/>
                <a:gdLst>
                  <a:gd name="connsiteX0" fmla="*/ 22900 w 42922"/>
                  <a:gd name="connsiteY0" fmla="*/ 10731 h 42922"/>
                  <a:gd name="connsiteX1" fmla="*/ 10739 w 42922"/>
                  <a:gd name="connsiteY1" fmla="*/ 22892 h 42922"/>
                  <a:gd name="connsiteX2" fmla="*/ 22034 w 42922"/>
                  <a:gd name="connsiteY2" fmla="*/ 35046 h 42922"/>
                  <a:gd name="connsiteX3" fmla="*/ 22471 w 42922"/>
                  <a:gd name="connsiteY3" fmla="*/ 35053 h 42922"/>
                  <a:gd name="connsiteX4" fmla="*/ 22471 w 42922"/>
                  <a:gd name="connsiteY4" fmla="*/ 35053 h 42922"/>
                  <a:gd name="connsiteX5" fmla="*/ 34632 w 42922"/>
                  <a:gd name="connsiteY5" fmla="*/ 22892 h 42922"/>
                  <a:gd name="connsiteX6" fmla="*/ 22471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900" y="10731"/>
                    </a:moveTo>
                    <a:cubicBezTo>
                      <a:pt x="16184" y="10731"/>
                      <a:pt x="10739" y="16176"/>
                      <a:pt x="10739" y="22892"/>
                    </a:cubicBezTo>
                    <a:cubicBezTo>
                      <a:pt x="10501" y="29367"/>
                      <a:pt x="15559" y="34809"/>
                      <a:pt x="22034" y="35046"/>
                    </a:cubicBezTo>
                    <a:cubicBezTo>
                      <a:pt x="22179" y="35050"/>
                      <a:pt x="22325" y="35053"/>
                      <a:pt x="22471" y="35053"/>
                    </a:cubicBezTo>
                    <a:lnTo>
                      <a:pt x="22471" y="35053"/>
                    </a:lnTo>
                    <a:cubicBezTo>
                      <a:pt x="29187" y="35053"/>
                      <a:pt x="34632" y="29608"/>
                      <a:pt x="34632" y="22892"/>
                    </a:cubicBezTo>
                    <a:cubicBezTo>
                      <a:pt x="34632" y="16176"/>
                      <a:pt x="29187" y="10731"/>
                      <a:pt x="22471" y="10731"/>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92" name="Freeform: Shape 691">
                <a:extLst>
                  <a:ext uri="{FF2B5EF4-FFF2-40B4-BE49-F238E27FC236}">
                    <a16:creationId xmlns:a16="http://schemas.microsoft.com/office/drawing/2014/main" id="{31D8CD21-BD9C-4789-B3F4-D4F3232C8E1E}"/>
                  </a:ext>
                </a:extLst>
              </p:cNvPr>
              <p:cNvSpPr/>
              <p:nvPr/>
            </p:nvSpPr>
            <p:spPr>
              <a:xfrm>
                <a:off x="5458585" y="6105910"/>
                <a:ext cx="42922" cy="42922"/>
              </a:xfrm>
              <a:custGeom>
                <a:avLst/>
                <a:gdLst>
                  <a:gd name="connsiteX0" fmla="*/ 24753 w 42922"/>
                  <a:gd name="connsiteY0" fmla="*/ 10731 h 42922"/>
                  <a:gd name="connsiteX1" fmla="*/ 22893 w 42922"/>
                  <a:gd name="connsiteY1" fmla="*/ 10731 h 42922"/>
                  <a:gd name="connsiteX2" fmla="*/ 10732 w 42922"/>
                  <a:gd name="connsiteY2" fmla="*/ 22892 h 42922"/>
                  <a:gd name="connsiteX3" fmla="*/ 10732 w 42922"/>
                  <a:gd name="connsiteY3" fmla="*/ 24752 h 42922"/>
                  <a:gd name="connsiteX4" fmla="*/ 22464 w 42922"/>
                  <a:gd name="connsiteY4" fmla="*/ 36913 h 42922"/>
                  <a:gd name="connsiteX5" fmla="*/ 22464 w 42922"/>
                  <a:gd name="connsiteY5" fmla="*/ 36913 h 42922"/>
                  <a:gd name="connsiteX6" fmla="*/ 34841 w 42922"/>
                  <a:gd name="connsiteY6" fmla="*/ 23009 h 42922"/>
                  <a:gd name="connsiteX7" fmla="*/ 24324 w 42922"/>
                  <a:gd name="connsiteY7" fmla="*/ 1087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4753" y="10731"/>
                    </a:moveTo>
                    <a:lnTo>
                      <a:pt x="22893" y="10731"/>
                    </a:lnTo>
                    <a:cubicBezTo>
                      <a:pt x="16177" y="10731"/>
                      <a:pt x="10732" y="16176"/>
                      <a:pt x="10732" y="22892"/>
                    </a:cubicBezTo>
                    <a:lnTo>
                      <a:pt x="10732" y="24752"/>
                    </a:lnTo>
                    <a:cubicBezTo>
                      <a:pt x="10651" y="31335"/>
                      <a:pt x="15882" y="36757"/>
                      <a:pt x="22464" y="36913"/>
                    </a:cubicBezTo>
                    <a:lnTo>
                      <a:pt x="22464" y="36913"/>
                    </a:lnTo>
                    <a:cubicBezTo>
                      <a:pt x="29720" y="36491"/>
                      <a:pt x="35263" y="30268"/>
                      <a:pt x="34841" y="23009"/>
                    </a:cubicBezTo>
                    <a:cubicBezTo>
                      <a:pt x="34495" y="17046"/>
                      <a:pt x="30177" y="12064"/>
                      <a:pt x="24324" y="1087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93" name="Freeform: Shape 692">
                <a:extLst>
                  <a:ext uri="{FF2B5EF4-FFF2-40B4-BE49-F238E27FC236}">
                    <a16:creationId xmlns:a16="http://schemas.microsoft.com/office/drawing/2014/main" id="{587DF378-8E04-4B38-917A-A04E0E66FF4F}"/>
                  </a:ext>
                </a:extLst>
              </p:cNvPr>
              <p:cNvSpPr/>
              <p:nvPr/>
            </p:nvSpPr>
            <p:spPr>
              <a:xfrm>
                <a:off x="5457727" y="6305643"/>
                <a:ext cx="42922" cy="42922"/>
              </a:xfrm>
              <a:custGeom>
                <a:avLst/>
                <a:gdLst>
                  <a:gd name="connsiteX0" fmla="*/ 35053 w 42922"/>
                  <a:gd name="connsiteY0" fmla="*/ 22892 h 42922"/>
                  <a:gd name="connsiteX1" fmla="*/ 22892 w 42922"/>
                  <a:gd name="connsiteY1" fmla="*/ 35053 h 42922"/>
                  <a:gd name="connsiteX2" fmla="*/ 10731 w 42922"/>
                  <a:gd name="connsiteY2" fmla="*/ 22892 h 42922"/>
                  <a:gd name="connsiteX3" fmla="*/ 22892 w 42922"/>
                  <a:gd name="connsiteY3" fmla="*/ 10731 h 42922"/>
                  <a:gd name="connsiteX4" fmla="*/ 35053 w 42922"/>
                  <a:gd name="connsiteY4" fmla="*/ 22892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5053" y="22892"/>
                    </a:moveTo>
                    <a:cubicBezTo>
                      <a:pt x="35053" y="29609"/>
                      <a:pt x="29609" y="35053"/>
                      <a:pt x="22892" y="35053"/>
                    </a:cubicBezTo>
                    <a:cubicBezTo>
                      <a:pt x="16175" y="35053"/>
                      <a:pt x="10731" y="29609"/>
                      <a:pt x="10731" y="22892"/>
                    </a:cubicBezTo>
                    <a:cubicBezTo>
                      <a:pt x="10731" y="16175"/>
                      <a:pt x="16175" y="10731"/>
                      <a:pt x="22892" y="10731"/>
                    </a:cubicBezTo>
                    <a:cubicBezTo>
                      <a:pt x="29609" y="10731"/>
                      <a:pt x="35053" y="16175"/>
                      <a:pt x="35053" y="22892"/>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282828"/>
                  </a:solidFill>
                  <a:effectLst/>
                  <a:uLnTx/>
                  <a:uFillTx/>
                  <a:latin typeface="CiscoSansTT ExtraLight"/>
                  <a:ea typeface="+mn-ea"/>
                  <a:cs typeface="+mn-cs"/>
                </a:endParaRPr>
              </a:p>
            </p:txBody>
          </p:sp>
        </p:grpSp>
      </p:grpSp>
      <p:grpSp>
        <p:nvGrpSpPr>
          <p:cNvPr id="754" name="Group 753">
            <a:extLst>
              <a:ext uri="{FF2B5EF4-FFF2-40B4-BE49-F238E27FC236}">
                <a16:creationId xmlns:a16="http://schemas.microsoft.com/office/drawing/2014/main" id="{E6E9080C-B7AE-45C5-BB1B-E1E45ECD8132}"/>
              </a:ext>
            </a:extLst>
          </p:cNvPr>
          <p:cNvGrpSpPr/>
          <p:nvPr/>
        </p:nvGrpSpPr>
        <p:grpSpPr>
          <a:xfrm>
            <a:off x="315718" y="2778410"/>
            <a:ext cx="932959" cy="744495"/>
            <a:chOff x="3504435" y="1794232"/>
            <a:chExt cx="2355948" cy="1880032"/>
          </a:xfrm>
        </p:grpSpPr>
        <p:sp>
          <p:nvSpPr>
            <p:cNvPr id="756" name="Oval 755">
              <a:extLst>
                <a:ext uri="{FF2B5EF4-FFF2-40B4-BE49-F238E27FC236}">
                  <a16:creationId xmlns:a16="http://schemas.microsoft.com/office/drawing/2014/main" id="{57A3C0F9-F182-4F75-A2A4-CCC7C1DA1E30}"/>
                </a:ext>
              </a:extLst>
            </p:cNvPr>
            <p:cNvSpPr/>
            <p:nvPr/>
          </p:nvSpPr>
          <p:spPr>
            <a:xfrm>
              <a:off x="5417869" y="1794232"/>
              <a:ext cx="101600" cy="1016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757" name="Oval 756">
              <a:extLst>
                <a:ext uri="{FF2B5EF4-FFF2-40B4-BE49-F238E27FC236}">
                  <a16:creationId xmlns:a16="http://schemas.microsoft.com/office/drawing/2014/main" id="{CE7C968D-86D3-45B2-BF60-E7488271CF66}"/>
                </a:ext>
              </a:extLst>
            </p:cNvPr>
            <p:cNvSpPr/>
            <p:nvPr/>
          </p:nvSpPr>
          <p:spPr>
            <a:xfrm>
              <a:off x="3504435" y="3145399"/>
              <a:ext cx="101600" cy="1016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758" name="Oval 757">
              <a:extLst>
                <a:ext uri="{FF2B5EF4-FFF2-40B4-BE49-F238E27FC236}">
                  <a16:creationId xmlns:a16="http://schemas.microsoft.com/office/drawing/2014/main" id="{F5C0BED8-B365-448E-BFEE-5674CF7296F7}"/>
                </a:ext>
              </a:extLst>
            </p:cNvPr>
            <p:cNvSpPr/>
            <p:nvPr/>
          </p:nvSpPr>
          <p:spPr>
            <a:xfrm>
              <a:off x="3785047" y="3572664"/>
              <a:ext cx="101600" cy="1016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760" name="Oval 759">
              <a:extLst>
                <a:ext uri="{FF2B5EF4-FFF2-40B4-BE49-F238E27FC236}">
                  <a16:creationId xmlns:a16="http://schemas.microsoft.com/office/drawing/2014/main" id="{A4C7D50B-55B0-4064-B1B5-FEB065DB3209}"/>
                </a:ext>
              </a:extLst>
            </p:cNvPr>
            <p:cNvSpPr/>
            <p:nvPr/>
          </p:nvSpPr>
          <p:spPr>
            <a:xfrm>
              <a:off x="5758783" y="2257344"/>
              <a:ext cx="101600" cy="1016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grpSp>
      <p:grpSp>
        <p:nvGrpSpPr>
          <p:cNvPr id="33" name="Group 32">
            <a:extLst>
              <a:ext uri="{FF2B5EF4-FFF2-40B4-BE49-F238E27FC236}">
                <a16:creationId xmlns:a16="http://schemas.microsoft.com/office/drawing/2014/main" id="{191A1961-D084-4750-A3D3-74A2D77E27CE}"/>
              </a:ext>
            </a:extLst>
          </p:cNvPr>
          <p:cNvGrpSpPr/>
          <p:nvPr/>
        </p:nvGrpSpPr>
        <p:grpSpPr>
          <a:xfrm>
            <a:off x="1534018" y="2654169"/>
            <a:ext cx="934450" cy="986902"/>
            <a:chOff x="2060989" y="3752358"/>
            <a:chExt cx="934450" cy="986902"/>
          </a:xfrm>
        </p:grpSpPr>
        <p:sp>
          <p:nvSpPr>
            <p:cNvPr id="883" name="Rectangle: Rounded Corners 882">
              <a:extLst>
                <a:ext uri="{FF2B5EF4-FFF2-40B4-BE49-F238E27FC236}">
                  <a16:creationId xmlns:a16="http://schemas.microsoft.com/office/drawing/2014/main" id="{4E03ABA0-9423-40C1-A052-4805A97E31EB}"/>
                </a:ext>
              </a:extLst>
            </p:cNvPr>
            <p:cNvSpPr/>
            <p:nvPr/>
          </p:nvSpPr>
          <p:spPr>
            <a:xfrm rot="10800000">
              <a:off x="2226806" y="3936850"/>
              <a:ext cx="604088" cy="604088"/>
            </a:xfrm>
            <a:prstGeom prst="roundRect">
              <a:avLst/>
            </a:prstGeom>
            <a:solidFill>
              <a:srgbClr val="6EBE4A">
                <a:alpha val="60000"/>
              </a:srgbClr>
            </a:solidFill>
            <a:ln w="14288"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pic>
          <p:nvPicPr>
            <p:cNvPr id="22" name="Picture 21" descr="A picture containing dark, black, fireworks, sitting&#10;&#10;Description automatically generated">
              <a:extLst>
                <a:ext uri="{FF2B5EF4-FFF2-40B4-BE49-F238E27FC236}">
                  <a16:creationId xmlns:a16="http://schemas.microsoft.com/office/drawing/2014/main" id="{1CC04125-E8D2-4C9B-ACA5-20738AC3499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285756" y="3752358"/>
              <a:ext cx="495001" cy="986902"/>
            </a:xfrm>
            <a:prstGeom prst="rect">
              <a:avLst/>
            </a:prstGeom>
          </p:spPr>
        </p:pic>
        <p:sp>
          <p:nvSpPr>
            <p:cNvPr id="23" name="Arc 22">
              <a:extLst>
                <a:ext uri="{FF2B5EF4-FFF2-40B4-BE49-F238E27FC236}">
                  <a16:creationId xmlns:a16="http://schemas.microsoft.com/office/drawing/2014/main" id="{12575427-CFBF-4EC0-8C60-4C8E41D03106}"/>
                </a:ext>
              </a:extLst>
            </p:cNvPr>
            <p:cNvSpPr/>
            <p:nvPr/>
          </p:nvSpPr>
          <p:spPr>
            <a:xfrm>
              <a:off x="2060989" y="3763771"/>
              <a:ext cx="934450" cy="934450"/>
            </a:xfrm>
            <a:prstGeom prst="arc">
              <a:avLst>
                <a:gd name="adj1" fmla="val 17157135"/>
                <a:gd name="adj2" fmla="val 8464128"/>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85" name="Oval 884">
              <a:extLst>
                <a:ext uri="{FF2B5EF4-FFF2-40B4-BE49-F238E27FC236}">
                  <a16:creationId xmlns:a16="http://schemas.microsoft.com/office/drawing/2014/main" id="{E1FFB495-5C5B-4347-8FFA-7468D8A17EFA}"/>
                </a:ext>
              </a:extLst>
            </p:cNvPr>
            <p:cNvSpPr/>
            <p:nvPr/>
          </p:nvSpPr>
          <p:spPr>
            <a:xfrm flipH="1">
              <a:off x="2140681" y="4495608"/>
              <a:ext cx="45720" cy="4572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886" name="Oval 885">
              <a:extLst>
                <a:ext uri="{FF2B5EF4-FFF2-40B4-BE49-F238E27FC236}">
                  <a16:creationId xmlns:a16="http://schemas.microsoft.com/office/drawing/2014/main" id="{77B7679C-8D59-4F88-A205-23C3F3775B84}"/>
                </a:ext>
              </a:extLst>
            </p:cNvPr>
            <p:cNvSpPr/>
            <p:nvPr/>
          </p:nvSpPr>
          <p:spPr>
            <a:xfrm flipH="1">
              <a:off x="2616530" y="3753368"/>
              <a:ext cx="45720" cy="45720"/>
            </a:xfrm>
            <a:prstGeom prst="ellipse">
              <a:avLst/>
            </a:prstGeom>
            <a:no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grpSp>
      <p:grpSp>
        <p:nvGrpSpPr>
          <p:cNvPr id="28" name="Group 27">
            <a:extLst>
              <a:ext uri="{FF2B5EF4-FFF2-40B4-BE49-F238E27FC236}">
                <a16:creationId xmlns:a16="http://schemas.microsoft.com/office/drawing/2014/main" id="{F784516E-C5B0-475D-B981-DB8F003E4888}"/>
              </a:ext>
            </a:extLst>
          </p:cNvPr>
          <p:cNvGrpSpPr/>
          <p:nvPr/>
        </p:nvGrpSpPr>
        <p:grpSpPr>
          <a:xfrm>
            <a:off x="2563819" y="2770978"/>
            <a:ext cx="1210475" cy="753285"/>
            <a:chOff x="3180005" y="3913475"/>
            <a:chExt cx="1210475" cy="753285"/>
          </a:xfrm>
        </p:grpSpPr>
        <p:grpSp>
          <p:nvGrpSpPr>
            <p:cNvPr id="20" name="Group 19">
              <a:extLst>
                <a:ext uri="{FF2B5EF4-FFF2-40B4-BE49-F238E27FC236}">
                  <a16:creationId xmlns:a16="http://schemas.microsoft.com/office/drawing/2014/main" id="{9D23020F-A197-4B11-9070-24B69D467747}"/>
                </a:ext>
              </a:extLst>
            </p:cNvPr>
            <p:cNvGrpSpPr/>
            <p:nvPr/>
          </p:nvGrpSpPr>
          <p:grpSpPr>
            <a:xfrm>
              <a:off x="3180005" y="3913475"/>
              <a:ext cx="1210475" cy="682716"/>
              <a:chOff x="2312809" y="3766125"/>
              <a:chExt cx="2164832" cy="1220981"/>
            </a:xfrm>
          </p:grpSpPr>
          <p:sp>
            <p:nvSpPr>
              <p:cNvPr id="19" name="Oval 18">
                <a:extLst>
                  <a:ext uri="{FF2B5EF4-FFF2-40B4-BE49-F238E27FC236}">
                    <a16:creationId xmlns:a16="http://schemas.microsoft.com/office/drawing/2014/main" id="{800FDDB1-F09B-41F2-BE76-CA970CF462B7}"/>
                  </a:ext>
                </a:extLst>
              </p:cNvPr>
              <p:cNvSpPr/>
              <p:nvPr/>
            </p:nvSpPr>
            <p:spPr>
              <a:xfrm>
                <a:off x="2655018" y="3772101"/>
                <a:ext cx="1215005" cy="1215005"/>
              </a:xfrm>
              <a:prstGeom prst="ellipse">
                <a:avLst/>
              </a:pr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D14E85C8-BC68-42C4-A1AA-26B1198B1A6E}"/>
                  </a:ext>
                </a:extLst>
              </p:cNvPr>
              <p:cNvGrpSpPr/>
              <p:nvPr/>
            </p:nvGrpSpPr>
            <p:grpSpPr>
              <a:xfrm>
                <a:off x="2312809" y="3766125"/>
                <a:ext cx="2164832" cy="1217718"/>
                <a:chOff x="4791704" y="720952"/>
                <a:chExt cx="4094907" cy="2303386"/>
              </a:xfrm>
            </p:grpSpPr>
            <p:pic>
              <p:nvPicPr>
                <p:cNvPr id="878" name="Picture 877" descr="A picture containing smoke, train, coming, air&#10;&#10;Description automatically generated">
                  <a:extLst>
                    <a:ext uri="{FF2B5EF4-FFF2-40B4-BE49-F238E27FC236}">
                      <a16:creationId xmlns:a16="http://schemas.microsoft.com/office/drawing/2014/main" id="{96E25149-0D24-431B-B46C-C5694D0A8B4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91704" y="720952"/>
                  <a:ext cx="4094907" cy="2303386"/>
                </a:xfrm>
                <a:prstGeom prst="rect">
                  <a:avLst/>
                </a:prstGeom>
              </p:spPr>
            </p:pic>
            <p:pic>
              <p:nvPicPr>
                <p:cNvPr id="879" name="Picture 878" descr="A close up of a mountain&#10;&#10;Description automatically generated">
                  <a:extLst>
                    <a:ext uri="{FF2B5EF4-FFF2-40B4-BE49-F238E27FC236}">
                      <a16:creationId xmlns:a16="http://schemas.microsoft.com/office/drawing/2014/main" id="{5BA6D1F6-FCF7-4E22-940F-2161A819446C}"/>
                    </a:ext>
                  </a:extLst>
                </p:cNvPr>
                <p:cNvPicPr>
                  <a:picLocks noChangeAspect="1"/>
                </p:cNvPicPr>
                <p:nvPr/>
              </p:nvPicPr>
              <p:blipFill>
                <a:blip r:embed="rId6" cstate="screen">
                  <a:duotone>
                    <a:prstClr val="black"/>
                    <a:schemeClr val="accent4">
                      <a:tint val="45000"/>
                      <a:satMod val="400000"/>
                    </a:schemeClr>
                  </a:duotone>
                  <a:extLst>
                    <a:ext uri="{28A0092B-C50C-407E-A947-70E740481C1C}">
                      <a14:useLocalDpi xmlns:a14="http://schemas.microsoft.com/office/drawing/2010/main"/>
                    </a:ext>
                  </a:extLst>
                </a:blip>
                <a:stretch>
                  <a:fillRect/>
                </a:stretch>
              </p:blipFill>
              <p:spPr>
                <a:xfrm>
                  <a:off x="5388010" y="1215538"/>
                  <a:ext cx="2889785" cy="1439858"/>
                </a:xfrm>
                <a:prstGeom prst="rect">
                  <a:avLst/>
                </a:prstGeom>
              </p:spPr>
            </p:pic>
          </p:grpSp>
        </p:grpSp>
        <p:sp>
          <p:nvSpPr>
            <p:cNvPr id="887" name="Oval 886">
              <a:extLst>
                <a:ext uri="{FF2B5EF4-FFF2-40B4-BE49-F238E27FC236}">
                  <a16:creationId xmlns:a16="http://schemas.microsoft.com/office/drawing/2014/main" id="{A65A2271-15D9-45C7-8709-8A74A80833BC}"/>
                </a:ext>
              </a:extLst>
            </p:cNvPr>
            <p:cNvSpPr/>
            <p:nvPr/>
          </p:nvSpPr>
          <p:spPr>
            <a:xfrm>
              <a:off x="3661999" y="4258252"/>
              <a:ext cx="408508" cy="408508"/>
            </a:xfrm>
            <a:prstGeom prst="ellipse">
              <a:avLst/>
            </a:prstGeom>
            <a:solidFill>
              <a:schemeClr val="accent2">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34" name="Isosceles Triangle 49">
            <a:extLst>
              <a:ext uri="{FF2B5EF4-FFF2-40B4-BE49-F238E27FC236}">
                <a16:creationId xmlns:a16="http://schemas.microsoft.com/office/drawing/2014/main" id="{6CE51CC4-47BD-4BD2-8A64-B33B26C7F4B6}"/>
              </a:ext>
            </a:extLst>
          </p:cNvPr>
          <p:cNvSpPr/>
          <p:nvPr/>
        </p:nvSpPr>
        <p:spPr>
          <a:xfrm rot="5400000">
            <a:off x="8716864" y="3031521"/>
            <a:ext cx="216864" cy="18914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1">
              <a:alpha val="6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1024" name="Group 1023">
            <a:extLst>
              <a:ext uri="{FF2B5EF4-FFF2-40B4-BE49-F238E27FC236}">
                <a16:creationId xmlns:a16="http://schemas.microsoft.com/office/drawing/2014/main" id="{EB087ABA-2859-49E1-B8D3-E91D9D068A02}"/>
              </a:ext>
            </a:extLst>
          </p:cNvPr>
          <p:cNvGrpSpPr>
            <a:grpSpLocks noChangeAspect="1"/>
          </p:cNvGrpSpPr>
          <p:nvPr/>
        </p:nvGrpSpPr>
        <p:grpSpPr>
          <a:xfrm>
            <a:off x="7898236" y="2773677"/>
            <a:ext cx="615014" cy="494206"/>
            <a:chOff x="839748" y="4443493"/>
            <a:chExt cx="167995" cy="134996"/>
          </a:xfrm>
          <a:solidFill>
            <a:schemeClr val="accent2">
              <a:alpha val="80000"/>
            </a:schemeClr>
          </a:solidFill>
        </p:grpSpPr>
        <p:sp>
          <p:nvSpPr>
            <p:cNvPr id="1025" name="Freeform 296">
              <a:extLst>
                <a:ext uri="{FF2B5EF4-FFF2-40B4-BE49-F238E27FC236}">
                  <a16:creationId xmlns:a16="http://schemas.microsoft.com/office/drawing/2014/main" id="{A827D888-0EE7-4097-A2BC-86747BA52091}"/>
                </a:ext>
              </a:extLst>
            </p:cNvPr>
            <p:cNvSpPr>
              <a:spLocks noChangeAspect="1"/>
            </p:cNvSpPr>
            <p:nvPr/>
          </p:nvSpPr>
          <p:spPr bwMode="auto">
            <a:xfrm>
              <a:off x="839748" y="4443493"/>
              <a:ext cx="167995" cy="56998"/>
            </a:xfrm>
            <a:custGeom>
              <a:avLst/>
              <a:gdLst>
                <a:gd name="T0" fmla="*/ 36 w 71"/>
                <a:gd name="T1" fmla="*/ 0 h 24"/>
                <a:gd name="T2" fmla="*/ 2 w 71"/>
                <a:gd name="T3" fmla="*/ 14 h 24"/>
                <a:gd name="T4" fmla="*/ 2 w 71"/>
                <a:gd name="T5" fmla="*/ 22 h 24"/>
                <a:gd name="T6" fmla="*/ 9 w 71"/>
                <a:gd name="T7" fmla="*/ 22 h 24"/>
                <a:gd name="T8" fmla="*/ 36 w 71"/>
                <a:gd name="T9" fmla="*/ 11 h 24"/>
                <a:gd name="T10" fmla="*/ 62 w 71"/>
                <a:gd name="T11" fmla="*/ 22 h 24"/>
                <a:gd name="T12" fmla="*/ 65 w 71"/>
                <a:gd name="T13" fmla="*/ 23 h 24"/>
                <a:gd name="T14" fmla="*/ 69 w 71"/>
                <a:gd name="T15" fmla="*/ 22 h 24"/>
                <a:gd name="T16" fmla="*/ 69 w 71"/>
                <a:gd name="T17" fmla="*/ 14 h 24"/>
                <a:gd name="T18" fmla="*/ 36 w 71"/>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24">
                  <a:moveTo>
                    <a:pt x="36" y="0"/>
                  </a:moveTo>
                  <a:cubicBezTo>
                    <a:pt x="23" y="0"/>
                    <a:pt x="11" y="5"/>
                    <a:pt x="2" y="14"/>
                  </a:cubicBezTo>
                  <a:cubicBezTo>
                    <a:pt x="0" y="16"/>
                    <a:pt x="0" y="20"/>
                    <a:pt x="2" y="22"/>
                  </a:cubicBezTo>
                  <a:cubicBezTo>
                    <a:pt x="4" y="24"/>
                    <a:pt x="7" y="24"/>
                    <a:pt x="9" y="22"/>
                  </a:cubicBezTo>
                  <a:cubicBezTo>
                    <a:pt x="16" y="15"/>
                    <a:pt x="26" y="11"/>
                    <a:pt x="36" y="11"/>
                  </a:cubicBezTo>
                  <a:cubicBezTo>
                    <a:pt x="45" y="11"/>
                    <a:pt x="55" y="15"/>
                    <a:pt x="62" y="22"/>
                  </a:cubicBezTo>
                  <a:cubicBezTo>
                    <a:pt x="63" y="23"/>
                    <a:pt x="64" y="23"/>
                    <a:pt x="65" y="23"/>
                  </a:cubicBezTo>
                  <a:cubicBezTo>
                    <a:pt x="67" y="23"/>
                    <a:pt x="68" y="23"/>
                    <a:pt x="69" y="22"/>
                  </a:cubicBezTo>
                  <a:cubicBezTo>
                    <a:pt x="71" y="20"/>
                    <a:pt x="71" y="16"/>
                    <a:pt x="69" y="14"/>
                  </a:cubicBezTo>
                  <a:cubicBezTo>
                    <a:pt x="60" y="5"/>
                    <a:pt x="48"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026" name="Freeform 297">
              <a:extLst>
                <a:ext uri="{FF2B5EF4-FFF2-40B4-BE49-F238E27FC236}">
                  <a16:creationId xmlns:a16="http://schemas.microsoft.com/office/drawing/2014/main" id="{E81FEE51-1168-42B5-90B5-CBF445240358}"/>
                </a:ext>
              </a:extLst>
            </p:cNvPr>
            <p:cNvSpPr>
              <a:spLocks noChangeAspect="1"/>
            </p:cNvSpPr>
            <p:nvPr/>
          </p:nvSpPr>
          <p:spPr bwMode="auto">
            <a:xfrm>
              <a:off x="872747" y="4483492"/>
              <a:ext cx="101997" cy="49998"/>
            </a:xfrm>
            <a:custGeom>
              <a:avLst/>
              <a:gdLst>
                <a:gd name="T0" fmla="*/ 2 w 43"/>
                <a:gd name="T1" fmla="*/ 11 h 21"/>
                <a:gd name="T2" fmla="*/ 2 w 43"/>
                <a:gd name="T3" fmla="*/ 18 h 21"/>
                <a:gd name="T4" fmla="*/ 9 w 43"/>
                <a:gd name="T5" fmla="*/ 18 h 21"/>
                <a:gd name="T6" fmla="*/ 34 w 43"/>
                <a:gd name="T7" fmla="*/ 18 h 21"/>
                <a:gd name="T8" fmla="*/ 38 w 43"/>
                <a:gd name="T9" fmla="*/ 20 h 21"/>
                <a:gd name="T10" fmla="*/ 41 w 43"/>
                <a:gd name="T11" fmla="*/ 18 h 21"/>
                <a:gd name="T12" fmla="*/ 41 w 43"/>
                <a:gd name="T13" fmla="*/ 11 h 21"/>
                <a:gd name="T14" fmla="*/ 2 w 43"/>
                <a:gd name="T15" fmla="*/ 1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1">
                  <a:moveTo>
                    <a:pt x="2" y="11"/>
                  </a:moveTo>
                  <a:cubicBezTo>
                    <a:pt x="0" y="13"/>
                    <a:pt x="0" y="16"/>
                    <a:pt x="2" y="18"/>
                  </a:cubicBezTo>
                  <a:cubicBezTo>
                    <a:pt x="4" y="21"/>
                    <a:pt x="7" y="21"/>
                    <a:pt x="9" y="18"/>
                  </a:cubicBezTo>
                  <a:cubicBezTo>
                    <a:pt x="16" y="12"/>
                    <a:pt x="27" y="12"/>
                    <a:pt x="34" y="18"/>
                  </a:cubicBezTo>
                  <a:cubicBezTo>
                    <a:pt x="35" y="20"/>
                    <a:pt x="36" y="20"/>
                    <a:pt x="38" y="20"/>
                  </a:cubicBezTo>
                  <a:cubicBezTo>
                    <a:pt x="39" y="20"/>
                    <a:pt x="40" y="20"/>
                    <a:pt x="41" y="18"/>
                  </a:cubicBezTo>
                  <a:cubicBezTo>
                    <a:pt x="43" y="16"/>
                    <a:pt x="43" y="13"/>
                    <a:pt x="41" y="11"/>
                  </a:cubicBezTo>
                  <a:cubicBezTo>
                    <a:pt x="30" y="0"/>
                    <a:pt x="13" y="0"/>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027" name="Freeform 298">
              <a:extLst>
                <a:ext uri="{FF2B5EF4-FFF2-40B4-BE49-F238E27FC236}">
                  <a16:creationId xmlns:a16="http://schemas.microsoft.com/office/drawing/2014/main" id="{1083E6FB-C82C-4FC0-B6A3-2314F692F742}"/>
                </a:ext>
              </a:extLst>
            </p:cNvPr>
            <p:cNvSpPr>
              <a:spLocks noChangeAspect="1"/>
            </p:cNvSpPr>
            <p:nvPr/>
          </p:nvSpPr>
          <p:spPr bwMode="auto">
            <a:xfrm>
              <a:off x="905746" y="4542490"/>
              <a:ext cx="35999" cy="35999"/>
            </a:xfrm>
            <a:custGeom>
              <a:avLst/>
              <a:gdLst>
                <a:gd name="T0" fmla="*/ 8 w 15"/>
                <a:gd name="T1" fmla="*/ 0 h 15"/>
                <a:gd name="T2" fmla="*/ 0 w 15"/>
                <a:gd name="T3" fmla="*/ 7 h 15"/>
                <a:gd name="T4" fmla="*/ 8 w 15"/>
                <a:gd name="T5" fmla="*/ 15 h 15"/>
                <a:gd name="T6" fmla="*/ 15 w 15"/>
                <a:gd name="T7" fmla="*/ 7 h 15"/>
                <a:gd name="T8" fmla="*/ 8 w 15"/>
                <a:gd name="T9" fmla="*/ 0 h 15"/>
              </a:gdLst>
              <a:ahLst/>
              <a:cxnLst>
                <a:cxn ang="0">
                  <a:pos x="T0" y="T1"/>
                </a:cxn>
                <a:cxn ang="0">
                  <a:pos x="T2" y="T3"/>
                </a:cxn>
                <a:cxn ang="0">
                  <a:pos x="T4" y="T5"/>
                </a:cxn>
                <a:cxn ang="0">
                  <a:pos x="T6" y="T7"/>
                </a:cxn>
                <a:cxn ang="0">
                  <a:pos x="T8" y="T9"/>
                </a:cxn>
              </a:cxnLst>
              <a:rect l="0" t="0" r="r" b="b"/>
              <a:pathLst>
                <a:path w="15" h="15">
                  <a:moveTo>
                    <a:pt x="8" y="0"/>
                  </a:moveTo>
                  <a:cubicBezTo>
                    <a:pt x="4" y="0"/>
                    <a:pt x="0" y="3"/>
                    <a:pt x="0" y="7"/>
                  </a:cubicBezTo>
                  <a:cubicBezTo>
                    <a:pt x="0" y="11"/>
                    <a:pt x="4" y="14"/>
                    <a:pt x="8" y="15"/>
                  </a:cubicBezTo>
                  <a:cubicBezTo>
                    <a:pt x="12" y="14"/>
                    <a:pt x="15" y="11"/>
                    <a:pt x="15" y="7"/>
                  </a:cubicBezTo>
                  <a:cubicBezTo>
                    <a:pt x="15" y="3"/>
                    <a:pt x="12"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pic>
        <p:nvPicPr>
          <p:cNvPr id="766" name="Picture 765" descr="A picture containing holding, food&#10;&#10;Description automatically generated">
            <a:extLst>
              <a:ext uri="{FF2B5EF4-FFF2-40B4-BE49-F238E27FC236}">
                <a16:creationId xmlns:a16="http://schemas.microsoft.com/office/drawing/2014/main" id="{569EDBBE-E401-49AE-A438-4E954AC4CDAA}"/>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a:xfrm>
            <a:off x="3744622" y="2301245"/>
            <a:ext cx="1500478" cy="1438275"/>
          </a:xfrm>
          <a:custGeom>
            <a:avLst/>
            <a:gdLst>
              <a:gd name="connsiteX0" fmla="*/ 347311 w 1500478"/>
              <a:gd name="connsiteY0" fmla="*/ 0 h 1438275"/>
              <a:gd name="connsiteX1" fmla="*/ 1110596 w 1500478"/>
              <a:gd name="connsiteY1" fmla="*/ 0 h 1438275"/>
              <a:gd name="connsiteX2" fmla="*/ 1160320 w 1500478"/>
              <a:gd name="connsiteY2" fmla="*/ 26990 h 1438275"/>
              <a:gd name="connsiteX3" fmla="*/ 1500478 w 1500478"/>
              <a:gd name="connsiteY3" fmla="*/ 666750 h 1438275"/>
              <a:gd name="connsiteX4" fmla="*/ 728953 w 1500478"/>
              <a:gd name="connsiteY4" fmla="*/ 1438275 h 1438275"/>
              <a:gd name="connsiteX5" fmla="*/ 18058 w 1500478"/>
              <a:gd name="connsiteY5" fmla="*/ 967062 h 1438275"/>
              <a:gd name="connsiteX6" fmla="*/ 0 w 1500478"/>
              <a:gd name="connsiteY6" fmla="*/ 908888 h 1438275"/>
              <a:gd name="connsiteX7" fmla="*/ 0 w 1500478"/>
              <a:gd name="connsiteY7" fmla="*/ 424612 h 1438275"/>
              <a:gd name="connsiteX8" fmla="*/ 18058 w 1500478"/>
              <a:gd name="connsiteY8" fmla="*/ 366438 h 1438275"/>
              <a:gd name="connsiteX9" fmla="*/ 297586 w 1500478"/>
              <a:gd name="connsiteY9" fmla="*/ 26990 h 143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0478" h="1438275">
                <a:moveTo>
                  <a:pt x="347311" y="0"/>
                </a:moveTo>
                <a:lnTo>
                  <a:pt x="1110596" y="0"/>
                </a:lnTo>
                <a:lnTo>
                  <a:pt x="1160320" y="26990"/>
                </a:lnTo>
                <a:cubicBezTo>
                  <a:pt x="1365547" y="165638"/>
                  <a:pt x="1500478" y="400437"/>
                  <a:pt x="1500478" y="666750"/>
                </a:cubicBezTo>
                <a:cubicBezTo>
                  <a:pt x="1500478" y="1092851"/>
                  <a:pt x="1155054" y="1438275"/>
                  <a:pt x="728953" y="1438275"/>
                </a:cubicBezTo>
                <a:cubicBezTo>
                  <a:pt x="409377" y="1438275"/>
                  <a:pt x="135182" y="1243974"/>
                  <a:pt x="18058" y="967062"/>
                </a:cubicBezTo>
                <a:lnTo>
                  <a:pt x="0" y="908888"/>
                </a:lnTo>
                <a:lnTo>
                  <a:pt x="0" y="424612"/>
                </a:lnTo>
                <a:lnTo>
                  <a:pt x="18058" y="366438"/>
                </a:lnTo>
                <a:cubicBezTo>
                  <a:pt x="76620" y="227982"/>
                  <a:pt x="174450" y="110179"/>
                  <a:pt x="297586" y="26990"/>
                </a:cubicBezTo>
                <a:close/>
              </a:path>
            </a:pathLst>
          </a:custGeom>
        </p:spPr>
      </p:pic>
      <p:grpSp>
        <p:nvGrpSpPr>
          <p:cNvPr id="8" name="Group 7">
            <a:extLst>
              <a:ext uri="{FF2B5EF4-FFF2-40B4-BE49-F238E27FC236}">
                <a16:creationId xmlns:a16="http://schemas.microsoft.com/office/drawing/2014/main" id="{A4A79CA4-AFF5-4673-AAD2-3762D7EEE765}"/>
              </a:ext>
            </a:extLst>
          </p:cNvPr>
          <p:cNvGrpSpPr/>
          <p:nvPr/>
        </p:nvGrpSpPr>
        <p:grpSpPr>
          <a:xfrm>
            <a:off x="5222567" y="2475023"/>
            <a:ext cx="1195913" cy="1153895"/>
            <a:chOff x="5172902" y="2443888"/>
            <a:chExt cx="1195913" cy="1153895"/>
          </a:xfrm>
        </p:grpSpPr>
        <p:grpSp>
          <p:nvGrpSpPr>
            <p:cNvPr id="951" name="Group 950">
              <a:extLst>
                <a:ext uri="{FF2B5EF4-FFF2-40B4-BE49-F238E27FC236}">
                  <a16:creationId xmlns:a16="http://schemas.microsoft.com/office/drawing/2014/main" id="{44F7ED87-14AE-484E-B411-0914D92A4D17}"/>
                </a:ext>
              </a:extLst>
            </p:cNvPr>
            <p:cNvGrpSpPr/>
            <p:nvPr/>
          </p:nvGrpSpPr>
          <p:grpSpPr>
            <a:xfrm rot="10800000" flipH="1">
              <a:off x="5366701" y="2687041"/>
              <a:ext cx="689356" cy="688481"/>
              <a:chOff x="7250029" y="1129177"/>
              <a:chExt cx="668628" cy="667779"/>
            </a:xfrm>
            <a:solidFill>
              <a:schemeClr val="tx2"/>
            </a:solidFill>
          </p:grpSpPr>
          <p:sp>
            <p:nvSpPr>
              <p:cNvPr id="952" name="Oval 951">
                <a:extLst>
                  <a:ext uri="{FF2B5EF4-FFF2-40B4-BE49-F238E27FC236}">
                    <a16:creationId xmlns:a16="http://schemas.microsoft.com/office/drawing/2014/main" id="{D6A44BA4-7BE4-4FAB-9B35-096266ACA760}"/>
                  </a:ext>
                </a:extLst>
              </p:cNvPr>
              <p:cNvSpPr/>
              <p:nvPr/>
            </p:nvSpPr>
            <p:spPr>
              <a:xfrm>
                <a:off x="7250029" y="175123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3" name="Oval 952">
                <a:extLst>
                  <a:ext uri="{FF2B5EF4-FFF2-40B4-BE49-F238E27FC236}">
                    <a16:creationId xmlns:a16="http://schemas.microsoft.com/office/drawing/2014/main" id="{D0B0CD7D-D709-498D-8D15-E3F7585C1775}"/>
                  </a:ext>
                </a:extLst>
              </p:cNvPr>
              <p:cNvSpPr/>
              <p:nvPr/>
            </p:nvSpPr>
            <p:spPr>
              <a:xfrm>
                <a:off x="7250029" y="168212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4" name="Oval 953">
                <a:extLst>
                  <a:ext uri="{FF2B5EF4-FFF2-40B4-BE49-F238E27FC236}">
                    <a16:creationId xmlns:a16="http://schemas.microsoft.com/office/drawing/2014/main" id="{9181C044-CCAE-4FD8-B174-C89949398273}"/>
                  </a:ext>
                </a:extLst>
              </p:cNvPr>
              <p:cNvSpPr/>
              <p:nvPr/>
            </p:nvSpPr>
            <p:spPr>
              <a:xfrm>
                <a:off x="7250029" y="1613003"/>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5" name="Oval 954">
                <a:extLst>
                  <a:ext uri="{FF2B5EF4-FFF2-40B4-BE49-F238E27FC236}">
                    <a16:creationId xmlns:a16="http://schemas.microsoft.com/office/drawing/2014/main" id="{759B0B04-C888-467B-A9C3-942CED79D139}"/>
                  </a:ext>
                </a:extLst>
              </p:cNvPr>
              <p:cNvSpPr/>
              <p:nvPr/>
            </p:nvSpPr>
            <p:spPr>
              <a:xfrm>
                <a:off x="7250029" y="1543885"/>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6" name="Oval 955">
                <a:extLst>
                  <a:ext uri="{FF2B5EF4-FFF2-40B4-BE49-F238E27FC236}">
                    <a16:creationId xmlns:a16="http://schemas.microsoft.com/office/drawing/2014/main" id="{5F04B857-BAC5-457D-92C5-C87E168D224E}"/>
                  </a:ext>
                </a:extLst>
              </p:cNvPr>
              <p:cNvSpPr/>
              <p:nvPr/>
            </p:nvSpPr>
            <p:spPr>
              <a:xfrm>
                <a:off x="7250029" y="147476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7" name="Oval 956">
                <a:extLst>
                  <a:ext uri="{FF2B5EF4-FFF2-40B4-BE49-F238E27FC236}">
                    <a16:creationId xmlns:a16="http://schemas.microsoft.com/office/drawing/2014/main" id="{7C04AB66-0CD7-441F-803F-B22CFF213DA2}"/>
                  </a:ext>
                </a:extLst>
              </p:cNvPr>
              <p:cNvSpPr/>
              <p:nvPr/>
            </p:nvSpPr>
            <p:spPr>
              <a:xfrm>
                <a:off x="7250029" y="1405649"/>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8" name="Oval 957">
                <a:extLst>
                  <a:ext uri="{FF2B5EF4-FFF2-40B4-BE49-F238E27FC236}">
                    <a16:creationId xmlns:a16="http://schemas.microsoft.com/office/drawing/2014/main" id="{4FF241C4-8895-480D-98D9-033EE01BFF14}"/>
                  </a:ext>
                </a:extLst>
              </p:cNvPr>
              <p:cNvSpPr/>
              <p:nvPr/>
            </p:nvSpPr>
            <p:spPr>
              <a:xfrm>
                <a:off x="7250029" y="133653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9" name="Oval 958">
                <a:extLst>
                  <a:ext uri="{FF2B5EF4-FFF2-40B4-BE49-F238E27FC236}">
                    <a16:creationId xmlns:a16="http://schemas.microsoft.com/office/drawing/2014/main" id="{5497C949-33C5-4B8F-A465-1A42BB0B462A}"/>
                  </a:ext>
                </a:extLst>
              </p:cNvPr>
              <p:cNvSpPr/>
              <p:nvPr/>
            </p:nvSpPr>
            <p:spPr>
              <a:xfrm>
                <a:off x="7250029" y="1267413"/>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0" name="Oval 959">
                <a:extLst>
                  <a:ext uri="{FF2B5EF4-FFF2-40B4-BE49-F238E27FC236}">
                    <a16:creationId xmlns:a16="http://schemas.microsoft.com/office/drawing/2014/main" id="{ADCD6145-24EF-49FB-B828-D17DD7F86F82}"/>
                  </a:ext>
                </a:extLst>
              </p:cNvPr>
              <p:cNvSpPr/>
              <p:nvPr/>
            </p:nvSpPr>
            <p:spPr>
              <a:xfrm>
                <a:off x="7250029" y="1198295"/>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1" name="Oval 960">
                <a:extLst>
                  <a:ext uri="{FF2B5EF4-FFF2-40B4-BE49-F238E27FC236}">
                    <a16:creationId xmlns:a16="http://schemas.microsoft.com/office/drawing/2014/main" id="{EAE99D38-748B-476C-AB2B-8D402B1EC81B}"/>
                  </a:ext>
                </a:extLst>
              </p:cNvPr>
              <p:cNvSpPr/>
              <p:nvPr/>
            </p:nvSpPr>
            <p:spPr>
              <a:xfrm>
                <a:off x="7250029" y="112917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2" name="Oval 961">
                <a:extLst>
                  <a:ext uri="{FF2B5EF4-FFF2-40B4-BE49-F238E27FC236}">
                    <a16:creationId xmlns:a16="http://schemas.microsoft.com/office/drawing/2014/main" id="{5E2BA35E-1D0B-4A96-8CBF-8D21CCEA0E6F}"/>
                  </a:ext>
                </a:extLst>
              </p:cNvPr>
              <p:cNvSpPr/>
              <p:nvPr/>
            </p:nvSpPr>
            <p:spPr>
              <a:xfrm>
                <a:off x="7319391" y="175123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3" name="Oval 962">
                <a:extLst>
                  <a:ext uri="{FF2B5EF4-FFF2-40B4-BE49-F238E27FC236}">
                    <a16:creationId xmlns:a16="http://schemas.microsoft.com/office/drawing/2014/main" id="{AA6B8DA1-05A2-4AE4-ADEE-56B64FA7E082}"/>
                  </a:ext>
                </a:extLst>
              </p:cNvPr>
              <p:cNvSpPr/>
              <p:nvPr/>
            </p:nvSpPr>
            <p:spPr>
              <a:xfrm>
                <a:off x="7319391" y="168212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4" name="Oval 963">
                <a:extLst>
                  <a:ext uri="{FF2B5EF4-FFF2-40B4-BE49-F238E27FC236}">
                    <a16:creationId xmlns:a16="http://schemas.microsoft.com/office/drawing/2014/main" id="{5EDD60D6-6A04-4637-AA97-D71436493615}"/>
                  </a:ext>
                </a:extLst>
              </p:cNvPr>
              <p:cNvSpPr/>
              <p:nvPr/>
            </p:nvSpPr>
            <p:spPr>
              <a:xfrm>
                <a:off x="7319391" y="1613003"/>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5" name="Oval 964">
                <a:extLst>
                  <a:ext uri="{FF2B5EF4-FFF2-40B4-BE49-F238E27FC236}">
                    <a16:creationId xmlns:a16="http://schemas.microsoft.com/office/drawing/2014/main" id="{39CEDEC4-BC0B-40F8-97B7-AD6AA14DB244}"/>
                  </a:ext>
                </a:extLst>
              </p:cNvPr>
              <p:cNvSpPr/>
              <p:nvPr/>
            </p:nvSpPr>
            <p:spPr>
              <a:xfrm>
                <a:off x="7319391" y="1543885"/>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6" name="Oval 965">
                <a:extLst>
                  <a:ext uri="{FF2B5EF4-FFF2-40B4-BE49-F238E27FC236}">
                    <a16:creationId xmlns:a16="http://schemas.microsoft.com/office/drawing/2014/main" id="{38E7D3EF-2A3E-40A4-B0F1-5A316B24E67A}"/>
                  </a:ext>
                </a:extLst>
              </p:cNvPr>
              <p:cNvSpPr/>
              <p:nvPr/>
            </p:nvSpPr>
            <p:spPr>
              <a:xfrm>
                <a:off x="7319391" y="147476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7" name="Oval 966">
                <a:extLst>
                  <a:ext uri="{FF2B5EF4-FFF2-40B4-BE49-F238E27FC236}">
                    <a16:creationId xmlns:a16="http://schemas.microsoft.com/office/drawing/2014/main" id="{4E6844B5-0734-4976-B430-1568191092B8}"/>
                  </a:ext>
                </a:extLst>
              </p:cNvPr>
              <p:cNvSpPr/>
              <p:nvPr/>
            </p:nvSpPr>
            <p:spPr>
              <a:xfrm>
                <a:off x="7319391" y="1405649"/>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8" name="Oval 967">
                <a:extLst>
                  <a:ext uri="{FF2B5EF4-FFF2-40B4-BE49-F238E27FC236}">
                    <a16:creationId xmlns:a16="http://schemas.microsoft.com/office/drawing/2014/main" id="{288C5422-D481-4DBD-B363-2095CCEE50FA}"/>
                  </a:ext>
                </a:extLst>
              </p:cNvPr>
              <p:cNvSpPr/>
              <p:nvPr/>
            </p:nvSpPr>
            <p:spPr>
              <a:xfrm>
                <a:off x="7319391" y="133653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9" name="Oval 968">
                <a:extLst>
                  <a:ext uri="{FF2B5EF4-FFF2-40B4-BE49-F238E27FC236}">
                    <a16:creationId xmlns:a16="http://schemas.microsoft.com/office/drawing/2014/main" id="{BD531304-C598-4270-A7E9-948E3A8252A0}"/>
                  </a:ext>
                </a:extLst>
              </p:cNvPr>
              <p:cNvSpPr/>
              <p:nvPr/>
            </p:nvSpPr>
            <p:spPr>
              <a:xfrm>
                <a:off x="7319391" y="1267413"/>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0" name="Oval 969">
                <a:extLst>
                  <a:ext uri="{FF2B5EF4-FFF2-40B4-BE49-F238E27FC236}">
                    <a16:creationId xmlns:a16="http://schemas.microsoft.com/office/drawing/2014/main" id="{3A0126AB-49BE-454E-B9AC-FBEC688F311C}"/>
                  </a:ext>
                </a:extLst>
              </p:cNvPr>
              <p:cNvSpPr/>
              <p:nvPr/>
            </p:nvSpPr>
            <p:spPr>
              <a:xfrm>
                <a:off x="7319391" y="1198295"/>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1" name="Oval 970">
                <a:extLst>
                  <a:ext uri="{FF2B5EF4-FFF2-40B4-BE49-F238E27FC236}">
                    <a16:creationId xmlns:a16="http://schemas.microsoft.com/office/drawing/2014/main" id="{E3B631AF-A2C4-42D6-B8CF-E1B48BDD799F}"/>
                  </a:ext>
                </a:extLst>
              </p:cNvPr>
              <p:cNvSpPr/>
              <p:nvPr/>
            </p:nvSpPr>
            <p:spPr>
              <a:xfrm>
                <a:off x="7389398" y="175123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2" name="Oval 971">
                <a:extLst>
                  <a:ext uri="{FF2B5EF4-FFF2-40B4-BE49-F238E27FC236}">
                    <a16:creationId xmlns:a16="http://schemas.microsoft.com/office/drawing/2014/main" id="{93B41AB5-C8F2-438F-8720-7C92330E6D87}"/>
                  </a:ext>
                </a:extLst>
              </p:cNvPr>
              <p:cNvSpPr/>
              <p:nvPr/>
            </p:nvSpPr>
            <p:spPr>
              <a:xfrm>
                <a:off x="7389398" y="168212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3" name="Oval 972">
                <a:extLst>
                  <a:ext uri="{FF2B5EF4-FFF2-40B4-BE49-F238E27FC236}">
                    <a16:creationId xmlns:a16="http://schemas.microsoft.com/office/drawing/2014/main" id="{B113E598-82C4-4D3F-A6A7-51D8A6FFF2F6}"/>
                  </a:ext>
                </a:extLst>
              </p:cNvPr>
              <p:cNvSpPr/>
              <p:nvPr/>
            </p:nvSpPr>
            <p:spPr>
              <a:xfrm>
                <a:off x="7389398" y="1613003"/>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4" name="Oval 973">
                <a:extLst>
                  <a:ext uri="{FF2B5EF4-FFF2-40B4-BE49-F238E27FC236}">
                    <a16:creationId xmlns:a16="http://schemas.microsoft.com/office/drawing/2014/main" id="{530B3867-D1AF-4C2C-905B-E45ACAD3233D}"/>
                  </a:ext>
                </a:extLst>
              </p:cNvPr>
              <p:cNvSpPr/>
              <p:nvPr/>
            </p:nvSpPr>
            <p:spPr>
              <a:xfrm>
                <a:off x="7389398" y="1543885"/>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5" name="Oval 974">
                <a:extLst>
                  <a:ext uri="{FF2B5EF4-FFF2-40B4-BE49-F238E27FC236}">
                    <a16:creationId xmlns:a16="http://schemas.microsoft.com/office/drawing/2014/main" id="{E14FB858-FAEE-47A4-BE9C-FBED630A09A7}"/>
                  </a:ext>
                </a:extLst>
              </p:cNvPr>
              <p:cNvSpPr/>
              <p:nvPr/>
            </p:nvSpPr>
            <p:spPr>
              <a:xfrm>
                <a:off x="7389398" y="147476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6" name="Oval 975">
                <a:extLst>
                  <a:ext uri="{FF2B5EF4-FFF2-40B4-BE49-F238E27FC236}">
                    <a16:creationId xmlns:a16="http://schemas.microsoft.com/office/drawing/2014/main" id="{849FA493-267E-4058-BE14-A527C35C3DC9}"/>
                  </a:ext>
                </a:extLst>
              </p:cNvPr>
              <p:cNvSpPr/>
              <p:nvPr/>
            </p:nvSpPr>
            <p:spPr>
              <a:xfrm>
                <a:off x="7389398" y="1405649"/>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7" name="Oval 976">
                <a:extLst>
                  <a:ext uri="{FF2B5EF4-FFF2-40B4-BE49-F238E27FC236}">
                    <a16:creationId xmlns:a16="http://schemas.microsoft.com/office/drawing/2014/main" id="{27D51D9B-2CCA-4D45-9427-7C5BE0C0EFD2}"/>
                  </a:ext>
                </a:extLst>
              </p:cNvPr>
              <p:cNvSpPr/>
              <p:nvPr/>
            </p:nvSpPr>
            <p:spPr>
              <a:xfrm>
                <a:off x="7389398" y="133653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8" name="Oval 977">
                <a:extLst>
                  <a:ext uri="{FF2B5EF4-FFF2-40B4-BE49-F238E27FC236}">
                    <a16:creationId xmlns:a16="http://schemas.microsoft.com/office/drawing/2014/main" id="{601BF0E0-7FDA-4FD6-8D02-E30FE01E7AE4}"/>
                  </a:ext>
                </a:extLst>
              </p:cNvPr>
              <p:cNvSpPr/>
              <p:nvPr/>
            </p:nvSpPr>
            <p:spPr>
              <a:xfrm>
                <a:off x="7389398" y="1267413"/>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9" name="Oval 978">
                <a:extLst>
                  <a:ext uri="{FF2B5EF4-FFF2-40B4-BE49-F238E27FC236}">
                    <a16:creationId xmlns:a16="http://schemas.microsoft.com/office/drawing/2014/main" id="{C26F5F90-100E-442B-8A00-CBF268681B41}"/>
                  </a:ext>
                </a:extLst>
              </p:cNvPr>
              <p:cNvSpPr/>
              <p:nvPr/>
            </p:nvSpPr>
            <p:spPr>
              <a:xfrm>
                <a:off x="7458760" y="175123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0" name="Oval 979">
                <a:extLst>
                  <a:ext uri="{FF2B5EF4-FFF2-40B4-BE49-F238E27FC236}">
                    <a16:creationId xmlns:a16="http://schemas.microsoft.com/office/drawing/2014/main" id="{60E92298-7039-47C0-B451-5E1BE346F0B0}"/>
                  </a:ext>
                </a:extLst>
              </p:cNvPr>
              <p:cNvSpPr/>
              <p:nvPr/>
            </p:nvSpPr>
            <p:spPr>
              <a:xfrm>
                <a:off x="7458760" y="168212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1" name="Oval 980">
                <a:extLst>
                  <a:ext uri="{FF2B5EF4-FFF2-40B4-BE49-F238E27FC236}">
                    <a16:creationId xmlns:a16="http://schemas.microsoft.com/office/drawing/2014/main" id="{DEA452DD-9333-49FC-8796-0EB3E82BB580}"/>
                  </a:ext>
                </a:extLst>
              </p:cNvPr>
              <p:cNvSpPr/>
              <p:nvPr/>
            </p:nvSpPr>
            <p:spPr>
              <a:xfrm>
                <a:off x="7458760" y="1613003"/>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2" name="Oval 981">
                <a:extLst>
                  <a:ext uri="{FF2B5EF4-FFF2-40B4-BE49-F238E27FC236}">
                    <a16:creationId xmlns:a16="http://schemas.microsoft.com/office/drawing/2014/main" id="{296F25E2-CF91-4E91-AF85-DE66FAF034EB}"/>
                  </a:ext>
                </a:extLst>
              </p:cNvPr>
              <p:cNvSpPr/>
              <p:nvPr/>
            </p:nvSpPr>
            <p:spPr>
              <a:xfrm>
                <a:off x="7458760" y="1543885"/>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3" name="Oval 982">
                <a:extLst>
                  <a:ext uri="{FF2B5EF4-FFF2-40B4-BE49-F238E27FC236}">
                    <a16:creationId xmlns:a16="http://schemas.microsoft.com/office/drawing/2014/main" id="{8D54DCAA-669E-4263-B70C-EA90E6872EEC}"/>
                  </a:ext>
                </a:extLst>
              </p:cNvPr>
              <p:cNvSpPr/>
              <p:nvPr/>
            </p:nvSpPr>
            <p:spPr>
              <a:xfrm>
                <a:off x="7458760" y="147476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4" name="Oval 983">
                <a:extLst>
                  <a:ext uri="{FF2B5EF4-FFF2-40B4-BE49-F238E27FC236}">
                    <a16:creationId xmlns:a16="http://schemas.microsoft.com/office/drawing/2014/main" id="{39F9BBF7-5018-4C83-8F58-A340F5190662}"/>
                  </a:ext>
                </a:extLst>
              </p:cNvPr>
              <p:cNvSpPr/>
              <p:nvPr/>
            </p:nvSpPr>
            <p:spPr>
              <a:xfrm>
                <a:off x="7458760" y="1405649"/>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5" name="Oval 984">
                <a:extLst>
                  <a:ext uri="{FF2B5EF4-FFF2-40B4-BE49-F238E27FC236}">
                    <a16:creationId xmlns:a16="http://schemas.microsoft.com/office/drawing/2014/main" id="{0CD88B5E-D81C-4A3B-9FC5-F51EBAE39F28}"/>
                  </a:ext>
                </a:extLst>
              </p:cNvPr>
              <p:cNvSpPr/>
              <p:nvPr/>
            </p:nvSpPr>
            <p:spPr>
              <a:xfrm>
                <a:off x="7458760" y="133653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6" name="Oval 985">
                <a:extLst>
                  <a:ext uri="{FF2B5EF4-FFF2-40B4-BE49-F238E27FC236}">
                    <a16:creationId xmlns:a16="http://schemas.microsoft.com/office/drawing/2014/main" id="{A05DC288-976E-4372-ADC3-3B055D766D67}"/>
                  </a:ext>
                </a:extLst>
              </p:cNvPr>
              <p:cNvSpPr/>
              <p:nvPr/>
            </p:nvSpPr>
            <p:spPr>
              <a:xfrm>
                <a:off x="7525483" y="175123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7" name="Oval 986">
                <a:extLst>
                  <a:ext uri="{FF2B5EF4-FFF2-40B4-BE49-F238E27FC236}">
                    <a16:creationId xmlns:a16="http://schemas.microsoft.com/office/drawing/2014/main" id="{26852BA9-6430-4E57-BD7C-02632D3B42A9}"/>
                  </a:ext>
                </a:extLst>
              </p:cNvPr>
              <p:cNvSpPr/>
              <p:nvPr/>
            </p:nvSpPr>
            <p:spPr>
              <a:xfrm>
                <a:off x="7525483" y="168212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8" name="Oval 987">
                <a:extLst>
                  <a:ext uri="{FF2B5EF4-FFF2-40B4-BE49-F238E27FC236}">
                    <a16:creationId xmlns:a16="http://schemas.microsoft.com/office/drawing/2014/main" id="{024CC9EF-8A6D-4490-A3F6-61D0C10BF58A}"/>
                  </a:ext>
                </a:extLst>
              </p:cNvPr>
              <p:cNvSpPr/>
              <p:nvPr/>
            </p:nvSpPr>
            <p:spPr>
              <a:xfrm>
                <a:off x="7525483" y="1613003"/>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9" name="Oval 988">
                <a:extLst>
                  <a:ext uri="{FF2B5EF4-FFF2-40B4-BE49-F238E27FC236}">
                    <a16:creationId xmlns:a16="http://schemas.microsoft.com/office/drawing/2014/main" id="{F67DCE7C-878D-40CE-B2BA-495BEF2B6640}"/>
                  </a:ext>
                </a:extLst>
              </p:cNvPr>
              <p:cNvSpPr/>
              <p:nvPr/>
            </p:nvSpPr>
            <p:spPr>
              <a:xfrm>
                <a:off x="7525483" y="1543885"/>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0" name="Oval 989">
                <a:extLst>
                  <a:ext uri="{FF2B5EF4-FFF2-40B4-BE49-F238E27FC236}">
                    <a16:creationId xmlns:a16="http://schemas.microsoft.com/office/drawing/2014/main" id="{4029C2A2-AD46-4AE7-B9EB-AC9D20962A63}"/>
                  </a:ext>
                </a:extLst>
              </p:cNvPr>
              <p:cNvSpPr/>
              <p:nvPr/>
            </p:nvSpPr>
            <p:spPr>
              <a:xfrm>
                <a:off x="7525483" y="147476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1" name="Oval 990">
                <a:extLst>
                  <a:ext uri="{FF2B5EF4-FFF2-40B4-BE49-F238E27FC236}">
                    <a16:creationId xmlns:a16="http://schemas.microsoft.com/office/drawing/2014/main" id="{1DB08369-9D4B-41CD-9491-8A7208C27A95}"/>
                  </a:ext>
                </a:extLst>
              </p:cNvPr>
              <p:cNvSpPr/>
              <p:nvPr/>
            </p:nvSpPr>
            <p:spPr>
              <a:xfrm>
                <a:off x="7525483" y="1405649"/>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2" name="Oval 991">
                <a:extLst>
                  <a:ext uri="{FF2B5EF4-FFF2-40B4-BE49-F238E27FC236}">
                    <a16:creationId xmlns:a16="http://schemas.microsoft.com/office/drawing/2014/main" id="{35935312-094E-40F1-89C7-A037C3D92428}"/>
                  </a:ext>
                </a:extLst>
              </p:cNvPr>
              <p:cNvSpPr/>
              <p:nvPr/>
            </p:nvSpPr>
            <p:spPr>
              <a:xfrm>
                <a:off x="7594845" y="175123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3" name="Oval 992">
                <a:extLst>
                  <a:ext uri="{FF2B5EF4-FFF2-40B4-BE49-F238E27FC236}">
                    <a16:creationId xmlns:a16="http://schemas.microsoft.com/office/drawing/2014/main" id="{E140AE79-5CA3-4C89-9F92-9D69F6304DCE}"/>
                  </a:ext>
                </a:extLst>
              </p:cNvPr>
              <p:cNvSpPr/>
              <p:nvPr/>
            </p:nvSpPr>
            <p:spPr>
              <a:xfrm>
                <a:off x="7594845" y="168212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4" name="Oval 993">
                <a:extLst>
                  <a:ext uri="{FF2B5EF4-FFF2-40B4-BE49-F238E27FC236}">
                    <a16:creationId xmlns:a16="http://schemas.microsoft.com/office/drawing/2014/main" id="{4C819798-1FCE-4CC1-993F-A1707E0943A5}"/>
                  </a:ext>
                </a:extLst>
              </p:cNvPr>
              <p:cNvSpPr/>
              <p:nvPr/>
            </p:nvSpPr>
            <p:spPr>
              <a:xfrm>
                <a:off x="7594845" y="1613003"/>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5" name="Oval 994">
                <a:extLst>
                  <a:ext uri="{FF2B5EF4-FFF2-40B4-BE49-F238E27FC236}">
                    <a16:creationId xmlns:a16="http://schemas.microsoft.com/office/drawing/2014/main" id="{D8E54D2C-FEAE-408C-9803-11989BF6089E}"/>
                  </a:ext>
                </a:extLst>
              </p:cNvPr>
              <p:cNvSpPr/>
              <p:nvPr/>
            </p:nvSpPr>
            <p:spPr>
              <a:xfrm>
                <a:off x="7594845" y="1543885"/>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6" name="Oval 995">
                <a:extLst>
                  <a:ext uri="{FF2B5EF4-FFF2-40B4-BE49-F238E27FC236}">
                    <a16:creationId xmlns:a16="http://schemas.microsoft.com/office/drawing/2014/main" id="{26A77DB5-9A57-4553-B2D5-FF51DA1B6EE6}"/>
                  </a:ext>
                </a:extLst>
              </p:cNvPr>
              <p:cNvSpPr/>
              <p:nvPr/>
            </p:nvSpPr>
            <p:spPr>
              <a:xfrm>
                <a:off x="7594845" y="147476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7" name="Oval 996">
                <a:extLst>
                  <a:ext uri="{FF2B5EF4-FFF2-40B4-BE49-F238E27FC236}">
                    <a16:creationId xmlns:a16="http://schemas.microsoft.com/office/drawing/2014/main" id="{D1F4474C-BDD6-479C-A8E0-E0D89D13E3F9}"/>
                  </a:ext>
                </a:extLst>
              </p:cNvPr>
              <p:cNvSpPr/>
              <p:nvPr/>
            </p:nvSpPr>
            <p:spPr>
              <a:xfrm>
                <a:off x="7664852" y="175123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8" name="Oval 997">
                <a:extLst>
                  <a:ext uri="{FF2B5EF4-FFF2-40B4-BE49-F238E27FC236}">
                    <a16:creationId xmlns:a16="http://schemas.microsoft.com/office/drawing/2014/main" id="{F95DC69C-7219-40C9-B953-AE0E1F7AA717}"/>
                  </a:ext>
                </a:extLst>
              </p:cNvPr>
              <p:cNvSpPr/>
              <p:nvPr/>
            </p:nvSpPr>
            <p:spPr>
              <a:xfrm>
                <a:off x="7664852" y="168212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9" name="Oval 998">
                <a:extLst>
                  <a:ext uri="{FF2B5EF4-FFF2-40B4-BE49-F238E27FC236}">
                    <a16:creationId xmlns:a16="http://schemas.microsoft.com/office/drawing/2014/main" id="{B76B3F60-101D-4187-9137-2527EBA93425}"/>
                  </a:ext>
                </a:extLst>
              </p:cNvPr>
              <p:cNvSpPr/>
              <p:nvPr/>
            </p:nvSpPr>
            <p:spPr>
              <a:xfrm>
                <a:off x="7664852" y="1613003"/>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0" name="Oval 999">
                <a:extLst>
                  <a:ext uri="{FF2B5EF4-FFF2-40B4-BE49-F238E27FC236}">
                    <a16:creationId xmlns:a16="http://schemas.microsoft.com/office/drawing/2014/main" id="{8273179C-3550-47B7-A0A5-3CF9FCAF0222}"/>
                  </a:ext>
                </a:extLst>
              </p:cNvPr>
              <p:cNvSpPr/>
              <p:nvPr/>
            </p:nvSpPr>
            <p:spPr>
              <a:xfrm>
                <a:off x="7664852" y="1543885"/>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1" name="Oval 1000">
                <a:extLst>
                  <a:ext uri="{FF2B5EF4-FFF2-40B4-BE49-F238E27FC236}">
                    <a16:creationId xmlns:a16="http://schemas.microsoft.com/office/drawing/2014/main" id="{32C2C778-07AC-4395-B57B-C9F9C940B285}"/>
                  </a:ext>
                </a:extLst>
              </p:cNvPr>
              <p:cNvSpPr/>
              <p:nvPr/>
            </p:nvSpPr>
            <p:spPr>
              <a:xfrm>
                <a:off x="7734214" y="175123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2" name="Oval 1001">
                <a:extLst>
                  <a:ext uri="{FF2B5EF4-FFF2-40B4-BE49-F238E27FC236}">
                    <a16:creationId xmlns:a16="http://schemas.microsoft.com/office/drawing/2014/main" id="{59E7AFE0-AEEC-463A-B3EA-7F8BE91A8765}"/>
                  </a:ext>
                </a:extLst>
              </p:cNvPr>
              <p:cNvSpPr/>
              <p:nvPr/>
            </p:nvSpPr>
            <p:spPr>
              <a:xfrm>
                <a:off x="7734214" y="168212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3" name="Oval 1002">
                <a:extLst>
                  <a:ext uri="{FF2B5EF4-FFF2-40B4-BE49-F238E27FC236}">
                    <a16:creationId xmlns:a16="http://schemas.microsoft.com/office/drawing/2014/main" id="{83915A13-7963-4C3E-A058-74C1FE36A02B}"/>
                  </a:ext>
                </a:extLst>
              </p:cNvPr>
              <p:cNvSpPr/>
              <p:nvPr/>
            </p:nvSpPr>
            <p:spPr>
              <a:xfrm>
                <a:off x="7734214" y="1613003"/>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4" name="Oval 1003">
                <a:extLst>
                  <a:ext uri="{FF2B5EF4-FFF2-40B4-BE49-F238E27FC236}">
                    <a16:creationId xmlns:a16="http://schemas.microsoft.com/office/drawing/2014/main" id="{9210839A-705D-4C68-AFA9-320CB437BA6B}"/>
                  </a:ext>
                </a:extLst>
              </p:cNvPr>
              <p:cNvSpPr/>
              <p:nvPr/>
            </p:nvSpPr>
            <p:spPr>
              <a:xfrm>
                <a:off x="7803576" y="175123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5" name="Oval 1004">
                <a:extLst>
                  <a:ext uri="{FF2B5EF4-FFF2-40B4-BE49-F238E27FC236}">
                    <a16:creationId xmlns:a16="http://schemas.microsoft.com/office/drawing/2014/main" id="{3A2324C0-E7E2-4ED5-8898-ED32AE457FF9}"/>
                  </a:ext>
                </a:extLst>
              </p:cNvPr>
              <p:cNvSpPr/>
              <p:nvPr/>
            </p:nvSpPr>
            <p:spPr>
              <a:xfrm>
                <a:off x="7803576" y="168212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6" name="Oval 1005">
                <a:extLst>
                  <a:ext uri="{FF2B5EF4-FFF2-40B4-BE49-F238E27FC236}">
                    <a16:creationId xmlns:a16="http://schemas.microsoft.com/office/drawing/2014/main" id="{E48595B8-3B7C-4A8C-81C8-13159F421F99}"/>
                  </a:ext>
                </a:extLst>
              </p:cNvPr>
              <p:cNvSpPr/>
              <p:nvPr/>
            </p:nvSpPr>
            <p:spPr>
              <a:xfrm>
                <a:off x="7872938" y="1751237"/>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89" name="Oval 888">
              <a:extLst>
                <a:ext uri="{FF2B5EF4-FFF2-40B4-BE49-F238E27FC236}">
                  <a16:creationId xmlns:a16="http://schemas.microsoft.com/office/drawing/2014/main" id="{3A5D4595-2223-4E06-8B2D-DD920A99F956}"/>
                </a:ext>
              </a:extLst>
            </p:cNvPr>
            <p:cNvSpPr/>
            <p:nvPr/>
          </p:nvSpPr>
          <p:spPr>
            <a:xfrm>
              <a:off x="5268568" y="2809824"/>
              <a:ext cx="749808" cy="751179"/>
            </a:xfrm>
            <a:prstGeom prst="ellipse">
              <a:avLst/>
            </a:prstGeom>
            <a:solidFill>
              <a:schemeClr val="accent2">
                <a:alpha val="8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pic>
          <p:nvPicPr>
            <p:cNvPr id="771" name="Picture 770" descr="A picture containing sitting, food, table&#10;&#10;Description automatically generated">
              <a:extLst>
                <a:ext uri="{FF2B5EF4-FFF2-40B4-BE49-F238E27FC236}">
                  <a16:creationId xmlns:a16="http://schemas.microsoft.com/office/drawing/2014/main" id="{9BCC641F-8866-43C4-81EC-344590737FD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16838" t="-48562" b="-5112"/>
            <a:stretch/>
          </p:blipFill>
          <p:spPr>
            <a:xfrm>
              <a:off x="5172902" y="2443888"/>
              <a:ext cx="1195913" cy="1153895"/>
            </a:xfrm>
            <a:prstGeom prst="ellipse">
              <a:avLst/>
            </a:prstGeom>
          </p:spPr>
        </p:pic>
      </p:grpSp>
      <p:pic>
        <p:nvPicPr>
          <p:cNvPr id="773" name="Picture 772" descr="A computer sitting on top of a table&#10;&#10;Description automatically generated">
            <a:extLst>
              <a:ext uri="{FF2B5EF4-FFF2-40B4-BE49-F238E27FC236}">
                <a16:creationId xmlns:a16="http://schemas.microsoft.com/office/drawing/2014/main" id="{3B8DB07D-3B8F-4B56-B9B0-865354314C21}"/>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041113" y="2749320"/>
            <a:ext cx="788971" cy="847447"/>
          </a:xfrm>
          <a:prstGeom prst="rect">
            <a:avLst/>
          </a:prstGeom>
        </p:spPr>
      </p:pic>
      <p:grpSp>
        <p:nvGrpSpPr>
          <p:cNvPr id="1029" name="Group 1028">
            <a:extLst>
              <a:ext uri="{FF2B5EF4-FFF2-40B4-BE49-F238E27FC236}">
                <a16:creationId xmlns:a16="http://schemas.microsoft.com/office/drawing/2014/main" id="{3251FB9E-4A59-455C-BCCD-2102CE95A04D}"/>
              </a:ext>
            </a:extLst>
          </p:cNvPr>
          <p:cNvGrpSpPr>
            <a:grpSpLocks noChangeAspect="1"/>
          </p:cNvGrpSpPr>
          <p:nvPr/>
        </p:nvGrpSpPr>
        <p:grpSpPr>
          <a:xfrm>
            <a:off x="7982980" y="2683197"/>
            <a:ext cx="615014" cy="494206"/>
            <a:chOff x="839748" y="4443493"/>
            <a:chExt cx="167995" cy="134996"/>
          </a:xfrm>
          <a:solidFill>
            <a:srgbClr val="00BCEB">
              <a:alpha val="80000"/>
            </a:srgbClr>
          </a:solidFill>
        </p:grpSpPr>
        <p:sp>
          <p:nvSpPr>
            <p:cNvPr id="1030" name="Freeform 296">
              <a:extLst>
                <a:ext uri="{FF2B5EF4-FFF2-40B4-BE49-F238E27FC236}">
                  <a16:creationId xmlns:a16="http://schemas.microsoft.com/office/drawing/2014/main" id="{D1A7A56C-B8FC-43E3-90A7-FA6901F8A4BE}"/>
                </a:ext>
              </a:extLst>
            </p:cNvPr>
            <p:cNvSpPr>
              <a:spLocks noChangeAspect="1"/>
            </p:cNvSpPr>
            <p:nvPr/>
          </p:nvSpPr>
          <p:spPr bwMode="auto">
            <a:xfrm>
              <a:off x="839748" y="4443493"/>
              <a:ext cx="167995" cy="56998"/>
            </a:xfrm>
            <a:custGeom>
              <a:avLst/>
              <a:gdLst>
                <a:gd name="T0" fmla="*/ 36 w 71"/>
                <a:gd name="T1" fmla="*/ 0 h 24"/>
                <a:gd name="T2" fmla="*/ 2 w 71"/>
                <a:gd name="T3" fmla="*/ 14 h 24"/>
                <a:gd name="T4" fmla="*/ 2 w 71"/>
                <a:gd name="T5" fmla="*/ 22 h 24"/>
                <a:gd name="T6" fmla="*/ 9 w 71"/>
                <a:gd name="T7" fmla="*/ 22 h 24"/>
                <a:gd name="T8" fmla="*/ 36 w 71"/>
                <a:gd name="T9" fmla="*/ 11 h 24"/>
                <a:gd name="T10" fmla="*/ 62 w 71"/>
                <a:gd name="T11" fmla="*/ 22 h 24"/>
                <a:gd name="T12" fmla="*/ 65 w 71"/>
                <a:gd name="T13" fmla="*/ 23 h 24"/>
                <a:gd name="T14" fmla="*/ 69 w 71"/>
                <a:gd name="T15" fmla="*/ 22 h 24"/>
                <a:gd name="T16" fmla="*/ 69 w 71"/>
                <a:gd name="T17" fmla="*/ 14 h 24"/>
                <a:gd name="T18" fmla="*/ 36 w 71"/>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24">
                  <a:moveTo>
                    <a:pt x="36" y="0"/>
                  </a:moveTo>
                  <a:cubicBezTo>
                    <a:pt x="23" y="0"/>
                    <a:pt x="11" y="5"/>
                    <a:pt x="2" y="14"/>
                  </a:cubicBezTo>
                  <a:cubicBezTo>
                    <a:pt x="0" y="16"/>
                    <a:pt x="0" y="20"/>
                    <a:pt x="2" y="22"/>
                  </a:cubicBezTo>
                  <a:cubicBezTo>
                    <a:pt x="4" y="24"/>
                    <a:pt x="7" y="24"/>
                    <a:pt x="9" y="22"/>
                  </a:cubicBezTo>
                  <a:cubicBezTo>
                    <a:pt x="16" y="15"/>
                    <a:pt x="26" y="11"/>
                    <a:pt x="36" y="11"/>
                  </a:cubicBezTo>
                  <a:cubicBezTo>
                    <a:pt x="45" y="11"/>
                    <a:pt x="55" y="15"/>
                    <a:pt x="62" y="22"/>
                  </a:cubicBezTo>
                  <a:cubicBezTo>
                    <a:pt x="63" y="23"/>
                    <a:pt x="64" y="23"/>
                    <a:pt x="65" y="23"/>
                  </a:cubicBezTo>
                  <a:cubicBezTo>
                    <a:pt x="67" y="23"/>
                    <a:pt x="68" y="23"/>
                    <a:pt x="69" y="22"/>
                  </a:cubicBezTo>
                  <a:cubicBezTo>
                    <a:pt x="71" y="20"/>
                    <a:pt x="71" y="16"/>
                    <a:pt x="69" y="14"/>
                  </a:cubicBezTo>
                  <a:cubicBezTo>
                    <a:pt x="60" y="5"/>
                    <a:pt x="48" y="0"/>
                    <a:pt x="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031" name="Freeform 297">
              <a:extLst>
                <a:ext uri="{FF2B5EF4-FFF2-40B4-BE49-F238E27FC236}">
                  <a16:creationId xmlns:a16="http://schemas.microsoft.com/office/drawing/2014/main" id="{64513E79-7273-4F4C-B717-D9CC35F13D16}"/>
                </a:ext>
              </a:extLst>
            </p:cNvPr>
            <p:cNvSpPr>
              <a:spLocks noChangeAspect="1"/>
            </p:cNvSpPr>
            <p:nvPr/>
          </p:nvSpPr>
          <p:spPr bwMode="auto">
            <a:xfrm>
              <a:off x="872747" y="4483492"/>
              <a:ext cx="101997" cy="49998"/>
            </a:xfrm>
            <a:custGeom>
              <a:avLst/>
              <a:gdLst>
                <a:gd name="T0" fmla="*/ 2 w 43"/>
                <a:gd name="T1" fmla="*/ 11 h 21"/>
                <a:gd name="T2" fmla="*/ 2 w 43"/>
                <a:gd name="T3" fmla="*/ 18 h 21"/>
                <a:gd name="T4" fmla="*/ 9 w 43"/>
                <a:gd name="T5" fmla="*/ 18 h 21"/>
                <a:gd name="T6" fmla="*/ 34 w 43"/>
                <a:gd name="T7" fmla="*/ 18 h 21"/>
                <a:gd name="T8" fmla="*/ 38 w 43"/>
                <a:gd name="T9" fmla="*/ 20 h 21"/>
                <a:gd name="T10" fmla="*/ 41 w 43"/>
                <a:gd name="T11" fmla="*/ 18 h 21"/>
                <a:gd name="T12" fmla="*/ 41 w 43"/>
                <a:gd name="T13" fmla="*/ 11 h 21"/>
                <a:gd name="T14" fmla="*/ 2 w 43"/>
                <a:gd name="T15" fmla="*/ 1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1">
                  <a:moveTo>
                    <a:pt x="2" y="11"/>
                  </a:moveTo>
                  <a:cubicBezTo>
                    <a:pt x="0" y="13"/>
                    <a:pt x="0" y="16"/>
                    <a:pt x="2" y="18"/>
                  </a:cubicBezTo>
                  <a:cubicBezTo>
                    <a:pt x="4" y="21"/>
                    <a:pt x="7" y="21"/>
                    <a:pt x="9" y="18"/>
                  </a:cubicBezTo>
                  <a:cubicBezTo>
                    <a:pt x="16" y="12"/>
                    <a:pt x="27" y="12"/>
                    <a:pt x="34" y="18"/>
                  </a:cubicBezTo>
                  <a:cubicBezTo>
                    <a:pt x="35" y="20"/>
                    <a:pt x="36" y="20"/>
                    <a:pt x="38" y="20"/>
                  </a:cubicBezTo>
                  <a:cubicBezTo>
                    <a:pt x="39" y="20"/>
                    <a:pt x="40" y="20"/>
                    <a:pt x="41" y="18"/>
                  </a:cubicBezTo>
                  <a:cubicBezTo>
                    <a:pt x="43" y="16"/>
                    <a:pt x="43" y="13"/>
                    <a:pt x="41" y="11"/>
                  </a:cubicBezTo>
                  <a:cubicBezTo>
                    <a:pt x="30" y="0"/>
                    <a:pt x="13" y="0"/>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032" name="Freeform 298">
              <a:extLst>
                <a:ext uri="{FF2B5EF4-FFF2-40B4-BE49-F238E27FC236}">
                  <a16:creationId xmlns:a16="http://schemas.microsoft.com/office/drawing/2014/main" id="{6B41EDF9-8995-47EB-BE6C-048451E18543}"/>
                </a:ext>
              </a:extLst>
            </p:cNvPr>
            <p:cNvSpPr>
              <a:spLocks noChangeAspect="1"/>
            </p:cNvSpPr>
            <p:nvPr/>
          </p:nvSpPr>
          <p:spPr bwMode="auto">
            <a:xfrm>
              <a:off x="905746" y="4542490"/>
              <a:ext cx="35999" cy="35999"/>
            </a:xfrm>
            <a:custGeom>
              <a:avLst/>
              <a:gdLst>
                <a:gd name="T0" fmla="*/ 8 w 15"/>
                <a:gd name="T1" fmla="*/ 0 h 15"/>
                <a:gd name="T2" fmla="*/ 0 w 15"/>
                <a:gd name="T3" fmla="*/ 7 h 15"/>
                <a:gd name="T4" fmla="*/ 8 w 15"/>
                <a:gd name="T5" fmla="*/ 15 h 15"/>
                <a:gd name="T6" fmla="*/ 15 w 15"/>
                <a:gd name="T7" fmla="*/ 7 h 15"/>
                <a:gd name="T8" fmla="*/ 8 w 15"/>
                <a:gd name="T9" fmla="*/ 0 h 15"/>
              </a:gdLst>
              <a:ahLst/>
              <a:cxnLst>
                <a:cxn ang="0">
                  <a:pos x="T0" y="T1"/>
                </a:cxn>
                <a:cxn ang="0">
                  <a:pos x="T2" y="T3"/>
                </a:cxn>
                <a:cxn ang="0">
                  <a:pos x="T4" y="T5"/>
                </a:cxn>
                <a:cxn ang="0">
                  <a:pos x="T6" y="T7"/>
                </a:cxn>
                <a:cxn ang="0">
                  <a:pos x="T8" y="T9"/>
                </a:cxn>
              </a:cxnLst>
              <a:rect l="0" t="0" r="r" b="b"/>
              <a:pathLst>
                <a:path w="15" h="15">
                  <a:moveTo>
                    <a:pt x="8" y="0"/>
                  </a:moveTo>
                  <a:cubicBezTo>
                    <a:pt x="4" y="0"/>
                    <a:pt x="0" y="3"/>
                    <a:pt x="0" y="7"/>
                  </a:cubicBezTo>
                  <a:cubicBezTo>
                    <a:pt x="0" y="11"/>
                    <a:pt x="4" y="14"/>
                    <a:pt x="8" y="15"/>
                  </a:cubicBezTo>
                  <a:cubicBezTo>
                    <a:pt x="12" y="14"/>
                    <a:pt x="15" y="11"/>
                    <a:pt x="15" y="7"/>
                  </a:cubicBezTo>
                  <a:cubicBezTo>
                    <a:pt x="15" y="3"/>
                    <a:pt x="12"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1033" name="Isosceles Triangle 49">
            <a:extLst>
              <a:ext uri="{FF2B5EF4-FFF2-40B4-BE49-F238E27FC236}">
                <a16:creationId xmlns:a16="http://schemas.microsoft.com/office/drawing/2014/main" id="{B4D19BFD-AC1A-4BEC-BBF2-C9A8214E833A}"/>
              </a:ext>
            </a:extLst>
          </p:cNvPr>
          <p:cNvSpPr/>
          <p:nvPr/>
        </p:nvSpPr>
        <p:spPr>
          <a:xfrm rot="5400000">
            <a:off x="8673134" y="2972058"/>
            <a:ext cx="216864" cy="18914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accent2">
              <a:alpha val="60000"/>
            </a:schemeClr>
          </a:solidFill>
          <a:ln>
            <a:no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grpSp>
        <p:nvGrpSpPr>
          <p:cNvPr id="761" name="Group 760">
            <a:extLst>
              <a:ext uri="{FF2B5EF4-FFF2-40B4-BE49-F238E27FC236}">
                <a16:creationId xmlns:a16="http://schemas.microsoft.com/office/drawing/2014/main" id="{23F0C01D-A845-43CB-8868-CBA5AA8C3FFD}"/>
              </a:ext>
            </a:extLst>
          </p:cNvPr>
          <p:cNvGrpSpPr/>
          <p:nvPr/>
        </p:nvGrpSpPr>
        <p:grpSpPr>
          <a:xfrm>
            <a:off x="6617307" y="2769934"/>
            <a:ext cx="1100926" cy="914496"/>
            <a:chOff x="6210534" y="2370075"/>
            <a:chExt cx="1582300" cy="1314355"/>
          </a:xfrm>
        </p:grpSpPr>
        <p:sp>
          <p:nvSpPr>
            <p:cNvPr id="774" name="Oval 773">
              <a:extLst>
                <a:ext uri="{FF2B5EF4-FFF2-40B4-BE49-F238E27FC236}">
                  <a16:creationId xmlns:a16="http://schemas.microsoft.com/office/drawing/2014/main" id="{7F0716BC-9E2D-4941-8DE3-99D8936898AE}"/>
                </a:ext>
              </a:extLst>
            </p:cNvPr>
            <p:cNvSpPr/>
            <p:nvPr/>
          </p:nvSpPr>
          <p:spPr>
            <a:xfrm>
              <a:off x="6498838" y="3016042"/>
              <a:ext cx="668388" cy="668388"/>
            </a:xfrm>
            <a:prstGeom prst="ellipse">
              <a:avLst/>
            </a:prstGeom>
            <a:solidFill>
              <a:schemeClr val="accent4">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5" name="Rectangle: Rounded Corners 774">
              <a:extLst>
                <a:ext uri="{FF2B5EF4-FFF2-40B4-BE49-F238E27FC236}">
                  <a16:creationId xmlns:a16="http://schemas.microsoft.com/office/drawing/2014/main" id="{CB06F9F1-B83A-4AD6-B793-85D0E4A02E13}"/>
                </a:ext>
              </a:extLst>
            </p:cNvPr>
            <p:cNvSpPr/>
            <p:nvPr/>
          </p:nvSpPr>
          <p:spPr>
            <a:xfrm>
              <a:off x="6350537" y="3212718"/>
              <a:ext cx="536054" cy="354587"/>
            </a:xfrm>
            <a:prstGeom prst="roundRect">
              <a:avLst/>
            </a:prstGeom>
            <a:noFill/>
            <a:ln>
              <a:solidFill>
                <a:schemeClr val="bg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pic>
          <p:nvPicPr>
            <p:cNvPr id="776" name="Picture 775" descr="A picture containing indoor, computer, electronics, desk&#10;&#10;Description automatically generated">
              <a:extLst>
                <a:ext uri="{FF2B5EF4-FFF2-40B4-BE49-F238E27FC236}">
                  <a16:creationId xmlns:a16="http://schemas.microsoft.com/office/drawing/2014/main" id="{121376C8-CE48-4C62-BDF8-A63256DD919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475612" y="2854989"/>
              <a:ext cx="986365" cy="795033"/>
            </a:xfrm>
            <a:prstGeom prst="rect">
              <a:avLst/>
            </a:prstGeom>
          </p:spPr>
        </p:pic>
        <p:sp>
          <p:nvSpPr>
            <p:cNvPr id="777" name="Rectangle: Rounded Corners 776">
              <a:extLst>
                <a:ext uri="{FF2B5EF4-FFF2-40B4-BE49-F238E27FC236}">
                  <a16:creationId xmlns:a16="http://schemas.microsoft.com/office/drawing/2014/main" id="{9C3040BB-4846-48A5-9DFF-66D1F8B2C84D}"/>
                </a:ext>
              </a:extLst>
            </p:cNvPr>
            <p:cNvSpPr/>
            <p:nvPr/>
          </p:nvSpPr>
          <p:spPr>
            <a:xfrm>
              <a:off x="7231915" y="3337077"/>
              <a:ext cx="410348" cy="184493"/>
            </a:xfrm>
            <a:prstGeom prst="roundRect">
              <a:avLst/>
            </a:prstGeom>
            <a:noFill/>
            <a:ln>
              <a:solidFill>
                <a:schemeClr val="accent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778" name="Freeform: Shape 777">
              <a:extLst>
                <a:ext uri="{FF2B5EF4-FFF2-40B4-BE49-F238E27FC236}">
                  <a16:creationId xmlns:a16="http://schemas.microsoft.com/office/drawing/2014/main" id="{B061A912-0777-45EA-9D1F-C89742421E2D}"/>
                </a:ext>
              </a:extLst>
            </p:cNvPr>
            <p:cNvSpPr/>
            <p:nvPr/>
          </p:nvSpPr>
          <p:spPr>
            <a:xfrm>
              <a:off x="6745475" y="2694290"/>
              <a:ext cx="1047359" cy="643505"/>
            </a:xfrm>
            <a:custGeom>
              <a:avLst/>
              <a:gdLst>
                <a:gd name="connsiteX0" fmla="*/ 0 w 842962"/>
                <a:gd name="connsiteY0" fmla="*/ 0 h 519113"/>
                <a:gd name="connsiteX1" fmla="*/ 781050 w 842962"/>
                <a:gd name="connsiteY1" fmla="*/ 33338 h 519113"/>
                <a:gd name="connsiteX2" fmla="*/ 842962 w 842962"/>
                <a:gd name="connsiteY2" fmla="*/ 464344 h 519113"/>
                <a:gd name="connsiteX3" fmla="*/ 50006 w 842962"/>
                <a:gd name="connsiteY3" fmla="*/ 519113 h 519113"/>
                <a:gd name="connsiteX4" fmla="*/ 0 w 842962"/>
                <a:gd name="connsiteY4" fmla="*/ 0 h 519113"/>
                <a:gd name="connsiteX0" fmla="*/ 0 w 842962"/>
                <a:gd name="connsiteY0" fmla="*/ 0 h 519113"/>
                <a:gd name="connsiteX1" fmla="*/ 47077 w 842962"/>
                <a:gd name="connsiteY1" fmla="*/ 0 h 519113"/>
                <a:gd name="connsiteX2" fmla="*/ 781050 w 842962"/>
                <a:gd name="connsiteY2" fmla="*/ 33338 h 519113"/>
                <a:gd name="connsiteX3" fmla="*/ 842962 w 842962"/>
                <a:gd name="connsiteY3" fmla="*/ 464344 h 519113"/>
                <a:gd name="connsiteX4" fmla="*/ 50006 w 842962"/>
                <a:gd name="connsiteY4" fmla="*/ 519113 h 519113"/>
                <a:gd name="connsiteX5" fmla="*/ 0 w 842962"/>
                <a:gd name="connsiteY5" fmla="*/ 0 h 519113"/>
                <a:gd name="connsiteX0" fmla="*/ 0 w 842962"/>
                <a:gd name="connsiteY0" fmla="*/ 0 h 519113"/>
                <a:gd name="connsiteX1" fmla="*/ 47077 w 842962"/>
                <a:gd name="connsiteY1" fmla="*/ 0 h 519113"/>
                <a:gd name="connsiteX2" fmla="*/ 781050 w 842962"/>
                <a:gd name="connsiteY2" fmla="*/ 33338 h 519113"/>
                <a:gd name="connsiteX3" fmla="*/ 842962 w 842962"/>
                <a:gd name="connsiteY3" fmla="*/ 464344 h 519113"/>
                <a:gd name="connsiteX4" fmla="*/ 50006 w 842962"/>
                <a:gd name="connsiteY4" fmla="*/ 519113 h 519113"/>
                <a:gd name="connsiteX5" fmla="*/ 2590 w 842962"/>
                <a:gd name="connsiteY5" fmla="*/ 43052 h 519113"/>
                <a:gd name="connsiteX6" fmla="*/ 0 w 842962"/>
                <a:gd name="connsiteY6" fmla="*/ 0 h 519113"/>
                <a:gd name="connsiteX0" fmla="*/ 0 w 842962"/>
                <a:gd name="connsiteY0" fmla="*/ 0 h 519113"/>
                <a:gd name="connsiteX1" fmla="*/ 47077 w 842962"/>
                <a:gd name="connsiteY1" fmla="*/ 0 h 519113"/>
                <a:gd name="connsiteX2" fmla="*/ 781050 w 842962"/>
                <a:gd name="connsiteY2" fmla="*/ 33338 h 519113"/>
                <a:gd name="connsiteX3" fmla="*/ 842962 w 842962"/>
                <a:gd name="connsiteY3" fmla="*/ 464344 h 519113"/>
                <a:gd name="connsiteX4" fmla="*/ 50006 w 842962"/>
                <a:gd name="connsiteY4" fmla="*/ 519113 h 519113"/>
                <a:gd name="connsiteX5" fmla="*/ 47077 w 842962"/>
                <a:gd name="connsiteY5" fmla="*/ 472133 h 519113"/>
                <a:gd name="connsiteX6" fmla="*/ 2590 w 842962"/>
                <a:gd name="connsiteY6" fmla="*/ 43052 h 519113"/>
                <a:gd name="connsiteX7" fmla="*/ 0 w 842962"/>
                <a:gd name="connsiteY7" fmla="*/ 0 h 519113"/>
                <a:gd name="connsiteX0" fmla="*/ 0 w 842962"/>
                <a:gd name="connsiteY0" fmla="*/ 0 h 519113"/>
                <a:gd name="connsiteX1" fmla="*/ 47077 w 842962"/>
                <a:gd name="connsiteY1" fmla="*/ 0 h 519113"/>
                <a:gd name="connsiteX2" fmla="*/ 781050 w 842962"/>
                <a:gd name="connsiteY2" fmla="*/ 33338 h 519113"/>
                <a:gd name="connsiteX3" fmla="*/ 842962 w 842962"/>
                <a:gd name="connsiteY3" fmla="*/ 464344 h 519113"/>
                <a:gd name="connsiteX4" fmla="*/ 87259 w 842962"/>
                <a:gd name="connsiteY4" fmla="*/ 516619 h 519113"/>
                <a:gd name="connsiteX5" fmla="*/ 50006 w 842962"/>
                <a:gd name="connsiteY5" fmla="*/ 519113 h 519113"/>
                <a:gd name="connsiteX6" fmla="*/ 47077 w 842962"/>
                <a:gd name="connsiteY6" fmla="*/ 472133 h 519113"/>
                <a:gd name="connsiteX7" fmla="*/ 2590 w 842962"/>
                <a:gd name="connsiteY7" fmla="*/ 43052 h 519113"/>
                <a:gd name="connsiteX8" fmla="*/ 0 w 842962"/>
                <a:gd name="connsiteY8" fmla="*/ 0 h 519113"/>
                <a:gd name="connsiteX0" fmla="*/ 0 w 842962"/>
                <a:gd name="connsiteY0" fmla="*/ 0 h 519113"/>
                <a:gd name="connsiteX1" fmla="*/ 47077 w 842962"/>
                <a:gd name="connsiteY1" fmla="*/ 0 h 519113"/>
                <a:gd name="connsiteX2" fmla="*/ 781050 w 842962"/>
                <a:gd name="connsiteY2" fmla="*/ 33338 h 519113"/>
                <a:gd name="connsiteX3" fmla="*/ 842962 w 842962"/>
                <a:gd name="connsiteY3" fmla="*/ 464344 h 519113"/>
                <a:gd name="connsiteX4" fmla="*/ 814831 w 842962"/>
                <a:gd name="connsiteY4" fmla="*/ 469263 h 519113"/>
                <a:gd name="connsiteX5" fmla="*/ 87259 w 842962"/>
                <a:gd name="connsiteY5" fmla="*/ 516619 h 519113"/>
                <a:gd name="connsiteX6" fmla="*/ 50006 w 842962"/>
                <a:gd name="connsiteY6" fmla="*/ 519113 h 519113"/>
                <a:gd name="connsiteX7" fmla="*/ 47077 w 842962"/>
                <a:gd name="connsiteY7" fmla="*/ 472133 h 519113"/>
                <a:gd name="connsiteX8" fmla="*/ 2590 w 842962"/>
                <a:gd name="connsiteY8" fmla="*/ 43052 h 519113"/>
                <a:gd name="connsiteX9" fmla="*/ 0 w 842962"/>
                <a:gd name="connsiteY9" fmla="*/ 0 h 519113"/>
                <a:gd name="connsiteX0" fmla="*/ 0 w 842962"/>
                <a:gd name="connsiteY0" fmla="*/ 0 h 519113"/>
                <a:gd name="connsiteX1" fmla="*/ 47077 w 842962"/>
                <a:gd name="connsiteY1" fmla="*/ 0 h 519113"/>
                <a:gd name="connsiteX2" fmla="*/ 781050 w 842962"/>
                <a:gd name="connsiteY2" fmla="*/ 33338 h 519113"/>
                <a:gd name="connsiteX3" fmla="*/ 839227 w 842962"/>
                <a:gd name="connsiteY3" fmla="*/ 429081 h 519113"/>
                <a:gd name="connsiteX4" fmla="*/ 842962 w 842962"/>
                <a:gd name="connsiteY4" fmla="*/ 464344 h 519113"/>
                <a:gd name="connsiteX5" fmla="*/ 814831 w 842962"/>
                <a:gd name="connsiteY5" fmla="*/ 469263 h 519113"/>
                <a:gd name="connsiteX6" fmla="*/ 87259 w 842962"/>
                <a:gd name="connsiteY6" fmla="*/ 516619 h 519113"/>
                <a:gd name="connsiteX7" fmla="*/ 50006 w 842962"/>
                <a:gd name="connsiteY7" fmla="*/ 519113 h 519113"/>
                <a:gd name="connsiteX8" fmla="*/ 47077 w 842962"/>
                <a:gd name="connsiteY8" fmla="*/ 472133 h 519113"/>
                <a:gd name="connsiteX9" fmla="*/ 2590 w 842962"/>
                <a:gd name="connsiteY9" fmla="*/ 43052 h 519113"/>
                <a:gd name="connsiteX10" fmla="*/ 0 w 842962"/>
                <a:gd name="connsiteY10" fmla="*/ 0 h 519113"/>
                <a:gd name="connsiteX0" fmla="*/ 0 w 842962"/>
                <a:gd name="connsiteY0" fmla="*/ 0 h 519113"/>
                <a:gd name="connsiteX1" fmla="*/ 47077 w 842962"/>
                <a:gd name="connsiteY1" fmla="*/ 0 h 519113"/>
                <a:gd name="connsiteX2" fmla="*/ 781050 w 842962"/>
                <a:gd name="connsiteY2" fmla="*/ 33338 h 519113"/>
                <a:gd name="connsiteX3" fmla="*/ 784695 w 842962"/>
                <a:gd name="connsiteY3" fmla="*/ 60272 h 519113"/>
                <a:gd name="connsiteX4" fmla="*/ 839227 w 842962"/>
                <a:gd name="connsiteY4" fmla="*/ 429081 h 519113"/>
                <a:gd name="connsiteX5" fmla="*/ 842962 w 842962"/>
                <a:gd name="connsiteY5" fmla="*/ 464344 h 519113"/>
                <a:gd name="connsiteX6" fmla="*/ 814831 w 842962"/>
                <a:gd name="connsiteY6" fmla="*/ 469263 h 519113"/>
                <a:gd name="connsiteX7" fmla="*/ 87259 w 842962"/>
                <a:gd name="connsiteY7" fmla="*/ 516619 h 519113"/>
                <a:gd name="connsiteX8" fmla="*/ 50006 w 842962"/>
                <a:gd name="connsiteY8" fmla="*/ 519113 h 519113"/>
                <a:gd name="connsiteX9" fmla="*/ 47077 w 842962"/>
                <a:gd name="connsiteY9" fmla="*/ 472133 h 519113"/>
                <a:gd name="connsiteX10" fmla="*/ 2590 w 842962"/>
                <a:gd name="connsiteY10" fmla="*/ 43052 h 519113"/>
                <a:gd name="connsiteX11" fmla="*/ 0 w 842962"/>
                <a:gd name="connsiteY11" fmla="*/ 0 h 519113"/>
                <a:gd name="connsiteX0" fmla="*/ 0 w 842962"/>
                <a:gd name="connsiteY0" fmla="*/ 0 h 519113"/>
                <a:gd name="connsiteX1" fmla="*/ 47077 w 842962"/>
                <a:gd name="connsiteY1" fmla="*/ 0 h 519113"/>
                <a:gd name="connsiteX2" fmla="*/ 757429 w 842962"/>
                <a:gd name="connsiteY2" fmla="*/ 30136 h 519113"/>
                <a:gd name="connsiteX3" fmla="*/ 781050 w 842962"/>
                <a:gd name="connsiteY3" fmla="*/ 33338 h 519113"/>
                <a:gd name="connsiteX4" fmla="*/ 784695 w 842962"/>
                <a:gd name="connsiteY4" fmla="*/ 60272 h 519113"/>
                <a:gd name="connsiteX5" fmla="*/ 839227 w 842962"/>
                <a:gd name="connsiteY5" fmla="*/ 429081 h 519113"/>
                <a:gd name="connsiteX6" fmla="*/ 842962 w 842962"/>
                <a:gd name="connsiteY6" fmla="*/ 464344 h 519113"/>
                <a:gd name="connsiteX7" fmla="*/ 814831 w 842962"/>
                <a:gd name="connsiteY7" fmla="*/ 469263 h 519113"/>
                <a:gd name="connsiteX8" fmla="*/ 87259 w 842962"/>
                <a:gd name="connsiteY8" fmla="*/ 516619 h 519113"/>
                <a:gd name="connsiteX9" fmla="*/ 50006 w 842962"/>
                <a:gd name="connsiteY9" fmla="*/ 519113 h 519113"/>
                <a:gd name="connsiteX10" fmla="*/ 47077 w 842962"/>
                <a:gd name="connsiteY10" fmla="*/ 472133 h 519113"/>
                <a:gd name="connsiteX11" fmla="*/ 2590 w 842962"/>
                <a:gd name="connsiteY11" fmla="*/ 43052 h 519113"/>
                <a:gd name="connsiteX12" fmla="*/ 0 w 842962"/>
                <a:gd name="connsiteY12" fmla="*/ 0 h 519113"/>
                <a:gd name="connsiteX0" fmla="*/ 0 w 840372"/>
                <a:gd name="connsiteY0" fmla="*/ 43052 h 519113"/>
                <a:gd name="connsiteX1" fmla="*/ 44487 w 840372"/>
                <a:gd name="connsiteY1" fmla="*/ 0 h 519113"/>
                <a:gd name="connsiteX2" fmla="*/ 754839 w 840372"/>
                <a:gd name="connsiteY2" fmla="*/ 30136 h 519113"/>
                <a:gd name="connsiteX3" fmla="*/ 778460 w 840372"/>
                <a:gd name="connsiteY3" fmla="*/ 33338 h 519113"/>
                <a:gd name="connsiteX4" fmla="*/ 782105 w 840372"/>
                <a:gd name="connsiteY4" fmla="*/ 60272 h 519113"/>
                <a:gd name="connsiteX5" fmla="*/ 836637 w 840372"/>
                <a:gd name="connsiteY5" fmla="*/ 429081 h 519113"/>
                <a:gd name="connsiteX6" fmla="*/ 840372 w 840372"/>
                <a:gd name="connsiteY6" fmla="*/ 464344 h 519113"/>
                <a:gd name="connsiteX7" fmla="*/ 812241 w 840372"/>
                <a:gd name="connsiteY7" fmla="*/ 469263 h 519113"/>
                <a:gd name="connsiteX8" fmla="*/ 84669 w 840372"/>
                <a:gd name="connsiteY8" fmla="*/ 516619 h 519113"/>
                <a:gd name="connsiteX9" fmla="*/ 47416 w 840372"/>
                <a:gd name="connsiteY9" fmla="*/ 519113 h 519113"/>
                <a:gd name="connsiteX10" fmla="*/ 44487 w 840372"/>
                <a:gd name="connsiteY10" fmla="*/ 472133 h 519113"/>
                <a:gd name="connsiteX11" fmla="*/ 0 w 840372"/>
                <a:gd name="connsiteY11" fmla="*/ 43052 h 519113"/>
                <a:gd name="connsiteX0" fmla="*/ 0 w 840372"/>
                <a:gd name="connsiteY0" fmla="*/ 43052 h 516619"/>
                <a:gd name="connsiteX1" fmla="*/ 44487 w 840372"/>
                <a:gd name="connsiteY1" fmla="*/ 0 h 516619"/>
                <a:gd name="connsiteX2" fmla="*/ 754839 w 840372"/>
                <a:gd name="connsiteY2" fmla="*/ 30136 h 516619"/>
                <a:gd name="connsiteX3" fmla="*/ 778460 w 840372"/>
                <a:gd name="connsiteY3" fmla="*/ 33338 h 516619"/>
                <a:gd name="connsiteX4" fmla="*/ 782105 w 840372"/>
                <a:gd name="connsiteY4" fmla="*/ 60272 h 516619"/>
                <a:gd name="connsiteX5" fmla="*/ 836637 w 840372"/>
                <a:gd name="connsiteY5" fmla="*/ 429081 h 516619"/>
                <a:gd name="connsiteX6" fmla="*/ 840372 w 840372"/>
                <a:gd name="connsiteY6" fmla="*/ 464344 h 516619"/>
                <a:gd name="connsiteX7" fmla="*/ 812241 w 840372"/>
                <a:gd name="connsiteY7" fmla="*/ 469263 h 516619"/>
                <a:gd name="connsiteX8" fmla="*/ 84669 w 840372"/>
                <a:gd name="connsiteY8" fmla="*/ 516619 h 516619"/>
                <a:gd name="connsiteX9" fmla="*/ 44487 w 840372"/>
                <a:gd name="connsiteY9" fmla="*/ 472133 h 516619"/>
                <a:gd name="connsiteX10" fmla="*/ 0 w 840372"/>
                <a:gd name="connsiteY10" fmla="*/ 43052 h 516619"/>
                <a:gd name="connsiteX0" fmla="*/ 0 w 840372"/>
                <a:gd name="connsiteY0" fmla="*/ 43052 h 516619"/>
                <a:gd name="connsiteX1" fmla="*/ 44487 w 840372"/>
                <a:gd name="connsiteY1" fmla="*/ 0 h 516619"/>
                <a:gd name="connsiteX2" fmla="*/ 754839 w 840372"/>
                <a:gd name="connsiteY2" fmla="*/ 30136 h 516619"/>
                <a:gd name="connsiteX3" fmla="*/ 782105 w 840372"/>
                <a:gd name="connsiteY3" fmla="*/ 60272 h 516619"/>
                <a:gd name="connsiteX4" fmla="*/ 836637 w 840372"/>
                <a:gd name="connsiteY4" fmla="*/ 429081 h 516619"/>
                <a:gd name="connsiteX5" fmla="*/ 840372 w 840372"/>
                <a:gd name="connsiteY5" fmla="*/ 464344 h 516619"/>
                <a:gd name="connsiteX6" fmla="*/ 812241 w 840372"/>
                <a:gd name="connsiteY6" fmla="*/ 469263 h 516619"/>
                <a:gd name="connsiteX7" fmla="*/ 84669 w 840372"/>
                <a:gd name="connsiteY7" fmla="*/ 516619 h 516619"/>
                <a:gd name="connsiteX8" fmla="*/ 44487 w 840372"/>
                <a:gd name="connsiteY8" fmla="*/ 472133 h 516619"/>
                <a:gd name="connsiteX9" fmla="*/ 0 w 840372"/>
                <a:gd name="connsiteY9" fmla="*/ 43052 h 516619"/>
                <a:gd name="connsiteX0" fmla="*/ 0 w 836637"/>
                <a:gd name="connsiteY0" fmla="*/ 43052 h 516619"/>
                <a:gd name="connsiteX1" fmla="*/ 44487 w 836637"/>
                <a:gd name="connsiteY1" fmla="*/ 0 h 516619"/>
                <a:gd name="connsiteX2" fmla="*/ 754839 w 836637"/>
                <a:gd name="connsiteY2" fmla="*/ 30136 h 516619"/>
                <a:gd name="connsiteX3" fmla="*/ 782105 w 836637"/>
                <a:gd name="connsiteY3" fmla="*/ 60272 h 516619"/>
                <a:gd name="connsiteX4" fmla="*/ 836637 w 836637"/>
                <a:gd name="connsiteY4" fmla="*/ 429081 h 516619"/>
                <a:gd name="connsiteX5" fmla="*/ 812241 w 836637"/>
                <a:gd name="connsiteY5" fmla="*/ 469263 h 516619"/>
                <a:gd name="connsiteX6" fmla="*/ 84669 w 836637"/>
                <a:gd name="connsiteY6" fmla="*/ 516619 h 516619"/>
                <a:gd name="connsiteX7" fmla="*/ 44487 w 836637"/>
                <a:gd name="connsiteY7" fmla="*/ 472133 h 516619"/>
                <a:gd name="connsiteX8" fmla="*/ 0 w 836637"/>
                <a:gd name="connsiteY8" fmla="*/ 43052 h 516619"/>
                <a:gd name="connsiteX0" fmla="*/ 0 w 836637"/>
                <a:gd name="connsiteY0" fmla="*/ 43101 h 516668"/>
                <a:gd name="connsiteX1" fmla="*/ 44487 w 836637"/>
                <a:gd name="connsiteY1" fmla="*/ 49 h 516668"/>
                <a:gd name="connsiteX2" fmla="*/ 754839 w 836637"/>
                <a:gd name="connsiteY2" fmla="*/ 30185 h 516668"/>
                <a:gd name="connsiteX3" fmla="*/ 782105 w 836637"/>
                <a:gd name="connsiteY3" fmla="*/ 60321 h 516668"/>
                <a:gd name="connsiteX4" fmla="*/ 836637 w 836637"/>
                <a:gd name="connsiteY4" fmla="*/ 429130 h 516668"/>
                <a:gd name="connsiteX5" fmla="*/ 812241 w 836637"/>
                <a:gd name="connsiteY5" fmla="*/ 469312 h 516668"/>
                <a:gd name="connsiteX6" fmla="*/ 84669 w 836637"/>
                <a:gd name="connsiteY6" fmla="*/ 516668 h 516668"/>
                <a:gd name="connsiteX7" fmla="*/ 44487 w 836637"/>
                <a:gd name="connsiteY7" fmla="*/ 472182 h 516668"/>
                <a:gd name="connsiteX8" fmla="*/ 0 w 836637"/>
                <a:gd name="connsiteY8" fmla="*/ 43101 h 516668"/>
                <a:gd name="connsiteX0" fmla="*/ 189 w 836826"/>
                <a:gd name="connsiteY0" fmla="*/ 43149 h 516716"/>
                <a:gd name="connsiteX1" fmla="*/ 44676 w 836826"/>
                <a:gd name="connsiteY1" fmla="*/ 97 h 516716"/>
                <a:gd name="connsiteX2" fmla="*/ 755028 w 836826"/>
                <a:gd name="connsiteY2" fmla="*/ 30233 h 516716"/>
                <a:gd name="connsiteX3" fmla="*/ 782294 w 836826"/>
                <a:gd name="connsiteY3" fmla="*/ 60369 h 516716"/>
                <a:gd name="connsiteX4" fmla="*/ 836826 w 836826"/>
                <a:gd name="connsiteY4" fmla="*/ 429178 h 516716"/>
                <a:gd name="connsiteX5" fmla="*/ 812430 w 836826"/>
                <a:gd name="connsiteY5" fmla="*/ 469360 h 516716"/>
                <a:gd name="connsiteX6" fmla="*/ 84858 w 836826"/>
                <a:gd name="connsiteY6" fmla="*/ 516716 h 516716"/>
                <a:gd name="connsiteX7" fmla="*/ 44676 w 836826"/>
                <a:gd name="connsiteY7" fmla="*/ 472230 h 516716"/>
                <a:gd name="connsiteX8" fmla="*/ 189 w 836826"/>
                <a:gd name="connsiteY8" fmla="*/ 43149 h 516716"/>
                <a:gd name="connsiteX0" fmla="*/ 189 w 836826"/>
                <a:gd name="connsiteY0" fmla="*/ 43149 h 516716"/>
                <a:gd name="connsiteX1" fmla="*/ 44676 w 836826"/>
                <a:gd name="connsiteY1" fmla="*/ 97 h 516716"/>
                <a:gd name="connsiteX2" fmla="*/ 755028 w 836826"/>
                <a:gd name="connsiteY2" fmla="*/ 30233 h 516716"/>
                <a:gd name="connsiteX3" fmla="*/ 782294 w 836826"/>
                <a:gd name="connsiteY3" fmla="*/ 60369 h 516716"/>
                <a:gd name="connsiteX4" fmla="*/ 836826 w 836826"/>
                <a:gd name="connsiteY4" fmla="*/ 429178 h 516716"/>
                <a:gd name="connsiteX5" fmla="*/ 812430 w 836826"/>
                <a:gd name="connsiteY5" fmla="*/ 469360 h 516716"/>
                <a:gd name="connsiteX6" fmla="*/ 84858 w 836826"/>
                <a:gd name="connsiteY6" fmla="*/ 516716 h 516716"/>
                <a:gd name="connsiteX7" fmla="*/ 44676 w 836826"/>
                <a:gd name="connsiteY7" fmla="*/ 472230 h 516716"/>
                <a:gd name="connsiteX8" fmla="*/ 189 w 836826"/>
                <a:gd name="connsiteY8" fmla="*/ 43149 h 516716"/>
                <a:gd name="connsiteX0" fmla="*/ 189 w 836826"/>
                <a:gd name="connsiteY0" fmla="*/ 43149 h 513846"/>
                <a:gd name="connsiteX1" fmla="*/ 44676 w 836826"/>
                <a:gd name="connsiteY1" fmla="*/ 97 h 513846"/>
                <a:gd name="connsiteX2" fmla="*/ 755028 w 836826"/>
                <a:gd name="connsiteY2" fmla="*/ 30233 h 513846"/>
                <a:gd name="connsiteX3" fmla="*/ 782294 w 836826"/>
                <a:gd name="connsiteY3" fmla="*/ 60369 h 513846"/>
                <a:gd name="connsiteX4" fmla="*/ 836826 w 836826"/>
                <a:gd name="connsiteY4" fmla="*/ 429178 h 513846"/>
                <a:gd name="connsiteX5" fmla="*/ 812430 w 836826"/>
                <a:gd name="connsiteY5" fmla="*/ 469360 h 513846"/>
                <a:gd name="connsiteX6" fmla="*/ 99208 w 836826"/>
                <a:gd name="connsiteY6" fmla="*/ 513846 h 513846"/>
                <a:gd name="connsiteX7" fmla="*/ 44676 w 836826"/>
                <a:gd name="connsiteY7" fmla="*/ 472230 h 513846"/>
                <a:gd name="connsiteX8" fmla="*/ 189 w 836826"/>
                <a:gd name="connsiteY8" fmla="*/ 43149 h 513846"/>
                <a:gd name="connsiteX0" fmla="*/ 189 w 836826"/>
                <a:gd name="connsiteY0" fmla="*/ 43149 h 514654"/>
                <a:gd name="connsiteX1" fmla="*/ 44676 w 836826"/>
                <a:gd name="connsiteY1" fmla="*/ 97 h 514654"/>
                <a:gd name="connsiteX2" fmla="*/ 755028 w 836826"/>
                <a:gd name="connsiteY2" fmla="*/ 30233 h 514654"/>
                <a:gd name="connsiteX3" fmla="*/ 782294 w 836826"/>
                <a:gd name="connsiteY3" fmla="*/ 60369 h 514654"/>
                <a:gd name="connsiteX4" fmla="*/ 836826 w 836826"/>
                <a:gd name="connsiteY4" fmla="*/ 429178 h 514654"/>
                <a:gd name="connsiteX5" fmla="*/ 812430 w 836826"/>
                <a:gd name="connsiteY5" fmla="*/ 469360 h 514654"/>
                <a:gd name="connsiteX6" fmla="*/ 99208 w 836826"/>
                <a:gd name="connsiteY6" fmla="*/ 513846 h 514654"/>
                <a:gd name="connsiteX7" fmla="*/ 44676 w 836826"/>
                <a:gd name="connsiteY7" fmla="*/ 472230 h 514654"/>
                <a:gd name="connsiteX8" fmla="*/ 189 w 836826"/>
                <a:gd name="connsiteY8" fmla="*/ 43149 h 514654"/>
                <a:gd name="connsiteX0" fmla="*/ 189 w 836826"/>
                <a:gd name="connsiteY0" fmla="*/ 43149 h 514654"/>
                <a:gd name="connsiteX1" fmla="*/ 44676 w 836826"/>
                <a:gd name="connsiteY1" fmla="*/ 97 h 514654"/>
                <a:gd name="connsiteX2" fmla="*/ 755028 w 836826"/>
                <a:gd name="connsiteY2" fmla="*/ 30233 h 514654"/>
                <a:gd name="connsiteX3" fmla="*/ 782294 w 836826"/>
                <a:gd name="connsiteY3" fmla="*/ 60369 h 514654"/>
                <a:gd name="connsiteX4" fmla="*/ 836826 w 836826"/>
                <a:gd name="connsiteY4" fmla="*/ 429178 h 514654"/>
                <a:gd name="connsiteX5" fmla="*/ 812430 w 836826"/>
                <a:gd name="connsiteY5" fmla="*/ 469360 h 514654"/>
                <a:gd name="connsiteX6" fmla="*/ 99208 w 836826"/>
                <a:gd name="connsiteY6" fmla="*/ 513846 h 514654"/>
                <a:gd name="connsiteX7" fmla="*/ 44676 w 836826"/>
                <a:gd name="connsiteY7" fmla="*/ 472230 h 514654"/>
                <a:gd name="connsiteX8" fmla="*/ 189 w 836826"/>
                <a:gd name="connsiteY8" fmla="*/ 43149 h 514654"/>
                <a:gd name="connsiteX0" fmla="*/ 189 w 837643"/>
                <a:gd name="connsiteY0" fmla="*/ 43149 h 514654"/>
                <a:gd name="connsiteX1" fmla="*/ 44676 w 837643"/>
                <a:gd name="connsiteY1" fmla="*/ 97 h 514654"/>
                <a:gd name="connsiteX2" fmla="*/ 755028 w 837643"/>
                <a:gd name="connsiteY2" fmla="*/ 30233 h 514654"/>
                <a:gd name="connsiteX3" fmla="*/ 782294 w 837643"/>
                <a:gd name="connsiteY3" fmla="*/ 60369 h 514654"/>
                <a:gd name="connsiteX4" fmla="*/ 836826 w 837643"/>
                <a:gd name="connsiteY4" fmla="*/ 429178 h 514654"/>
                <a:gd name="connsiteX5" fmla="*/ 812430 w 837643"/>
                <a:gd name="connsiteY5" fmla="*/ 469360 h 514654"/>
                <a:gd name="connsiteX6" fmla="*/ 99208 w 837643"/>
                <a:gd name="connsiteY6" fmla="*/ 513846 h 514654"/>
                <a:gd name="connsiteX7" fmla="*/ 44676 w 837643"/>
                <a:gd name="connsiteY7" fmla="*/ 472230 h 514654"/>
                <a:gd name="connsiteX8" fmla="*/ 189 w 837643"/>
                <a:gd name="connsiteY8" fmla="*/ 43149 h 514654"/>
                <a:gd name="connsiteX0" fmla="*/ 189 w 837643"/>
                <a:gd name="connsiteY0" fmla="*/ 43149 h 514654"/>
                <a:gd name="connsiteX1" fmla="*/ 44676 w 837643"/>
                <a:gd name="connsiteY1" fmla="*/ 97 h 514654"/>
                <a:gd name="connsiteX2" fmla="*/ 755028 w 837643"/>
                <a:gd name="connsiteY2" fmla="*/ 30233 h 514654"/>
                <a:gd name="connsiteX3" fmla="*/ 782294 w 837643"/>
                <a:gd name="connsiteY3" fmla="*/ 60369 h 514654"/>
                <a:gd name="connsiteX4" fmla="*/ 836826 w 837643"/>
                <a:gd name="connsiteY4" fmla="*/ 429178 h 514654"/>
                <a:gd name="connsiteX5" fmla="*/ 812430 w 837643"/>
                <a:gd name="connsiteY5" fmla="*/ 469360 h 514654"/>
                <a:gd name="connsiteX6" fmla="*/ 99208 w 837643"/>
                <a:gd name="connsiteY6" fmla="*/ 513846 h 514654"/>
                <a:gd name="connsiteX7" fmla="*/ 44676 w 837643"/>
                <a:gd name="connsiteY7" fmla="*/ 472230 h 514654"/>
                <a:gd name="connsiteX8" fmla="*/ 189 w 837643"/>
                <a:gd name="connsiteY8" fmla="*/ 43149 h 514654"/>
                <a:gd name="connsiteX0" fmla="*/ 189 w 837643"/>
                <a:gd name="connsiteY0" fmla="*/ 43149 h 514654"/>
                <a:gd name="connsiteX1" fmla="*/ 44676 w 837643"/>
                <a:gd name="connsiteY1" fmla="*/ 97 h 514654"/>
                <a:gd name="connsiteX2" fmla="*/ 755028 w 837643"/>
                <a:gd name="connsiteY2" fmla="*/ 30233 h 514654"/>
                <a:gd name="connsiteX3" fmla="*/ 782294 w 837643"/>
                <a:gd name="connsiteY3" fmla="*/ 60369 h 514654"/>
                <a:gd name="connsiteX4" fmla="*/ 836826 w 837643"/>
                <a:gd name="connsiteY4" fmla="*/ 429178 h 514654"/>
                <a:gd name="connsiteX5" fmla="*/ 812430 w 837643"/>
                <a:gd name="connsiteY5" fmla="*/ 469360 h 514654"/>
                <a:gd name="connsiteX6" fmla="*/ 99208 w 837643"/>
                <a:gd name="connsiteY6" fmla="*/ 513846 h 514654"/>
                <a:gd name="connsiteX7" fmla="*/ 44676 w 837643"/>
                <a:gd name="connsiteY7" fmla="*/ 472230 h 514654"/>
                <a:gd name="connsiteX8" fmla="*/ 189 w 837643"/>
                <a:gd name="connsiteY8" fmla="*/ 43149 h 514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7643" h="514654">
                  <a:moveTo>
                    <a:pt x="189" y="43149"/>
                  </a:moveTo>
                  <a:cubicBezTo>
                    <a:pt x="-2203" y="13012"/>
                    <a:pt x="18367" y="-1338"/>
                    <a:pt x="44676" y="97"/>
                  </a:cubicBezTo>
                  <a:lnTo>
                    <a:pt x="755028" y="30233"/>
                  </a:lnTo>
                  <a:cubicBezTo>
                    <a:pt x="775597" y="31668"/>
                    <a:pt x="780380" y="38844"/>
                    <a:pt x="782294" y="60369"/>
                  </a:cubicBezTo>
                  <a:lnTo>
                    <a:pt x="836826" y="429178"/>
                  </a:lnTo>
                  <a:cubicBezTo>
                    <a:pt x="840174" y="455488"/>
                    <a:pt x="833477" y="466011"/>
                    <a:pt x="812430" y="469360"/>
                  </a:cubicBezTo>
                  <a:lnTo>
                    <a:pt x="99208" y="513846"/>
                  </a:lnTo>
                  <a:cubicBezTo>
                    <a:pt x="71464" y="517673"/>
                    <a:pt x="49460" y="508585"/>
                    <a:pt x="44676" y="472230"/>
                  </a:cubicBezTo>
                  <a:lnTo>
                    <a:pt x="189" y="43149"/>
                  </a:lnTo>
                  <a:close/>
                </a:path>
              </a:pathLst>
            </a:custGeom>
            <a:solidFill>
              <a:schemeClr val="accent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9" name="Freeform: Shape 778">
              <a:extLst>
                <a:ext uri="{FF2B5EF4-FFF2-40B4-BE49-F238E27FC236}">
                  <a16:creationId xmlns:a16="http://schemas.microsoft.com/office/drawing/2014/main" id="{8C1CC0F9-9DAE-4C3D-A09A-191A13666112}"/>
                </a:ext>
              </a:extLst>
            </p:cNvPr>
            <p:cNvSpPr/>
            <p:nvPr/>
          </p:nvSpPr>
          <p:spPr>
            <a:xfrm>
              <a:off x="6210534" y="2370075"/>
              <a:ext cx="1352114" cy="830749"/>
            </a:xfrm>
            <a:custGeom>
              <a:avLst/>
              <a:gdLst>
                <a:gd name="connsiteX0" fmla="*/ 0 w 842962"/>
                <a:gd name="connsiteY0" fmla="*/ 0 h 519113"/>
                <a:gd name="connsiteX1" fmla="*/ 781050 w 842962"/>
                <a:gd name="connsiteY1" fmla="*/ 33338 h 519113"/>
                <a:gd name="connsiteX2" fmla="*/ 842962 w 842962"/>
                <a:gd name="connsiteY2" fmla="*/ 464344 h 519113"/>
                <a:gd name="connsiteX3" fmla="*/ 50006 w 842962"/>
                <a:gd name="connsiteY3" fmla="*/ 519113 h 519113"/>
                <a:gd name="connsiteX4" fmla="*/ 0 w 842962"/>
                <a:gd name="connsiteY4" fmla="*/ 0 h 519113"/>
                <a:gd name="connsiteX0" fmla="*/ 0 w 842962"/>
                <a:gd name="connsiteY0" fmla="*/ 0 h 519113"/>
                <a:gd name="connsiteX1" fmla="*/ 47077 w 842962"/>
                <a:gd name="connsiteY1" fmla="*/ 0 h 519113"/>
                <a:gd name="connsiteX2" fmla="*/ 781050 w 842962"/>
                <a:gd name="connsiteY2" fmla="*/ 33338 h 519113"/>
                <a:gd name="connsiteX3" fmla="*/ 842962 w 842962"/>
                <a:gd name="connsiteY3" fmla="*/ 464344 h 519113"/>
                <a:gd name="connsiteX4" fmla="*/ 50006 w 842962"/>
                <a:gd name="connsiteY4" fmla="*/ 519113 h 519113"/>
                <a:gd name="connsiteX5" fmla="*/ 0 w 842962"/>
                <a:gd name="connsiteY5" fmla="*/ 0 h 519113"/>
                <a:gd name="connsiteX0" fmla="*/ 0 w 842962"/>
                <a:gd name="connsiteY0" fmla="*/ 0 h 519113"/>
                <a:gd name="connsiteX1" fmla="*/ 47077 w 842962"/>
                <a:gd name="connsiteY1" fmla="*/ 0 h 519113"/>
                <a:gd name="connsiteX2" fmla="*/ 781050 w 842962"/>
                <a:gd name="connsiteY2" fmla="*/ 33338 h 519113"/>
                <a:gd name="connsiteX3" fmla="*/ 842962 w 842962"/>
                <a:gd name="connsiteY3" fmla="*/ 464344 h 519113"/>
                <a:gd name="connsiteX4" fmla="*/ 50006 w 842962"/>
                <a:gd name="connsiteY4" fmla="*/ 519113 h 519113"/>
                <a:gd name="connsiteX5" fmla="*/ 2590 w 842962"/>
                <a:gd name="connsiteY5" fmla="*/ 43052 h 519113"/>
                <a:gd name="connsiteX6" fmla="*/ 0 w 842962"/>
                <a:gd name="connsiteY6" fmla="*/ 0 h 519113"/>
                <a:gd name="connsiteX0" fmla="*/ 0 w 842962"/>
                <a:gd name="connsiteY0" fmla="*/ 0 h 519113"/>
                <a:gd name="connsiteX1" fmla="*/ 47077 w 842962"/>
                <a:gd name="connsiteY1" fmla="*/ 0 h 519113"/>
                <a:gd name="connsiteX2" fmla="*/ 781050 w 842962"/>
                <a:gd name="connsiteY2" fmla="*/ 33338 h 519113"/>
                <a:gd name="connsiteX3" fmla="*/ 842962 w 842962"/>
                <a:gd name="connsiteY3" fmla="*/ 464344 h 519113"/>
                <a:gd name="connsiteX4" fmla="*/ 50006 w 842962"/>
                <a:gd name="connsiteY4" fmla="*/ 519113 h 519113"/>
                <a:gd name="connsiteX5" fmla="*/ 47077 w 842962"/>
                <a:gd name="connsiteY5" fmla="*/ 472133 h 519113"/>
                <a:gd name="connsiteX6" fmla="*/ 2590 w 842962"/>
                <a:gd name="connsiteY6" fmla="*/ 43052 h 519113"/>
                <a:gd name="connsiteX7" fmla="*/ 0 w 842962"/>
                <a:gd name="connsiteY7" fmla="*/ 0 h 519113"/>
                <a:gd name="connsiteX0" fmla="*/ 0 w 842962"/>
                <a:gd name="connsiteY0" fmla="*/ 0 h 519113"/>
                <a:gd name="connsiteX1" fmla="*/ 47077 w 842962"/>
                <a:gd name="connsiteY1" fmla="*/ 0 h 519113"/>
                <a:gd name="connsiteX2" fmla="*/ 781050 w 842962"/>
                <a:gd name="connsiteY2" fmla="*/ 33338 h 519113"/>
                <a:gd name="connsiteX3" fmla="*/ 842962 w 842962"/>
                <a:gd name="connsiteY3" fmla="*/ 464344 h 519113"/>
                <a:gd name="connsiteX4" fmla="*/ 87259 w 842962"/>
                <a:gd name="connsiteY4" fmla="*/ 516619 h 519113"/>
                <a:gd name="connsiteX5" fmla="*/ 50006 w 842962"/>
                <a:gd name="connsiteY5" fmla="*/ 519113 h 519113"/>
                <a:gd name="connsiteX6" fmla="*/ 47077 w 842962"/>
                <a:gd name="connsiteY6" fmla="*/ 472133 h 519113"/>
                <a:gd name="connsiteX7" fmla="*/ 2590 w 842962"/>
                <a:gd name="connsiteY7" fmla="*/ 43052 h 519113"/>
                <a:gd name="connsiteX8" fmla="*/ 0 w 842962"/>
                <a:gd name="connsiteY8" fmla="*/ 0 h 519113"/>
                <a:gd name="connsiteX0" fmla="*/ 0 w 842962"/>
                <a:gd name="connsiteY0" fmla="*/ 0 h 519113"/>
                <a:gd name="connsiteX1" fmla="*/ 47077 w 842962"/>
                <a:gd name="connsiteY1" fmla="*/ 0 h 519113"/>
                <a:gd name="connsiteX2" fmla="*/ 781050 w 842962"/>
                <a:gd name="connsiteY2" fmla="*/ 33338 h 519113"/>
                <a:gd name="connsiteX3" fmla="*/ 842962 w 842962"/>
                <a:gd name="connsiteY3" fmla="*/ 464344 h 519113"/>
                <a:gd name="connsiteX4" fmla="*/ 814831 w 842962"/>
                <a:gd name="connsiteY4" fmla="*/ 469263 h 519113"/>
                <a:gd name="connsiteX5" fmla="*/ 87259 w 842962"/>
                <a:gd name="connsiteY5" fmla="*/ 516619 h 519113"/>
                <a:gd name="connsiteX6" fmla="*/ 50006 w 842962"/>
                <a:gd name="connsiteY6" fmla="*/ 519113 h 519113"/>
                <a:gd name="connsiteX7" fmla="*/ 47077 w 842962"/>
                <a:gd name="connsiteY7" fmla="*/ 472133 h 519113"/>
                <a:gd name="connsiteX8" fmla="*/ 2590 w 842962"/>
                <a:gd name="connsiteY8" fmla="*/ 43052 h 519113"/>
                <a:gd name="connsiteX9" fmla="*/ 0 w 842962"/>
                <a:gd name="connsiteY9" fmla="*/ 0 h 519113"/>
                <a:gd name="connsiteX0" fmla="*/ 0 w 842962"/>
                <a:gd name="connsiteY0" fmla="*/ 0 h 519113"/>
                <a:gd name="connsiteX1" fmla="*/ 47077 w 842962"/>
                <a:gd name="connsiteY1" fmla="*/ 0 h 519113"/>
                <a:gd name="connsiteX2" fmla="*/ 781050 w 842962"/>
                <a:gd name="connsiteY2" fmla="*/ 33338 h 519113"/>
                <a:gd name="connsiteX3" fmla="*/ 839227 w 842962"/>
                <a:gd name="connsiteY3" fmla="*/ 429081 h 519113"/>
                <a:gd name="connsiteX4" fmla="*/ 842962 w 842962"/>
                <a:gd name="connsiteY4" fmla="*/ 464344 h 519113"/>
                <a:gd name="connsiteX5" fmla="*/ 814831 w 842962"/>
                <a:gd name="connsiteY5" fmla="*/ 469263 h 519113"/>
                <a:gd name="connsiteX6" fmla="*/ 87259 w 842962"/>
                <a:gd name="connsiteY6" fmla="*/ 516619 h 519113"/>
                <a:gd name="connsiteX7" fmla="*/ 50006 w 842962"/>
                <a:gd name="connsiteY7" fmla="*/ 519113 h 519113"/>
                <a:gd name="connsiteX8" fmla="*/ 47077 w 842962"/>
                <a:gd name="connsiteY8" fmla="*/ 472133 h 519113"/>
                <a:gd name="connsiteX9" fmla="*/ 2590 w 842962"/>
                <a:gd name="connsiteY9" fmla="*/ 43052 h 519113"/>
                <a:gd name="connsiteX10" fmla="*/ 0 w 842962"/>
                <a:gd name="connsiteY10" fmla="*/ 0 h 519113"/>
                <a:gd name="connsiteX0" fmla="*/ 0 w 842962"/>
                <a:gd name="connsiteY0" fmla="*/ 0 h 519113"/>
                <a:gd name="connsiteX1" fmla="*/ 47077 w 842962"/>
                <a:gd name="connsiteY1" fmla="*/ 0 h 519113"/>
                <a:gd name="connsiteX2" fmla="*/ 781050 w 842962"/>
                <a:gd name="connsiteY2" fmla="*/ 33338 h 519113"/>
                <a:gd name="connsiteX3" fmla="*/ 784695 w 842962"/>
                <a:gd name="connsiteY3" fmla="*/ 60272 h 519113"/>
                <a:gd name="connsiteX4" fmla="*/ 839227 w 842962"/>
                <a:gd name="connsiteY4" fmla="*/ 429081 h 519113"/>
                <a:gd name="connsiteX5" fmla="*/ 842962 w 842962"/>
                <a:gd name="connsiteY5" fmla="*/ 464344 h 519113"/>
                <a:gd name="connsiteX6" fmla="*/ 814831 w 842962"/>
                <a:gd name="connsiteY6" fmla="*/ 469263 h 519113"/>
                <a:gd name="connsiteX7" fmla="*/ 87259 w 842962"/>
                <a:gd name="connsiteY7" fmla="*/ 516619 h 519113"/>
                <a:gd name="connsiteX8" fmla="*/ 50006 w 842962"/>
                <a:gd name="connsiteY8" fmla="*/ 519113 h 519113"/>
                <a:gd name="connsiteX9" fmla="*/ 47077 w 842962"/>
                <a:gd name="connsiteY9" fmla="*/ 472133 h 519113"/>
                <a:gd name="connsiteX10" fmla="*/ 2590 w 842962"/>
                <a:gd name="connsiteY10" fmla="*/ 43052 h 519113"/>
                <a:gd name="connsiteX11" fmla="*/ 0 w 842962"/>
                <a:gd name="connsiteY11" fmla="*/ 0 h 519113"/>
                <a:gd name="connsiteX0" fmla="*/ 0 w 842962"/>
                <a:gd name="connsiteY0" fmla="*/ 0 h 519113"/>
                <a:gd name="connsiteX1" fmla="*/ 47077 w 842962"/>
                <a:gd name="connsiteY1" fmla="*/ 0 h 519113"/>
                <a:gd name="connsiteX2" fmla="*/ 757429 w 842962"/>
                <a:gd name="connsiteY2" fmla="*/ 30136 h 519113"/>
                <a:gd name="connsiteX3" fmla="*/ 781050 w 842962"/>
                <a:gd name="connsiteY3" fmla="*/ 33338 h 519113"/>
                <a:gd name="connsiteX4" fmla="*/ 784695 w 842962"/>
                <a:gd name="connsiteY4" fmla="*/ 60272 h 519113"/>
                <a:gd name="connsiteX5" fmla="*/ 839227 w 842962"/>
                <a:gd name="connsiteY5" fmla="*/ 429081 h 519113"/>
                <a:gd name="connsiteX6" fmla="*/ 842962 w 842962"/>
                <a:gd name="connsiteY6" fmla="*/ 464344 h 519113"/>
                <a:gd name="connsiteX7" fmla="*/ 814831 w 842962"/>
                <a:gd name="connsiteY7" fmla="*/ 469263 h 519113"/>
                <a:gd name="connsiteX8" fmla="*/ 87259 w 842962"/>
                <a:gd name="connsiteY8" fmla="*/ 516619 h 519113"/>
                <a:gd name="connsiteX9" fmla="*/ 50006 w 842962"/>
                <a:gd name="connsiteY9" fmla="*/ 519113 h 519113"/>
                <a:gd name="connsiteX10" fmla="*/ 47077 w 842962"/>
                <a:gd name="connsiteY10" fmla="*/ 472133 h 519113"/>
                <a:gd name="connsiteX11" fmla="*/ 2590 w 842962"/>
                <a:gd name="connsiteY11" fmla="*/ 43052 h 519113"/>
                <a:gd name="connsiteX12" fmla="*/ 0 w 842962"/>
                <a:gd name="connsiteY12" fmla="*/ 0 h 519113"/>
                <a:gd name="connsiteX0" fmla="*/ 0 w 840372"/>
                <a:gd name="connsiteY0" fmla="*/ 43052 h 519113"/>
                <a:gd name="connsiteX1" fmla="*/ 44487 w 840372"/>
                <a:gd name="connsiteY1" fmla="*/ 0 h 519113"/>
                <a:gd name="connsiteX2" fmla="*/ 754839 w 840372"/>
                <a:gd name="connsiteY2" fmla="*/ 30136 h 519113"/>
                <a:gd name="connsiteX3" fmla="*/ 778460 w 840372"/>
                <a:gd name="connsiteY3" fmla="*/ 33338 h 519113"/>
                <a:gd name="connsiteX4" fmla="*/ 782105 w 840372"/>
                <a:gd name="connsiteY4" fmla="*/ 60272 h 519113"/>
                <a:gd name="connsiteX5" fmla="*/ 836637 w 840372"/>
                <a:gd name="connsiteY5" fmla="*/ 429081 h 519113"/>
                <a:gd name="connsiteX6" fmla="*/ 840372 w 840372"/>
                <a:gd name="connsiteY6" fmla="*/ 464344 h 519113"/>
                <a:gd name="connsiteX7" fmla="*/ 812241 w 840372"/>
                <a:gd name="connsiteY7" fmla="*/ 469263 h 519113"/>
                <a:gd name="connsiteX8" fmla="*/ 84669 w 840372"/>
                <a:gd name="connsiteY8" fmla="*/ 516619 h 519113"/>
                <a:gd name="connsiteX9" fmla="*/ 47416 w 840372"/>
                <a:gd name="connsiteY9" fmla="*/ 519113 h 519113"/>
                <a:gd name="connsiteX10" fmla="*/ 44487 w 840372"/>
                <a:gd name="connsiteY10" fmla="*/ 472133 h 519113"/>
                <a:gd name="connsiteX11" fmla="*/ 0 w 840372"/>
                <a:gd name="connsiteY11" fmla="*/ 43052 h 519113"/>
                <a:gd name="connsiteX0" fmla="*/ 0 w 840372"/>
                <a:gd name="connsiteY0" fmla="*/ 43052 h 516619"/>
                <a:gd name="connsiteX1" fmla="*/ 44487 w 840372"/>
                <a:gd name="connsiteY1" fmla="*/ 0 h 516619"/>
                <a:gd name="connsiteX2" fmla="*/ 754839 w 840372"/>
                <a:gd name="connsiteY2" fmla="*/ 30136 h 516619"/>
                <a:gd name="connsiteX3" fmla="*/ 778460 w 840372"/>
                <a:gd name="connsiteY3" fmla="*/ 33338 h 516619"/>
                <a:gd name="connsiteX4" fmla="*/ 782105 w 840372"/>
                <a:gd name="connsiteY4" fmla="*/ 60272 h 516619"/>
                <a:gd name="connsiteX5" fmla="*/ 836637 w 840372"/>
                <a:gd name="connsiteY5" fmla="*/ 429081 h 516619"/>
                <a:gd name="connsiteX6" fmla="*/ 840372 w 840372"/>
                <a:gd name="connsiteY6" fmla="*/ 464344 h 516619"/>
                <a:gd name="connsiteX7" fmla="*/ 812241 w 840372"/>
                <a:gd name="connsiteY7" fmla="*/ 469263 h 516619"/>
                <a:gd name="connsiteX8" fmla="*/ 84669 w 840372"/>
                <a:gd name="connsiteY8" fmla="*/ 516619 h 516619"/>
                <a:gd name="connsiteX9" fmla="*/ 44487 w 840372"/>
                <a:gd name="connsiteY9" fmla="*/ 472133 h 516619"/>
                <a:gd name="connsiteX10" fmla="*/ 0 w 840372"/>
                <a:gd name="connsiteY10" fmla="*/ 43052 h 516619"/>
                <a:gd name="connsiteX0" fmla="*/ 0 w 840372"/>
                <a:gd name="connsiteY0" fmla="*/ 43052 h 516619"/>
                <a:gd name="connsiteX1" fmla="*/ 44487 w 840372"/>
                <a:gd name="connsiteY1" fmla="*/ 0 h 516619"/>
                <a:gd name="connsiteX2" fmla="*/ 754839 w 840372"/>
                <a:gd name="connsiteY2" fmla="*/ 30136 h 516619"/>
                <a:gd name="connsiteX3" fmla="*/ 782105 w 840372"/>
                <a:gd name="connsiteY3" fmla="*/ 60272 h 516619"/>
                <a:gd name="connsiteX4" fmla="*/ 836637 w 840372"/>
                <a:gd name="connsiteY4" fmla="*/ 429081 h 516619"/>
                <a:gd name="connsiteX5" fmla="*/ 840372 w 840372"/>
                <a:gd name="connsiteY5" fmla="*/ 464344 h 516619"/>
                <a:gd name="connsiteX6" fmla="*/ 812241 w 840372"/>
                <a:gd name="connsiteY6" fmla="*/ 469263 h 516619"/>
                <a:gd name="connsiteX7" fmla="*/ 84669 w 840372"/>
                <a:gd name="connsiteY7" fmla="*/ 516619 h 516619"/>
                <a:gd name="connsiteX8" fmla="*/ 44487 w 840372"/>
                <a:gd name="connsiteY8" fmla="*/ 472133 h 516619"/>
                <a:gd name="connsiteX9" fmla="*/ 0 w 840372"/>
                <a:gd name="connsiteY9" fmla="*/ 43052 h 516619"/>
                <a:gd name="connsiteX0" fmla="*/ 0 w 836637"/>
                <a:gd name="connsiteY0" fmla="*/ 43052 h 516619"/>
                <a:gd name="connsiteX1" fmla="*/ 44487 w 836637"/>
                <a:gd name="connsiteY1" fmla="*/ 0 h 516619"/>
                <a:gd name="connsiteX2" fmla="*/ 754839 w 836637"/>
                <a:gd name="connsiteY2" fmla="*/ 30136 h 516619"/>
                <a:gd name="connsiteX3" fmla="*/ 782105 w 836637"/>
                <a:gd name="connsiteY3" fmla="*/ 60272 h 516619"/>
                <a:gd name="connsiteX4" fmla="*/ 836637 w 836637"/>
                <a:gd name="connsiteY4" fmla="*/ 429081 h 516619"/>
                <a:gd name="connsiteX5" fmla="*/ 812241 w 836637"/>
                <a:gd name="connsiteY5" fmla="*/ 469263 h 516619"/>
                <a:gd name="connsiteX6" fmla="*/ 84669 w 836637"/>
                <a:gd name="connsiteY6" fmla="*/ 516619 h 516619"/>
                <a:gd name="connsiteX7" fmla="*/ 44487 w 836637"/>
                <a:gd name="connsiteY7" fmla="*/ 472133 h 516619"/>
                <a:gd name="connsiteX8" fmla="*/ 0 w 836637"/>
                <a:gd name="connsiteY8" fmla="*/ 43052 h 516619"/>
                <a:gd name="connsiteX0" fmla="*/ 0 w 836637"/>
                <a:gd name="connsiteY0" fmla="*/ 43101 h 516668"/>
                <a:gd name="connsiteX1" fmla="*/ 44487 w 836637"/>
                <a:gd name="connsiteY1" fmla="*/ 49 h 516668"/>
                <a:gd name="connsiteX2" fmla="*/ 754839 w 836637"/>
                <a:gd name="connsiteY2" fmla="*/ 30185 h 516668"/>
                <a:gd name="connsiteX3" fmla="*/ 782105 w 836637"/>
                <a:gd name="connsiteY3" fmla="*/ 60321 h 516668"/>
                <a:gd name="connsiteX4" fmla="*/ 836637 w 836637"/>
                <a:gd name="connsiteY4" fmla="*/ 429130 h 516668"/>
                <a:gd name="connsiteX5" fmla="*/ 812241 w 836637"/>
                <a:gd name="connsiteY5" fmla="*/ 469312 h 516668"/>
                <a:gd name="connsiteX6" fmla="*/ 84669 w 836637"/>
                <a:gd name="connsiteY6" fmla="*/ 516668 h 516668"/>
                <a:gd name="connsiteX7" fmla="*/ 44487 w 836637"/>
                <a:gd name="connsiteY7" fmla="*/ 472182 h 516668"/>
                <a:gd name="connsiteX8" fmla="*/ 0 w 836637"/>
                <a:gd name="connsiteY8" fmla="*/ 43101 h 516668"/>
                <a:gd name="connsiteX0" fmla="*/ 189 w 836826"/>
                <a:gd name="connsiteY0" fmla="*/ 43149 h 516716"/>
                <a:gd name="connsiteX1" fmla="*/ 44676 w 836826"/>
                <a:gd name="connsiteY1" fmla="*/ 97 h 516716"/>
                <a:gd name="connsiteX2" fmla="*/ 755028 w 836826"/>
                <a:gd name="connsiteY2" fmla="*/ 30233 h 516716"/>
                <a:gd name="connsiteX3" fmla="*/ 782294 w 836826"/>
                <a:gd name="connsiteY3" fmla="*/ 60369 h 516716"/>
                <a:gd name="connsiteX4" fmla="*/ 836826 w 836826"/>
                <a:gd name="connsiteY4" fmla="*/ 429178 h 516716"/>
                <a:gd name="connsiteX5" fmla="*/ 812430 w 836826"/>
                <a:gd name="connsiteY5" fmla="*/ 469360 h 516716"/>
                <a:gd name="connsiteX6" fmla="*/ 84858 w 836826"/>
                <a:gd name="connsiteY6" fmla="*/ 516716 h 516716"/>
                <a:gd name="connsiteX7" fmla="*/ 44676 w 836826"/>
                <a:gd name="connsiteY7" fmla="*/ 472230 h 516716"/>
                <a:gd name="connsiteX8" fmla="*/ 189 w 836826"/>
                <a:gd name="connsiteY8" fmla="*/ 43149 h 516716"/>
                <a:gd name="connsiteX0" fmla="*/ 189 w 836826"/>
                <a:gd name="connsiteY0" fmla="*/ 43149 h 516716"/>
                <a:gd name="connsiteX1" fmla="*/ 44676 w 836826"/>
                <a:gd name="connsiteY1" fmla="*/ 97 h 516716"/>
                <a:gd name="connsiteX2" fmla="*/ 755028 w 836826"/>
                <a:gd name="connsiteY2" fmla="*/ 30233 h 516716"/>
                <a:gd name="connsiteX3" fmla="*/ 782294 w 836826"/>
                <a:gd name="connsiteY3" fmla="*/ 60369 h 516716"/>
                <a:gd name="connsiteX4" fmla="*/ 836826 w 836826"/>
                <a:gd name="connsiteY4" fmla="*/ 429178 h 516716"/>
                <a:gd name="connsiteX5" fmla="*/ 812430 w 836826"/>
                <a:gd name="connsiteY5" fmla="*/ 469360 h 516716"/>
                <a:gd name="connsiteX6" fmla="*/ 84858 w 836826"/>
                <a:gd name="connsiteY6" fmla="*/ 516716 h 516716"/>
                <a:gd name="connsiteX7" fmla="*/ 44676 w 836826"/>
                <a:gd name="connsiteY7" fmla="*/ 472230 h 516716"/>
                <a:gd name="connsiteX8" fmla="*/ 189 w 836826"/>
                <a:gd name="connsiteY8" fmla="*/ 43149 h 516716"/>
                <a:gd name="connsiteX0" fmla="*/ 189 w 836826"/>
                <a:gd name="connsiteY0" fmla="*/ 43149 h 513846"/>
                <a:gd name="connsiteX1" fmla="*/ 44676 w 836826"/>
                <a:gd name="connsiteY1" fmla="*/ 97 h 513846"/>
                <a:gd name="connsiteX2" fmla="*/ 755028 w 836826"/>
                <a:gd name="connsiteY2" fmla="*/ 30233 h 513846"/>
                <a:gd name="connsiteX3" fmla="*/ 782294 w 836826"/>
                <a:gd name="connsiteY3" fmla="*/ 60369 h 513846"/>
                <a:gd name="connsiteX4" fmla="*/ 836826 w 836826"/>
                <a:gd name="connsiteY4" fmla="*/ 429178 h 513846"/>
                <a:gd name="connsiteX5" fmla="*/ 812430 w 836826"/>
                <a:gd name="connsiteY5" fmla="*/ 469360 h 513846"/>
                <a:gd name="connsiteX6" fmla="*/ 99208 w 836826"/>
                <a:gd name="connsiteY6" fmla="*/ 513846 h 513846"/>
                <a:gd name="connsiteX7" fmla="*/ 44676 w 836826"/>
                <a:gd name="connsiteY7" fmla="*/ 472230 h 513846"/>
                <a:gd name="connsiteX8" fmla="*/ 189 w 836826"/>
                <a:gd name="connsiteY8" fmla="*/ 43149 h 513846"/>
                <a:gd name="connsiteX0" fmla="*/ 189 w 836826"/>
                <a:gd name="connsiteY0" fmla="*/ 43149 h 514654"/>
                <a:gd name="connsiteX1" fmla="*/ 44676 w 836826"/>
                <a:gd name="connsiteY1" fmla="*/ 97 h 514654"/>
                <a:gd name="connsiteX2" fmla="*/ 755028 w 836826"/>
                <a:gd name="connsiteY2" fmla="*/ 30233 h 514654"/>
                <a:gd name="connsiteX3" fmla="*/ 782294 w 836826"/>
                <a:gd name="connsiteY3" fmla="*/ 60369 h 514654"/>
                <a:gd name="connsiteX4" fmla="*/ 836826 w 836826"/>
                <a:gd name="connsiteY4" fmla="*/ 429178 h 514654"/>
                <a:gd name="connsiteX5" fmla="*/ 812430 w 836826"/>
                <a:gd name="connsiteY5" fmla="*/ 469360 h 514654"/>
                <a:gd name="connsiteX6" fmla="*/ 99208 w 836826"/>
                <a:gd name="connsiteY6" fmla="*/ 513846 h 514654"/>
                <a:gd name="connsiteX7" fmla="*/ 44676 w 836826"/>
                <a:gd name="connsiteY7" fmla="*/ 472230 h 514654"/>
                <a:gd name="connsiteX8" fmla="*/ 189 w 836826"/>
                <a:gd name="connsiteY8" fmla="*/ 43149 h 514654"/>
                <a:gd name="connsiteX0" fmla="*/ 189 w 836826"/>
                <a:gd name="connsiteY0" fmla="*/ 43149 h 514654"/>
                <a:gd name="connsiteX1" fmla="*/ 44676 w 836826"/>
                <a:gd name="connsiteY1" fmla="*/ 97 h 514654"/>
                <a:gd name="connsiteX2" fmla="*/ 755028 w 836826"/>
                <a:gd name="connsiteY2" fmla="*/ 30233 h 514654"/>
                <a:gd name="connsiteX3" fmla="*/ 782294 w 836826"/>
                <a:gd name="connsiteY3" fmla="*/ 60369 h 514654"/>
                <a:gd name="connsiteX4" fmla="*/ 836826 w 836826"/>
                <a:gd name="connsiteY4" fmla="*/ 429178 h 514654"/>
                <a:gd name="connsiteX5" fmla="*/ 812430 w 836826"/>
                <a:gd name="connsiteY5" fmla="*/ 469360 h 514654"/>
                <a:gd name="connsiteX6" fmla="*/ 99208 w 836826"/>
                <a:gd name="connsiteY6" fmla="*/ 513846 h 514654"/>
                <a:gd name="connsiteX7" fmla="*/ 44676 w 836826"/>
                <a:gd name="connsiteY7" fmla="*/ 472230 h 514654"/>
                <a:gd name="connsiteX8" fmla="*/ 189 w 836826"/>
                <a:gd name="connsiteY8" fmla="*/ 43149 h 514654"/>
                <a:gd name="connsiteX0" fmla="*/ 189 w 837643"/>
                <a:gd name="connsiteY0" fmla="*/ 43149 h 514654"/>
                <a:gd name="connsiteX1" fmla="*/ 44676 w 837643"/>
                <a:gd name="connsiteY1" fmla="*/ 97 h 514654"/>
                <a:gd name="connsiteX2" fmla="*/ 755028 w 837643"/>
                <a:gd name="connsiteY2" fmla="*/ 30233 h 514654"/>
                <a:gd name="connsiteX3" fmla="*/ 782294 w 837643"/>
                <a:gd name="connsiteY3" fmla="*/ 60369 h 514654"/>
                <a:gd name="connsiteX4" fmla="*/ 836826 w 837643"/>
                <a:gd name="connsiteY4" fmla="*/ 429178 h 514654"/>
                <a:gd name="connsiteX5" fmla="*/ 812430 w 837643"/>
                <a:gd name="connsiteY5" fmla="*/ 469360 h 514654"/>
                <a:gd name="connsiteX6" fmla="*/ 99208 w 837643"/>
                <a:gd name="connsiteY6" fmla="*/ 513846 h 514654"/>
                <a:gd name="connsiteX7" fmla="*/ 44676 w 837643"/>
                <a:gd name="connsiteY7" fmla="*/ 472230 h 514654"/>
                <a:gd name="connsiteX8" fmla="*/ 189 w 837643"/>
                <a:gd name="connsiteY8" fmla="*/ 43149 h 514654"/>
                <a:gd name="connsiteX0" fmla="*/ 189 w 837643"/>
                <a:gd name="connsiteY0" fmla="*/ 43149 h 514654"/>
                <a:gd name="connsiteX1" fmla="*/ 44676 w 837643"/>
                <a:gd name="connsiteY1" fmla="*/ 97 h 514654"/>
                <a:gd name="connsiteX2" fmla="*/ 755028 w 837643"/>
                <a:gd name="connsiteY2" fmla="*/ 30233 h 514654"/>
                <a:gd name="connsiteX3" fmla="*/ 782294 w 837643"/>
                <a:gd name="connsiteY3" fmla="*/ 60369 h 514654"/>
                <a:gd name="connsiteX4" fmla="*/ 836826 w 837643"/>
                <a:gd name="connsiteY4" fmla="*/ 429178 h 514654"/>
                <a:gd name="connsiteX5" fmla="*/ 812430 w 837643"/>
                <a:gd name="connsiteY5" fmla="*/ 469360 h 514654"/>
                <a:gd name="connsiteX6" fmla="*/ 99208 w 837643"/>
                <a:gd name="connsiteY6" fmla="*/ 513846 h 514654"/>
                <a:gd name="connsiteX7" fmla="*/ 44676 w 837643"/>
                <a:gd name="connsiteY7" fmla="*/ 472230 h 514654"/>
                <a:gd name="connsiteX8" fmla="*/ 189 w 837643"/>
                <a:gd name="connsiteY8" fmla="*/ 43149 h 514654"/>
                <a:gd name="connsiteX0" fmla="*/ 189 w 837643"/>
                <a:gd name="connsiteY0" fmla="*/ 43149 h 514654"/>
                <a:gd name="connsiteX1" fmla="*/ 44676 w 837643"/>
                <a:gd name="connsiteY1" fmla="*/ 97 h 514654"/>
                <a:gd name="connsiteX2" fmla="*/ 755028 w 837643"/>
                <a:gd name="connsiteY2" fmla="*/ 30233 h 514654"/>
                <a:gd name="connsiteX3" fmla="*/ 782294 w 837643"/>
                <a:gd name="connsiteY3" fmla="*/ 60369 h 514654"/>
                <a:gd name="connsiteX4" fmla="*/ 836826 w 837643"/>
                <a:gd name="connsiteY4" fmla="*/ 429178 h 514654"/>
                <a:gd name="connsiteX5" fmla="*/ 812430 w 837643"/>
                <a:gd name="connsiteY5" fmla="*/ 469360 h 514654"/>
                <a:gd name="connsiteX6" fmla="*/ 99208 w 837643"/>
                <a:gd name="connsiteY6" fmla="*/ 513846 h 514654"/>
                <a:gd name="connsiteX7" fmla="*/ 44676 w 837643"/>
                <a:gd name="connsiteY7" fmla="*/ 472230 h 514654"/>
                <a:gd name="connsiteX8" fmla="*/ 189 w 837643"/>
                <a:gd name="connsiteY8" fmla="*/ 43149 h 514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7643" h="514654">
                  <a:moveTo>
                    <a:pt x="189" y="43149"/>
                  </a:moveTo>
                  <a:cubicBezTo>
                    <a:pt x="-2203" y="13012"/>
                    <a:pt x="18367" y="-1338"/>
                    <a:pt x="44676" y="97"/>
                  </a:cubicBezTo>
                  <a:lnTo>
                    <a:pt x="755028" y="30233"/>
                  </a:lnTo>
                  <a:cubicBezTo>
                    <a:pt x="775597" y="31668"/>
                    <a:pt x="780380" y="38844"/>
                    <a:pt x="782294" y="60369"/>
                  </a:cubicBezTo>
                  <a:lnTo>
                    <a:pt x="836826" y="429178"/>
                  </a:lnTo>
                  <a:cubicBezTo>
                    <a:pt x="840174" y="455488"/>
                    <a:pt x="833477" y="466011"/>
                    <a:pt x="812430" y="469360"/>
                  </a:cubicBezTo>
                  <a:lnTo>
                    <a:pt x="99208" y="513846"/>
                  </a:lnTo>
                  <a:cubicBezTo>
                    <a:pt x="71464" y="517673"/>
                    <a:pt x="49460" y="508585"/>
                    <a:pt x="44676" y="472230"/>
                  </a:cubicBezTo>
                  <a:lnTo>
                    <a:pt x="189" y="43149"/>
                  </a:lnTo>
                  <a:close/>
                </a:path>
              </a:pathLst>
            </a:cu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2353565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 name="Your future...">
            <a:extLst>
              <a:ext uri="{FF2B5EF4-FFF2-40B4-BE49-F238E27FC236}">
                <a16:creationId xmlns:a16="http://schemas.microsoft.com/office/drawing/2014/main" id="{5E87833D-A632-4004-B94E-9DFE946BAF0A}"/>
              </a:ext>
            </a:extLst>
          </p:cNvPr>
          <p:cNvSpPr txBox="1">
            <a:spLocks/>
          </p:cNvSpPr>
          <p:nvPr/>
        </p:nvSpPr>
        <p:spPr bwMode="auto">
          <a:xfrm>
            <a:off x="6949141" y="3855907"/>
            <a:ext cx="1341714" cy="590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non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8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D274D"/>
                </a:solidFill>
                <a:effectLst/>
                <a:uLnTx/>
                <a:uFillTx/>
                <a:latin typeface="CiscoSansTT ExtraLight"/>
              </a:rPr>
              <a:t>Future</a:t>
            </a:r>
          </a:p>
          <a:p>
            <a:pPr marL="0" marR="0" lvl="0" indent="0" algn="ctr" defTabSz="684213" rtl="0" eaLnBrk="1" fontAlgn="base" latinLnBrk="0" hangingPunct="1">
              <a:lnSpc>
                <a:spcPct val="8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D274D"/>
                </a:solidFill>
                <a:effectLst/>
                <a:uLnTx/>
                <a:uFillTx/>
                <a:latin typeface="CiscoSansTT ExtraLight"/>
              </a:rPr>
              <a:t>protected</a:t>
            </a:r>
          </a:p>
        </p:txBody>
      </p:sp>
      <p:sp>
        <p:nvSpPr>
          <p:cNvPr id="167" name="Your Success...">
            <a:extLst>
              <a:ext uri="{FF2B5EF4-FFF2-40B4-BE49-F238E27FC236}">
                <a16:creationId xmlns:a16="http://schemas.microsoft.com/office/drawing/2014/main" id="{274A8B1E-ECAF-410F-84B3-F7D0A29B956D}"/>
              </a:ext>
            </a:extLst>
          </p:cNvPr>
          <p:cNvSpPr txBox="1">
            <a:spLocks/>
          </p:cNvSpPr>
          <p:nvPr/>
        </p:nvSpPr>
        <p:spPr bwMode="auto">
          <a:xfrm>
            <a:off x="3757674" y="3855907"/>
            <a:ext cx="1628651" cy="590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non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8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D274D"/>
                </a:solidFill>
                <a:effectLst/>
                <a:uLnTx/>
                <a:uFillTx/>
                <a:latin typeface="CiscoSansTT ExtraLight"/>
              </a:rPr>
              <a:t>Success</a:t>
            </a:r>
          </a:p>
          <a:p>
            <a:pPr marL="0" marR="0" lvl="0" indent="0" algn="ctr" defTabSz="684213" rtl="0" eaLnBrk="1" fontAlgn="base" latinLnBrk="0" hangingPunct="1">
              <a:lnSpc>
                <a:spcPct val="80000"/>
              </a:lnSpc>
              <a:spcBef>
                <a:spcPct val="0"/>
              </a:spcBef>
              <a:spcAft>
                <a:spcPct val="0"/>
              </a:spcAft>
              <a:buClrTx/>
              <a:buSzTx/>
              <a:buFontTx/>
              <a:buNone/>
              <a:tabLst/>
              <a:defRPr/>
            </a:pPr>
            <a:r>
              <a:rPr kumimoji="0" lang="en-US" sz="2400" b="0" i="0" u="none" strike="noStrike" kern="1200" cap="none" spc="0" normalizeH="0" baseline="0" noProof="0">
                <a:ln>
                  <a:noFill/>
                </a:ln>
                <a:solidFill>
                  <a:srgbClr val="0D274D"/>
                </a:solidFill>
                <a:effectLst/>
                <a:uLnTx/>
                <a:uFillTx/>
                <a:latin typeface="CiscoSansTT ExtraLight"/>
              </a:rPr>
              <a:t>accelerated</a:t>
            </a:r>
          </a:p>
        </p:txBody>
      </p:sp>
      <p:sp>
        <p:nvSpPr>
          <p:cNvPr id="168" name="Your experience...">
            <a:extLst>
              <a:ext uri="{FF2B5EF4-FFF2-40B4-BE49-F238E27FC236}">
                <a16:creationId xmlns:a16="http://schemas.microsoft.com/office/drawing/2014/main" id="{7576B6DB-A7B2-4F66-9D85-F1A6D4DAFF42}"/>
              </a:ext>
            </a:extLst>
          </p:cNvPr>
          <p:cNvSpPr txBox="1">
            <a:spLocks/>
          </p:cNvSpPr>
          <p:nvPr/>
        </p:nvSpPr>
        <p:spPr bwMode="auto">
          <a:xfrm>
            <a:off x="752955" y="3855907"/>
            <a:ext cx="1542089" cy="590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non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80000"/>
              </a:lnSpc>
              <a:spcBef>
                <a:spcPct val="0"/>
              </a:spcBef>
              <a:spcAft>
                <a:spcPct val="0"/>
              </a:spcAft>
              <a:buClrTx/>
              <a:buSzTx/>
              <a:buFontTx/>
              <a:buNone/>
              <a:tabLst/>
              <a:defRPr/>
            </a:pPr>
            <a:r>
              <a:rPr lang="en-US" sz="2400">
                <a:solidFill>
                  <a:srgbClr val="0D274D"/>
                </a:solidFill>
                <a:latin typeface="CiscoSansTT ExtraLight"/>
              </a:rPr>
              <a:t>E</a:t>
            </a:r>
            <a:r>
              <a:rPr kumimoji="0" lang="en-US" sz="2400" b="0" i="0" u="none" strike="noStrike" kern="1200" cap="none" spc="0" normalizeH="0" baseline="0" noProof="0" err="1">
                <a:ln>
                  <a:noFill/>
                </a:ln>
                <a:solidFill>
                  <a:srgbClr val="0D274D"/>
                </a:solidFill>
                <a:effectLst/>
                <a:uLnTx/>
                <a:uFillTx/>
                <a:latin typeface="CiscoSansTT ExtraLight"/>
              </a:rPr>
              <a:t>xperience</a:t>
            </a:r>
            <a:br>
              <a:rPr kumimoji="0" lang="en-US" sz="2400" b="0" i="0" u="none" strike="noStrike" kern="1200" cap="none" spc="0" normalizeH="0" baseline="0" noProof="0">
                <a:ln>
                  <a:noFill/>
                </a:ln>
                <a:solidFill>
                  <a:srgbClr val="0D274D"/>
                </a:solidFill>
                <a:effectLst/>
                <a:uLnTx/>
                <a:uFillTx/>
                <a:latin typeface="CiscoSansTT ExtraLight"/>
              </a:rPr>
            </a:br>
            <a:r>
              <a:rPr kumimoji="0" lang="en-US" sz="2400" b="0" i="0" u="none" strike="noStrike" kern="1200" cap="none" spc="0" normalizeH="0" baseline="0" noProof="0">
                <a:ln>
                  <a:noFill/>
                </a:ln>
                <a:solidFill>
                  <a:srgbClr val="0D274D"/>
                </a:solidFill>
                <a:effectLst/>
                <a:uLnTx/>
                <a:uFillTx/>
                <a:latin typeface="CiscoSansTT ExtraLight"/>
              </a:rPr>
              <a:t>simplified</a:t>
            </a:r>
          </a:p>
        </p:txBody>
      </p:sp>
      <p:sp>
        <p:nvSpPr>
          <p:cNvPr id="2" name="Title 1">
            <a:extLst>
              <a:ext uri="{FF2B5EF4-FFF2-40B4-BE49-F238E27FC236}">
                <a16:creationId xmlns:a16="http://schemas.microsoft.com/office/drawing/2014/main" id="{A8414C75-9637-45BA-A744-02DA7F8136C6}"/>
              </a:ext>
            </a:extLst>
          </p:cNvPr>
          <p:cNvSpPr>
            <a:spLocks noGrp="1"/>
          </p:cNvSpPr>
          <p:nvPr>
            <p:ph type="title"/>
          </p:nvPr>
        </p:nvSpPr>
        <p:spPr/>
        <p:txBody>
          <a:bodyPr/>
          <a:lstStyle/>
          <a:p>
            <a:r>
              <a:rPr lang="en-US"/>
              <a:t>Cisco Security</a:t>
            </a:r>
            <a:endParaRPr lang="en-US">
              <a:solidFill>
                <a:schemeClr val="accent6"/>
              </a:solidFill>
            </a:endParaRPr>
          </a:p>
        </p:txBody>
      </p:sp>
      <p:grpSp>
        <p:nvGrpSpPr>
          <p:cNvPr id="356" name="Group 355">
            <a:extLst>
              <a:ext uri="{FF2B5EF4-FFF2-40B4-BE49-F238E27FC236}">
                <a16:creationId xmlns:a16="http://schemas.microsoft.com/office/drawing/2014/main" id="{4E9DBC3D-199F-4F3D-9560-AEF7C508CA7D}"/>
              </a:ext>
            </a:extLst>
          </p:cNvPr>
          <p:cNvGrpSpPr/>
          <p:nvPr/>
        </p:nvGrpSpPr>
        <p:grpSpPr>
          <a:xfrm>
            <a:off x="6461925" y="1541141"/>
            <a:ext cx="2341777" cy="1966778"/>
            <a:chOff x="5380177" y="1146403"/>
            <a:chExt cx="3458212" cy="2904434"/>
          </a:xfrm>
        </p:grpSpPr>
        <p:sp>
          <p:nvSpPr>
            <p:cNvPr id="357" name="Oval 356">
              <a:extLst>
                <a:ext uri="{FF2B5EF4-FFF2-40B4-BE49-F238E27FC236}">
                  <a16:creationId xmlns:a16="http://schemas.microsoft.com/office/drawing/2014/main" id="{417D70CB-4083-4651-A435-C2C95F223D48}"/>
                </a:ext>
              </a:extLst>
            </p:cNvPr>
            <p:cNvSpPr/>
            <p:nvPr/>
          </p:nvSpPr>
          <p:spPr>
            <a:xfrm>
              <a:off x="6002312" y="1281575"/>
              <a:ext cx="2647784" cy="2647784"/>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58" name="Group 357">
              <a:extLst>
                <a:ext uri="{FF2B5EF4-FFF2-40B4-BE49-F238E27FC236}">
                  <a16:creationId xmlns:a16="http://schemas.microsoft.com/office/drawing/2014/main" id="{50AD5664-B5B3-48DD-AC04-9099741BB14F}"/>
                </a:ext>
              </a:extLst>
            </p:cNvPr>
            <p:cNvGrpSpPr/>
            <p:nvPr/>
          </p:nvGrpSpPr>
          <p:grpSpPr>
            <a:xfrm>
              <a:off x="5380177" y="2150255"/>
              <a:ext cx="1855358" cy="1727200"/>
              <a:chOff x="6860201" y="2704884"/>
              <a:chExt cx="1679289" cy="1563293"/>
            </a:xfrm>
          </p:grpSpPr>
          <p:cxnSp>
            <p:nvCxnSpPr>
              <p:cNvPr id="581" name="Straight Connector 580">
                <a:extLst>
                  <a:ext uri="{FF2B5EF4-FFF2-40B4-BE49-F238E27FC236}">
                    <a16:creationId xmlns:a16="http://schemas.microsoft.com/office/drawing/2014/main" id="{6D77ED4F-D76A-471A-B37C-81B49683C43B}"/>
                  </a:ext>
                </a:extLst>
              </p:cNvPr>
              <p:cNvCxnSpPr/>
              <p:nvPr/>
            </p:nvCxnSpPr>
            <p:spPr>
              <a:xfrm flipV="1">
                <a:off x="6860201" y="2704884"/>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7DD9DE12-026C-430A-9CAE-1C7D617EFA7B}"/>
                  </a:ext>
                </a:extLst>
              </p:cNvPr>
              <p:cNvCxnSpPr/>
              <p:nvPr/>
            </p:nvCxnSpPr>
            <p:spPr>
              <a:xfrm flipV="1">
                <a:off x="6888195" y="2728247"/>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83" name="Straight Connector 582">
                <a:extLst>
                  <a:ext uri="{FF2B5EF4-FFF2-40B4-BE49-F238E27FC236}">
                    <a16:creationId xmlns:a16="http://schemas.microsoft.com/office/drawing/2014/main" id="{1C6767D2-954E-49A2-BA49-48B42BA47188}"/>
                  </a:ext>
                </a:extLst>
              </p:cNvPr>
              <p:cNvCxnSpPr/>
              <p:nvPr/>
            </p:nvCxnSpPr>
            <p:spPr>
              <a:xfrm flipV="1">
                <a:off x="6972177" y="2798336"/>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84" name="Straight Connector 583">
                <a:extLst>
                  <a:ext uri="{FF2B5EF4-FFF2-40B4-BE49-F238E27FC236}">
                    <a16:creationId xmlns:a16="http://schemas.microsoft.com/office/drawing/2014/main" id="{8145B5FA-A410-4BD6-9ADF-DAAA763DB8A9}"/>
                  </a:ext>
                </a:extLst>
              </p:cNvPr>
              <p:cNvCxnSpPr/>
              <p:nvPr/>
            </p:nvCxnSpPr>
            <p:spPr>
              <a:xfrm flipV="1">
                <a:off x="7028165" y="2845062"/>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85" name="Straight Connector 584">
                <a:extLst>
                  <a:ext uri="{FF2B5EF4-FFF2-40B4-BE49-F238E27FC236}">
                    <a16:creationId xmlns:a16="http://schemas.microsoft.com/office/drawing/2014/main" id="{9B9ABC94-C465-48F6-8462-D72C24AD6CF3}"/>
                  </a:ext>
                </a:extLst>
              </p:cNvPr>
              <p:cNvCxnSpPr/>
              <p:nvPr/>
            </p:nvCxnSpPr>
            <p:spPr>
              <a:xfrm flipV="1">
                <a:off x="7084153" y="2891788"/>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86" name="Straight Connector 585">
                <a:extLst>
                  <a:ext uri="{FF2B5EF4-FFF2-40B4-BE49-F238E27FC236}">
                    <a16:creationId xmlns:a16="http://schemas.microsoft.com/office/drawing/2014/main" id="{F0AA837D-644C-4B5C-9579-586208B86916}"/>
                  </a:ext>
                </a:extLst>
              </p:cNvPr>
              <p:cNvCxnSpPr/>
              <p:nvPr/>
            </p:nvCxnSpPr>
            <p:spPr>
              <a:xfrm flipV="1">
                <a:off x="7140141" y="2938514"/>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87" name="Straight Connector 586">
                <a:extLst>
                  <a:ext uri="{FF2B5EF4-FFF2-40B4-BE49-F238E27FC236}">
                    <a16:creationId xmlns:a16="http://schemas.microsoft.com/office/drawing/2014/main" id="{2F96A725-5F11-4CEA-9C6B-FD36D6E76836}"/>
                  </a:ext>
                </a:extLst>
              </p:cNvPr>
              <p:cNvCxnSpPr/>
              <p:nvPr/>
            </p:nvCxnSpPr>
            <p:spPr>
              <a:xfrm flipV="1">
                <a:off x="7196129" y="2985240"/>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88" name="Straight Connector 587">
                <a:extLst>
                  <a:ext uri="{FF2B5EF4-FFF2-40B4-BE49-F238E27FC236}">
                    <a16:creationId xmlns:a16="http://schemas.microsoft.com/office/drawing/2014/main" id="{D73BB4B7-CD81-429E-A1DF-7256A337D364}"/>
                  </a:ext>
                </a:extLst>
              </p:cNvPr>
              <p:cNvCxnSpPr/>
              <p:nvPr/>
            </p:nvCxnSpPr>
            <p:spPr>
              <a:xfrm flipV="1">
                <a:off x="7252117" y="3031966"/>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89" name="Straight Connector 588">
                <a:extLst>
                  <a:ext uri="{FF2B5EF4-FFF2-40B4-BE49-F238E27FC236}">
                    <a16:creationId xmlns:a16="http://schemas.microsoft.com/office/drawing/2014/main" id="{A1C6CFA3-16B7-4B56-A07A-A63F80D981A8}"/>
                  </a:ext>
                </a:extLst>
              </p:cNvPr>
              <p:cNvCxnSpPr/>
              <p:nvPr/>
            </p:nvCxnSpPr>
            <p:spPr>
              <a:xfrm flipV="1">
                <a:off x="6916189" y="2751610"/>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90" name="Straight Connector 589">
                <a:extLst>
                  <a:ext uri="{FF2B5EF4-FFF2-40B4-BE49-F238E27FC236}">
                    <a16:creationId xmlns:a16="http://schemas.microsoft.com/office/drawing/2014/main" id="{14BD2ED9-1717-414F-BEE4-131219950707}"/>
                  </a:ext>
                </a:extLst>
              </p:cNvPr>
              <p:cNvCxnSpPr/>
              <p:nvPr/>
            </p:nvCxnSpPr>
            <p:spPr>
              <a:xfrm flipV="1">
                <a:off x="6944183" y="2774973"/>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91" name="Straight Connector 590">
                <a:extLst>
                  <a:ext uri="{FF2B5EF4-FFF2-40B4-BE49-F238E27FC236}">
                    <a16:creationId xmlns:a16="http://schemas.microsoft.com/office/drawing/2014/main" id="{D10B3B93-ABDF-4F12-9F3E-6560B0996E8F}"/>
                  </a:ext>
                </a:extLst>
              </p:cNvPr>
              <p:cNvCxnSpPr/>
              <p:nvPr/>
            </p:nvCxnSpPr>
            <p:spPr>
              <a:xfrm flipV="1">
                <a:off x="7000171" y="2821699"/>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92" name="Straight Connector 591">
                <a:extLst>
                  <a:ext uri="{FF2B5EF4-FFF2-40B4-BE49-F238E27FC236}">
                    <a16:creationId xmlns:a16="http://schemas.microsoft.com/office/drawing/2014/main" id="{BA8FF7D2-3928-47A2-8BB3-391617878EB5}"/>
                  </a:ext>
                </a:extLst>
              </p:cNvPr>
              <p:cNvCxnSpPr/>
              <p:nvPr/>
            </p:nvCxnSpPr>
            <p:spPr>
              <a:xfrm flipV="1">
                <a:off x="7056159" y="2868425"/>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93" name="Straight Connector 592">
                <a:extLst>
                  <a:ext uri="{FF2B5EF4-FFF2-40B4-BE49-F238E27FC236}">
                    <a16:creationId xmlns:a16="http://schemas.microsoft.com/office/drawing/2014/main" id="{85433E49-E180-43AA-B368-C16D7E31501C}"/>
                  </a:ext>
                </a:extLst>
              </p:cNvPr>
              <p:cNvCxnSpPr/>
              <p:nvPr/>
            </p:nvCxnSpPr>
            <p:spPr>
              <a:xfrm flipV="1">
                <a:off x="7112147" y="2915151"/>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94" name="Straight Connector 593">
                <a:extLst>
                  <a:ext uri="{FF2B5EF4-FFF2-40B4-BE49-F238E27FC236}">
                    <a16:creationId xmlns:a16="http://schemas.microsoft.com/office/drawing/2014/main" id="{94BF2BCA-D235-44C5-952C-4E273CE29C71}"/>
                  </a:ext>
                </a:extLst>
              </p:cNvPr>
              <p:cNvCxnSpPr/>
              <p:nvPr/>
            </p:nvCxnSpPr>
            <p:spPr>
              <a:xfrm flipV="1">
                <a:off x="7168135" y="2961877"/>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95" name="Straight Connector 594">
                <a:extLst>
                  <a:ext uri="{FF2B5EF4-FFF2-40B4-BE49-F238E27FC236}">
                    <a16:creationId xmlns:a16="http://schemas.microsoft.com/office/drawing/2014/main" id="{5DB97B47-0F5E-42B4-A136-90C20505B0CA}"/>
                  </a:ext>
                </a:extLst>
              </p:cNvPr>
              <p:cNvCxnSpPr/>
              <p:nvPr/>
            </p:nvCxnSpPr>
            <p:spPr>
              <a:xfrm flipV="1">
                <a:off x="7224123" y="3008603"/>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96" name="Straight Connector 595">
                <a:extLst>
                  <a:ext uri="{FF2B5EF4-FFF2-40B4-BE49-F238E27FC236}">
                    <a16:creationId xmlns:a16="http://schemas.microsoft.com/office/drawing/2014/main" id="{04F70767-A2EF-4F73-B5B8-7BD40F88670C}"/>
                  </a:ext>
                </a:extLst>
              </p:cNvPr>
              <p:cNvCxnSpPr/>
              <p:nvPr/>
            </p:nvCxnSpPr>
            <p:spPr>
              <a:xfrm flipV="1">
                <a:off x="7280112" y="3055327"/>
                <a:ext cx="1259378" cy="1212850"/>
              </a:xfrm>
              <a:prstGeom prst="line">
                <a:avLst/>
              </a:prstGeom>
              <a:ln w="6350">
                <a:solidFill>
                  <a:schemeClr val="bg1"/>
                </a:solidFill>
                <a:miter lim="800000"/>
              </a:ln>
            </p:spPr>
            <p:style>
              <a:lnRef idx="1">
                <a:schemeClr val="accent1"/>
              </a:lnRef>
              <a:fillRef idx="0">
                <a:schemeClr val="accent1"/>
              </a:fillRef>
              <a:effectRef idx="0">
                <a:schemeClr val="accent1"/>
              </a:effectRef>
              <a:fontRef idx="minor">
                <a:schemeClr val="tx1"/>
              </a:fontRef>
            </p:style>
          </p:cxnSp>
        </p:grpSp>
        <p:sp>
          <p:nvSpPr>
            <p:cNvPr id="359" name="Arc 358">
              <a:extLst>
                <a:ext uri="{FF2B5EF4-FFF2-40B4-BE49-F238E27FC236}">
                  <a16:creationId xmlns:a16="http://schemas.microsoft.com/office/drawing/2014/main" id="{33680D3D-B179-4F99-AD97-29845893A1EC}"/>
                </a:ext>
              </a:extLst>
            </p:cNvPr>
            <p:cNvSpPr/>
            <p:nvPr/>
          </p:nvSpPr>
          <p:spPr>
            <a:xfrm flipH="1">
              <a:off x="5812807" y="1146403"/>
              <a:ext cx="2904434" cy="2904434"/>
            </a:xfrm>
            <a:prstGeom prst="arc">
              <a:avLst>
                <a:gd name="adj1" fmla="val 10740278"/>
                <a:gd name="adj2" fmla="val 17887486"/>
              </a:avLst>
            </a:prstGeom>
            <a:noFill/>
            <a:ln w="15875"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0" name="Oval 359">
              <a:extLst>
                <a:ext uri="{FF2B5EF4-FFF2-40B4-BE49-F238E27FC236}">
                  <a16:creationId xmlns:a16="http://schemas.microsoft.com/office/drawing/2014/main" id="{6EAF020F-1173-4DC2-9A24-3A3EB9A1C56B}"/>
                </a:ext>
              </a:extLst>
            </p:cNvPr>
            <p:cNvSpPr/>
            <p:nvPr/>
          </p:nvSpPr>
          <p:spPr>
            <a:xfrm>
              <a:off x="5941352" y="1281575"/>
              <a:ext cx="2647784" cy="264778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D0940DE5-95F4-4E36-80CD-38BA29B1DFAF}"/>
                </a:ext>
              </a:extLst>
            </p:cNvPr>
            <p:cNvSpPr/>
            <p:nvPr/>
          </p:nvSpPr>
          <p:spPr>
            <a:xfrm>
              <a:off x="5699438" y="1423815"/>
              <a:ext cx="1025865" cy="102586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2" name="Group 361">
              <a:extLst>
                <a:ext uri="{FF2B5EF4-FFF2-40B4-BE49-F238E27FC236}">
                  <a16:creationId xmlns:a16="http://schemas.microsoft.com/office/drawing/2014/main" id="{6E11FDD6-5042-45DA-AE43-35F2ED9EE8D3}"/>
                </a:ext>
              </a:extLst>
            </p:cNvPr>
            <p:cNvGrpSpPr/>
            <p:nvPr/>
          </p:nvGrpSpPr>
          <p:grpSpPr>
            <a:xfrm rot="1430743">
              <a:off x="6552708" y="1841650"/>
              <a:ext cx="816995" cy="341295"/>
              <a:chOff x="4010392" y="4875092"/>
              <a:chExt cx="498334" cy="208179"/>
            </a:xfrm>
            <a:solidFill>
              <a:srgbClr val="74BF4B"/>
            </a:solidFill>
          </p:grpSpPr>
          <p:sp>
            <p:nvSpPr>
              <p:cNvPr id="521" name="Freeform: Shape 520">
                <a:extLst>
                  <a:ext uri="{FF2B5EF4-FFF2-40B4-BE49-F238E27FC236}">
                    <a16:creationId xmlns:a16="http://schemas.microsoft.com/office/drawing/2014/main" id="{B2BA1ACA-6BE1-44EC-9A7C-2746720463EF}"/>
                  </a:ext>
                </a:extLst>
              </p:cNvPr>
              <p:cNvSpPr/>
              <p:nvPr/>
            </p:nvSpPr>
            <p:spPr>
              <a:xfrm>
                <a:off x="4010536" y="4972383"/>
                <a:ext cx="42922" cy="42922"/>
              </a:xfrm>
              <a:custGeom>
                <a:avLst/>
                <a:gdLst>
                  <a:gd name="connsiteX0" fmla="*/ 33123 w 42922"/>
                  <a:gd name="connsiteY0" fmla="*/ 24539 h 42922"/>
                  <a:gd name="connsiteX1" fmla="*/ 24683 w 42922"/>
                  <a:gd name="connsiteY1" fmla="*/ 16096 h 42922"/>
                  <a:gd name="connsiteX2" fmla="*/ 24539 w 42922"/>
                  <a:gd name="connsiteY2" fmla="*/ 16097 h 42922"/>
                  <a:gd name="connsiteX3" fmla="*/ 16097 w 42922"/>
                  <a:gd name="connsiteY3" fmla="*/ 24250 h 42922"/>
                  <a:gd name="connsiteX4" fmla="*/ 16097 w 42922"/>
                  <a:gd name="connsiteY4" fmla="*/ 24539 h 42922"/>
                  <a:gd name="connsiteX5" fmla="*/ 24394 w 42922"/>
                  <a:gd name="connsiteY5" fmla="*/ 33122 h 42922"/>
                  <a:gd name="connsiteX6" fmla="*/ 24539 w 42922"/>
                  <a:gd name="connsiteY6" fmla="*/ 33123 h 42922"/>
                  <a:gd name="connsiteX7" fmla="*/ 33123 w 42922"/>
                  <a:gd name="connsiteY7" fmla="*/ 245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539"/>
                    </a:moveTo>
                    <a:cubicBezTo>
                      <a:pt x="33123" y="19877"/>
                      <a:pt x="29344" y="16097"/>
                      <a:pt x="24683" y="16096"/>
                    </a:cubicBezTo>
                    <a:cubicBezTo>
                      <a:pt x="24634" y="16096"/>
                      <a:pt x="24587" y="16096"/>
                      <a:pt x="24539" y="16097"/>
                    </a:cubicBezTo>
                    <a:cubicBezTo>
                      <a:pt x="19956" y="16017"/>
                      <a:pt x="16177" y="19667"/>
                      <a:pt x="16097" y="24250"/>
                    </a:cubicBezTo>
                    <a:cubicBezTo>
                      <a:pt x="16096" y="24346"/>
                      <a:pt x="16096" y="24443"/>
                      <a:pt x="16097" y="24539"/>
                    </a:cubicBezTo>
                    <a:cubicBezTo>
                      <a:pt x="16018" y="29200"/>
                      <a:pt x="19733" y="33043"/>
                      <a:pt x="24394" y="33122"/>
                    </a:cubicBezTo>
                    <a:cubicBezTo>
                      <a:pt x="24443" y="33123"/>
                      <a:pt x="24490" y="33123"/>
                      <a:pt x="24539" y="33123"/>
                    </a:cubicBezTo>
                    <a:cubicBezTo>
                      <a:pt x="29280" y="33123"/>
                      <a:pt x="33123" y="29280"/>
                      <a:pt x="33123" y="2453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22" name="Freeform: Shape 521">
                <a:extLst>
                  <a:ext uri="{FF2B5EF4-FFF2-40B4-BE49-F238E27FC236}">
                    <a16:creationId xmlns:a16="http://schemas.microsoft.com/office/drawing/2014/main" id="{A98AF71D-7015-4DAC-9DDA-2C8710105FED}"/>
                  </a:ext>
                </a:extLst>
              </p:cNvPr>
              <p:cNvSpPr/>
              <p:nvPr/>
            </p:nvSpPr>
            <p:spPr>
              <a:xfrm>
                <a:off x="4062044" y="4972815"/>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6"/>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23" name="Freeform: Shape 522">
                <a:extLst>
                  <a:ext uri="{FF2B5EF4-FFF2-40B4-BE49-F238E27FC236}">
                    <a16:creationId xmlns:a16="http://schemas.microsoft.com/office/drawing/2014/main" id="{913AAE4A-4AF3-4D54-970D-B6F3FAACE01D}"/>
                  </a:ext>
                </a:extLst>
              </p:cNvPr>
              <p:cNvSpPr/>
              <p:nvPr/>
            </p:nvSpPr>
            <p:spPr>
              <a:xfrm>
                <a:off x="4115125" y="4974966"/>
                <a:ext cx="42922" cy="42922"/>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24" name="Freeform: Shape 523">
                <a:extLst>
                  <a:ext uri="{FF2B5EF4-FFF2-40B4-BE49-F238E27FC236}">
                    <a16:creationId xmlns:a16="http://schemas.microsoft.com/office/drawing/2014/main" id="{FEF40447-CF2F-422C-8345-FABA28B6ED96}"/>
                  </a:ext>
                </a:extLst>
              </p:cNvPr>
              <p:cNvSpPr/>
              <p:nvPr/>
            </p:nvSpPr>
            <p:spPr>
              <a:xfrm>
                <a:off x="4166918" y="4974103"/>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25" name="Freeform: Shape 524">
                <a:extLst>
                  <a:ext uri="{FF2B5EF4-FFF2-40B4-BE49-F238E27FC236}">
                    <a16:creationId xmlns:a16="http://schemas.microsoft.com/office/drawing/2014/main" id="{E589297F-629B-4A56-91A3-5C42D0FF4C39}"/>
                  </a:ext>
                </a:extLst>
              </p:cNvPr>
              <p:cNvSpPr/>
              <p:nvPr/>
            </p:nvSpPr>
            <p:spPr>
              <a:xfrm>
                <a:off x="4219068" y="4975609"/>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26" name="Freeform: Shape 525">
                <a:extLst>
                  <a:ext uri="{FF2B5EF4-FFF2-40B4-BE49-F238E27FC236}">
                    <a16:creationId xmlns:a16="http://schemas.microsoft.com/office/drawing/2014/main" id="{1D2E0FA5-8A06-47A1-BD9F-4C7192765508}"/>
                  </a:ext>
                </a:extLst>
              </p:cNvPr>
              <p:cNvSpPr/>
              <p:nvPr/>
            </p:nvSpPr>
            <p:spPr>
              <a:xfrm>
                <a:off x="4271362" y="4975389"/>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27" name="Freeform: Shape 526">
                <a:extLst>
                  <a:ext uri="{FF2B5EF4-FFF2-40B4-BE49-F238E27FC236}">
                    <a16:creationId xmlns:a16="http://schemas.microsoft.com/office/drawing/2014/main" id="{18A4DE94-FCFC-4032-AB53-369E53DD800C}"/>
                  </a:ext>
                </a:extLst>
              </p:cNvPr>
              <p:cNvSpPr/>
              <p:nvPr/>
            </p:nvSpPr>
            <p:spPr>
              <a:xfrm>
                <a:off x="4323513" y="4976791"/>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28" name="Freeform: Shape 527">
                <a:extLst>
                  <a:ext uri="{FF2B5EF4-FFF2-40B4-BE49-F238E27FC236}">
                    <a16:creationId xmlns:a16="http://schemas.microsoft.com/office/drawing/2014/main" id="{2AA014C9-9ED0-4D5C-BD1F-8D5941832541}"/>
                  </a:ext>
                </a:extLst>
              </p:cNvPr>
              <p:cNvSpPr/>
              <p:nvPr/>
            </p:nvSpPr>
            <p:spPr>
              <a:xfrm>
                <a:off x="4375808" y="4976820"/>
                <a:ext cx="28615" cy="28615"/>
              </a:xfrm>
              <a:custGeom>
                <a:avLst/>
                <a:gdLst>
                  <a:gd name="connsiteX0" fmla="*/ 24392 w 28614"/>
                  <a:gd name="connsiteY0" fmla="*/ 20102 h 28614"/>
                  <a:gd name="connsiteX1" fmla="*/ 20103 w 28614"/>
                  <a:gd name="connsiteY1" fmla="*/ 16098 h 28614"/>
                  <a:gd name="connsiteX2" fmla="*/ 16098 w 28614"/>
                  <a:gd name="connsiteY2" fmla="*/ 20388 h 28614"/>
                  <a:gd name="connsiteX3" fmla="*/ 20243 w 28614"/>
                  <a:gd name="connsiteY3" fmla="*/ 24394 h 28614"/>
                  <a:gd name="connsiteX4" fmla="*/ 24395 w 28614"/>
                  <a:gd name="connsiteY4" fmla="*/ 20248 h 28614"/>
                  <a:gd name="connsiteX5" fmla="*/ 24392 w 28614"/>
                  <a:gd name="connsiteY5" fmla="*/ 201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4392" y="20102"/>
                    </a:moveTo>
                    <a:cubicBezTo>
                      <a:pt x="24314" y="17811"/>
                      <a:pt x="22392" y="16018"/>
                      <a:pt x="20103" y="16098"/>
                    </a:cubicBezTo>
                    <a:cubicBezTo>
                      <a:pt x="17812" y="16177"/>
                      <a:pt x="16020" y="18097"/>
                      <a:pt x="16098" y="20388"/>
                    </a:cubicBezTo>
                    <a:cubicBezTo>
                      <a:pt x="16176" y="22621"/>
                      <a:pt x="18008" y="24393"/>
                      <a:pt x="20243" y="24394"/>
                    </a:cubicBezTo>
                    <a:cubicBezTo>
                      <a:pt x="22535" y="24395"/>
                      <a:pt x="24394" y="22538"/>
                      <a:pt x="24395" y="20248"/>
                    </a:cubicBezTo>
                    <a:cubicBezTo>
                      <a:pt x="24395" y="20199"/>
                      <a:pt x="24394" y="20150"/>
                      <a:pt x="24392" y="2010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29" name="Freeform: Shape 528">
                <a:extLst>
                  <a:ext uri="{FF2B5EF4-FFF2-40B4-BE49-F238E27FC236}">
                    <a16:creationId xmlns:a16="http://schemas.microsoft.com/office/drawing/2014/main" id="{049A1DDC-C4D0-473C-A08C-361BFB5CE9A6}"/>
                  </a:ext>
                </a:extLst>
              </p:cNvPr>
              <p:cNvSpPr/>
              <p:nvPr/>
            </p:nvSpPr>
            <p:spPr>
              <a:xfrm>
                <a:off x="4428601" y="4977249"/>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728" y="16169"/>
                      <a:pt x="16169" y="17728"/>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30" name="Freeform: Shape 529">
                <a:extLst>
                  <a:ext uri="{FF2B5EF4-FFF2-40B4-BE49-F238E27FC236}">
                    <a16:creationId xmlns:a16="http://schemas.microsoft.com/office/drawing/2014/main" id="{A044FF04-30CD-4378-A76E-9A4551E53298}"/>
                  </a:ext>
                </a:extLst>
              </p:cNvPr>
              <p:cNvSpPr/>
              <p:nvPr/>
            </p:nvSpPr>
            <p:spPr>
              <a:xfrm>
                <a:off x="4480111" y="4977961"/>
                <a:ext cx="28615" cy="28615"/>
              </a:xfrm>
              <a:custGeom>
                <a:avLst/>
                <a:gdLst>
                  <a:gd name="connsiteX0" fmla="*/ 21962 w 28614"/>
                  <a:gd name="connsiteY0" fmla="*/ 18961 h 28614"/>
                  <a:gd name="connsiteX1" fmla="*/ 19100 w 28614"/>
                  <a:gd name="connsiteY1" fmla="*/ 16100 h 28614"/>
                  <a:gd name="connsiteX2" fmla="*/ 16100 w 28614"/>
                  <a:gd name="connsiteY2" fmla="*/ 18814 h 28614"/>
                  <a:gd name="connsiteX3" fmla="*/ 16096 w 28614"/>
                  <a:gd name="connsiteY3" fmla="*/ 18961 h 28614"/>
                  <a:gd name="connsiteX4" fmla="*/ 19100 w 28614"/>
                  <a:gd name="connsiteY4" fmla="*/ 21966 h 28614"/>
                  <a:gd name="connsiteX5" fmla="*/ 21966 w 28614"/>
                  <a:gd name="connsiteY5" fmla="*/ 19107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4"/>
                    </a:cubicBezTo>
                    <a:cubicBezTo>
                      <a:pt x="16097" y="18864"/>
                      <a:pt x="16096" y="18912"/>
                      <a:pt x="16096" y="18961"/>
                    </a:cubicBezTo>
                    <a:cubicBezTo>
                      <a:pt x="16096" y="20621"/>
                      <a:pt x="17441" y="21966"/>
                      <a:pt x="19100" y="21966"/>
                    </a:cubicBezTo>
                    <a:cubicBezTo>
                      <a:pt x="20682" y="21967"/>
                      <a:pt x="21963" y="20688"/>
                      <a:pt x="21966" y="19107"/>
                    </a:cubicBezTo>
                    <a:cubicBezTo>
                      <a:pt x="21966" y="19058"/>
                      <a:pt x="21965" y="19010"/>
                      <a:pt x="21962" y="1896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31" name="Freeform: Shape 530">
                <a:extLst>
                  <a:ext uri="{FF2B5EF4-FFF2-40B4-BE49-F238E27FC236}">
                    <a16:creationId xmlns:a16="http://schemas.microsoft.com/office/drawing/2014/main" id="{CF558D8D-681C-41B0-A5AF-AB94AB0B1DE5}"/>
                  </a:ext>
                </a:extLst>
              </p:cNvPr>
              <p:cNvSpPr/>
              <p:nvPr/>
            </p:nvSpPr>
            <p:spPr>
              <a:xfrm>
                <a:off x="4010396" y="5004719"/>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32" name="Freeform: Shape 531">
                <a:extLst>
                  <a:ext uri="{FF2B5EF4-FFF2-40B4-BE49-F238E27FC236}">
                    <a16:creationId xmlns:a16="http://schemas.microsoft.com/office/drawing/2014/main" id="{CA157A75-0378-4EA3-8BD3-7E97D3064429}"/>
                  </a:ext>
                </a:extLst>
              </p:cNvPr>
              <p:cNvSpPr/>
              <p:nvPr/>
            </p:nvSpPr>
            <p:spPr>
              <a:xfrm>
                <a:off x="4062048" y="5005150"/>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96" y="32119"/>
                      <a:pt x="32119" y="28596"/>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33" name="Freeform: Shape 532">
                <a:extLst>
                  <a:ext uri="{FF2B5EF4-FFF2-40B4-BE49-F238E27FC236}">
                    <a16:creationId xmlns:a16="http://schemas.microsoft.com/office/drawing/2014/main" id="{3B43241C-BA59-428C-B546-9D4B0CFF22D9}"/>
                  </a:ext>
                </a:extLst>
              </p:cNvPr>
              <p:cNvSpPr/>
              <p:nvPr/>
            </p:nvSpPr>
            <p:spPr>
              <a:xfrm>
                <a:off x="4114841" y="5006007"/>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34" name="Freeform: Shape 533">
                <a:extLst>
                  <a:ext uri="{FF2B5EF4-FFF2-40B4-BE49-F238E27FC236}">
                    <a16:creationId xmlns:a16="http://schemas.microsoft.com/office/drawing/2014/main" id="{DF576318-2DCE-43A1-A41C-4F30CF00848E}"/>
                  </a:ext>
                </a:extLst>
              </p:cNvPr>
              <p:cNvSpPr/>
              <p:nvPr/>
            </p:nvSpPr>
            <p:spPr>
              <a:xfrm>
                <a:off x="4166920" y="5006581"/>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35" name="Freeform: Shape 534">
                <a:extLst>
                  <a:ext uri="{FF2B5EF4-FFF2-40B4-BE49-F238E27FC236}">
                    <a16:creationId xmlns:a16="http://schemas.microsoft.com/office/drawing/2014/main" id="{28FF85F4-6F04-43A8-B3FD-DCE31DBF8A15}"/>
                  </a:ext>
                </a:extLst>
              </p:cNvPr>
              <p:cNvSpPr/>
              <p:nvPr/>
            </p:nvSpPr>
            <p:spPr>
              <a:xfrm>
                <a:off x="4219001" y="5007011"/>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36" name="Freeform: Shape 535">
                <a:extLst>
                  <a:ext uri="{FF2B5EF4-FFF2-40B4-BE49-F238E27FC236}">
                    <a16:creationId xmlns:a16="http://schemas.microsoft.com/office/drawing/2014/main" id="{E3F8C108-0667-4B2C-9DFA-41032D95B889}"/>
                  </a:ext>
                </a:extLst>
              </p:cNvPr>
              <p:cNvSpPr/>
              <p:nvPr/>
            </p:nvSpPr>
            <p:spPr>
              <a:xfrm>
                <a:off x="4271365" y="5007867"/>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37" name="Freeform: Shape 536">
                <a:extLst>
                  <a:ext uri="{FF2B5EF4-FFF2-40B4-BE49-F238E27FC236}">
                    <a16:creationId xmlns:a16="http://schemas.microsoft.com/office/drawing/2014/main" id="{DC838BC6-94B8-4CA7-8F95-AD1C10E4B410}"/>
                  </a:ext>
                </a:extLst>
              </p:cNvPr>
              <p:cNvSpPr/>
              <p:nvPr/>
            </p:nvSpPr>
            <p:spPr>
              <a:xfrm>
                <a:off x="4323444" y="5008441"/>
                <a:ext cx="28615" cy="28615"/>
              </a:xfrm>
              <a:custGeom>
                <a:avLst/>
                <a:gdLst>
                  <a:gd name="connsiteX0" fmla="*/ 25825 w 28614"/>
                  <a:gd name="connsiteY0" fmla="*/ 20959 h 28614"/>
                  <a:gd name="connsiteX1" fmla="*/ 20959 w 28614"/>
                  <a:gd name="connsiteY1" fmla="*/ 16096 h 28614"/>
                  <a:gd name="connsiteX2" fmla="*/ 16096 w 28614"/>
                  <a:gd name="connsiteY2" fmla="*/ 20963 h 28614"/>
                  <a:gd name="connsiteX3" fmla="*/ 20963 w 28614"/>
                  <a:gd name="connsiteY3" fmla="*/ 25825 h 28614"/>
                  <a:gd name="connsiteX4" fmla="*/ 21104 w 28614"/>
                  <a:gd name="connsiteY4" fmla="*/ 25824 h 28614"/>
                  <a:gd name="connsiteX5" fmla="*/ 25825 w 28614"/>
                  <a:gd name="connsiteY5" fmla="*/ 2095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5" y="20959"/>
                    </a:moveTo>
                    <a:cubicBezTo>
                      <a:pt x="25824" y="18272"/>
                      <a:pt x="23644" y="16096"/>
                      <a:pt x="20959" y="16096"/>
                    </a:cubicBezTo>
                    <a:cubicBezTo>
                      <a:pt x="18272" y="16097"/>
                      <a:pt x="16094" y="18276"/>
                      <a:pt x="16096" y="20963"/>
                    </a:cubicBezTo>
                    <a:cubicBezTo>
                      <a:pt x="16097" y="23650"/>
                      <a:pt x="18276" y="25826"/>
                      <a:pt x="20963" y="25825"/>
                    </a:cubicBezTo>
                    <a:cubicBezTo>
                      <a:pt x="21009" y="25825"/>
                      <a:pt x="21056" y="25825"/>
                      <a:pt x="21104" y="25824"/>
                    </a:cubicBezTo>
                    <a:cubicBezTo>
                      <a:pt x="23735" y="25746"/>
                      <a:pt x="25826" y="23590"/>
                      <a:pt x="25825" y="2095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38" name="Freeform: Shape 537">
                <a:extLst>
                  <a:ext uri="{FF2B5EF4-FFF2-40B4-BE49-F238E27FC236}">
                    <a16:creationId xmlns:a16="http://schemas.microsoft.com/office/drawing/2014/main" id="{DEEB08EF-7B0C-4B50-9548-2F8053860C0C}"/>
                  </a:ext>
                </a:extLst>
              </p:cNvPr>
              <p:cNvSpPr/>
              <p:nvPr/>
            </p:nvSpPr>
            <p:spPr>
              <a:xfrm>
                <a:off x="4375809" y="5009155"/>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39" name="Freeform: Shape 538">
                <a:extLst>
                  <a:ext uri="{FF2B5EF4-FFF2-40B4-BE49-F238E27FC236}">
                    <a16:creationId xmlns:a16="http://schemas.microsoft.com/office/drawing/2014/main" id="{4B2119BE-3239-4E57-895F-860BA7104DD3}"/>
                  </a:ext>
                </a:extLst>
              </p:cNvPr>
              <p:cNvSpPr/>
              <p:nvPr/>
            </p:nvSpPr>
            <p:spPr>
              <a:xfrm>
                <a:off x="4428604" y="5009727"/>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40" name="Freeform: Shape 539">
                <a:extLst>
                  <a:ext uri="{FF2B5EF4-FFF2-40B4-BE49-F238E27FC236}">
                    <a16:creationId xmlns:a16="http://schemas.microsoft.com/office/drawing/2014/main" id="{DB10855B-3645-4486-B87B-B46B8C1F9599}"/>
                  </a:ext>
                </a:extLst>
              </p:cNvPr>
              <p:cNvSpPr/>
              <p:nvPr/>
            </p:nvSpPr>
            <p:spPr>
              <a:xfrm>
                <a:off x="4479967" y="5010302"/>
                <a:ext cx="28615" cy="28615"/>
              </a:xfrm>
              <a:custGeom>
                <a:avLst/>
                <a:gdLst>
                  <a:gd name="connsiteX0" fmla="*/ 22105 w 28614"/>
                  <a:gd name="connsiteY0" fmla="*/ 19098 h 28614"/>
                  <a:gd name="connsiteX1" fmla="*/ 19098 w 28614"/>
                  <a:gd name="connsiteY1" fmla="*/ 16096 h 28614"/>
                  <a:gd name="connsiteX2" fmla="*/ 16096 w 28614"/>
                  <a:gd name="connsiteY2" fmla="*/ 19105 h 28614"/>
                  <a:gd name="connsiteX3" fmla="*/ 19103 w 28614"/>
                  <a:gd name="connsiteY3" fmla="*/ 22105 h 28614"/>
                  <a:gd name="connsiteX4" fmla="*/ 19244 w 28614"/>
                  <a:gd name="connsiteY4" fmla="*/ 22102 h 28614"/>
                  <a:gd name="connsiteX5" fmla="*/ 22105 w 28614"/>
                  <a:gd name="connsiteY5" fmla="*/ 1909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2105" y="19098"/>
                    </a:moveTo>
                    <a:cubicBezTo>
                      <a:pt x="22104" y="17438"/>
                      <a:pt x="20756" y="16094"/>
                      <a:pt x="19098" y="16096"/>
                    </a:cubicBezTo>
                    <a:cubicBezTo>
                      <a:pt x="17438" y="16099"/>
                      <a:pt x="16094" y="17445"/>
                      <a:pt x="16096" y="19105"/>
                    </a:cubicBezTo>
                    <a:cubicBezTo>
                      <a:pt x="16097" y="20764"/>
                      <a:pt x="17445" y="22108"/>
                      <a:pt x="19103" y="22105"/>
                    </a:cubicBezTo>
                    <a:cubicBezTo>
                      <a:pt x="19151" y="22105"/>
                      <a:pt x="19196" y="22105"/>
                      <a:pt x="19244" y="22102"/>
                    </a:cubicBezTo>
                    <a:cubicBezTo>
                      <a:pt x="20847" y="22026"/>
                      <a:pt x="22107" y="20703"/>
                      <a:pt x="22105" y="19098"/>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41" name="Freeform: Shape 540">
                <a:extLst>
                  <a:ext uri="{FF2B5EF4-FFF2-40B4-BE49-F238E27FC236}">
                    <a16:creationId xmlns:a16="http://schemas.microsoft.com/office/drawing/2014/main" id="{79A22F6D-E82E-4042-9AF5-B4E2F5BB733C}"/>
                  </a:ext>
                </a:extLst>
              </p:cNvPr>
              <p:cNvSpPr/>
              <p:nvPr/>
            </p:nvSpPr>
            <p:spPr>
              <a:xfrm>
                <a:off x="4010538" y="5037198"/>
                <a:ext cx="42922" cy="42922"/>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42" name="Freeform: Shape 541">
                <a:extLst>
                  <a:ext uri="{FF2B5EF4-FFF2-40B4-BE49-F238E27FC236}">
                    <a16:creationId xmlns:a16="http://schemas.microsoft.com/office/drawing/2014/main" id="{5226D0AA-4210-4B9F-BB46-7A24C1738528}"/>
                  </a:ext>
                </a:extLst>
              </p:cNvPr>
              <p:cNvSpPr/>
              <p:nvPr/>
            </p:nvSpPr>
            <p:spPr>
              <a:xfrm>
                <a:off x="4062048" y="5037629"/>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43" name="Freeform: Shape 542">
                <a:extLst>
                  <a:ext uri="{FF2B5EF4-FFF2-40B4-BE49-F238E27FC236}">
                    <a16:creationId xmlns:a16="http://schemas.microsoft.com/office/drawing/2014/main" id="{E8535261-0725-432C-AE54-F1020C5E9435}"/>
                  </a:ext>
                </a:extLst>
              </p:cNvPr>
              <p:cNvSpPr/>
              <p:nvPr/>
            </p:nvSpPr>
            <p:spPr>
              <a:xfrm>
                <a:off x="4114841" y="5038486"/>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89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89"/>
                      <a:pt x="23393" y="30689"/>
                    </a:cubicBezTo>
                    <a:cubicBezTo>
                      <a:pt x="27423" y="30689"/>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44" name="Freeform: Shape 543">
                <a:extLst>
                  <a:ext uri="{FF2B5EF4-FFF2-40B4-BE49-F238E27FC236}">
                    <a16:creationId xmlns:a16="http://schemas.microsoft.com/office/drawing/2014/main" id="{CB02B2CF-0C43-4972-ACB9-6754ACE6B87C}"/>
                  </a:ext>
                </a:extLst>
              </p:cNvPr>
              <p:cNvSpPr/>
              <p:nvPr/>
            </p:nvSpPr>
            <p:spPr>
              <a:xfrm>
                <a:off x="4166922" y="5038917"/>
                <a:ext cx="42922" cy="42922"/>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45" name="Freeform: Shape 544">
                <a:extLst>
                  <a:ext uri="{FF2B5EF4-FFF2-40B4-BE49-F238E27FC236}">
                    <a16:creationId xmlns:a16="http://schemas.microsoft.com/office/drawing/2014/main" id="{2DAFD7D9-AB45-44AD-92BE-78B535DA93E6}"/>
                  </a:ext>
                </a:extLst>
              </p:cNvPr>
              <p:cNvSpPr/>
              <p:nvPr/>
            </p:nvSpPr>
            <p:spPr>
              <a:xfrm>
                <a:off x="4219001" y="5039489"/>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46" name="Freeform: Shape 545">
                <a:extLst>
                  <a:ext uri="{FF2B5EF4-FFF2-40B4-BE49-F238E27FC236}">
                    <a16:creationId xmlns:a16="http://schemas.microsoft.com/office/drawing/2014/main" id="{0327FEBA-D162-4C1C-95E4-4A63C51C69F1}"/>
                  </a:ext>
                </a:extLst>
              </p:cNvPr>
              <p:cNvSpPr/>
              <p:nvPr/>
            </p:nvSpPr>
            <p:spPr>
              <a:xfrm>
                <a:off x="4271364" y="5040349"/>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47" name="Freeform: Shape 546">
                <a:extLst>
                  <a:ext uri="{FF2B5EF4-FFF2-40B4-BE49-F238E27FC236}">
                    <a16:creationId xmlns:a16="http://schemas.microsoft.com/office/drawing/2014/main" id="{D8CB8E50-38B3-4329-9BD8-D22C09B7859F}"/>
                  </a:ext>
                </a:extLst>
              </p:cNvPr>
              <p:cNvSpPr/>
              <p:nvPr/>
            </p:nvSpPr>
            <p:spPr>
              <a:xfrm>
                <a:off x="4323445" y="5040780"/>
                <a:ext cx="28615" cy="28615"/>
              </a:xfrm>
              <a:custGeom>
                <a:avLst/>
                <a:gdLst>
                  <a:gd name="connsiteX0" fmla="*/ 25823 w 28614"/>
                  <a:gd name="connsiteY0" fmla="*/ 21101 h 28614"/>
                  <a:gd name="connsiteX1" fmla="*/ 21101 w 28614"/>
                  <a:gd name="connsiteY1" fmla="*/ 16098 h 28614"/>
                  <a:gd name="connsiteX2" fmla="*/ 16098 w 28614"/>
                  <a:gd name="connsiteY2" fmla="*/ 20820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20"/>
                    </a:cubicBezTo>
                    <a:cubicBezTo>
                      <a:pt x="16019" y="23505"/>
                      <a:pt x="18134" y="25746"/>
                      <a:pt x="20820" y="25823"/>
                    </a:cubicBezTo>
                    <a:cubicBezTo>
                      <a:pt x="20914" y="25826"/>
                      <a:pt x="21007" y="25826"/>
                      <a:pt x="21101" y="25823"/>
                    </a:cubicBezTo>
                    <a:cubicBezTo>
                      <a:pt x="23677" y="25748"/>
                      <a:pt x="25748" y="23678"/>
                      <a:pt x="25823" y="2110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48" name="Freeform: Shape 547">
                <a:extLst>
                  <a:ext uri="{FF2B5EF4-FFF2-40B4-BE49-F238E27FC236}">
                    <a16:creationId xmlns:a16="http://schemas.microsoft.com/office/drawing/2014/main" id="{FB267646-0570-4126-AC55-AEF15A23187A}"/>
                  </a:ext>
                </a:extLst>
              </p:cNvPr>
              <p:cNvSpPr/>
              <p:nvPr/>
            </p:nvSpPr>
            <p:spPr>
              <a:xfrm>
                <a:off x="4375809" y="5041637"/>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49" name="Freeform: Shape 548">
                <a:extLst>
                  <a:ext uri="{FF2B5EF4-FFF2-40B4-BE49-F238E27FC236}">
                    <a16:creationId xmlns:a16="http://schemas.microsoft.com/office/drawing/2014/main" id="{BF5D5977-E4C9-4300-9AF0-2CC141B43850}"/>
                  </a:ext>
                </a:extLst>
              </p:cNvPr>
              <p:cNvSpPr/>
              <p:nvPr/>
            </p:nvSpPr>
            <p:spPr>
              <a:xfrm>
                <a:off x="4429185" y="5042066"/>
                <a:ext cx="28615" cy="28615"/>
              </a:xfrm>
              <a:custGeom>
                <a:avLst/>
                <a:gdLst>
                  <a:gd name="connsiteX0" fmla="*/ 22668 w 28614"/>
                  <a:gd name="connsiteY0" fmla="*/ 19816 h 28614"/>
                  <a:gd name="connsiteX1" fmla="*/ 19091 w 28614"/>
                  <a:gd name="connsiteY1" fmla="*/ 16096 h 28614"/>
                  <a:gd name="connsiteX2" fmla="*/ 16168 w 28614"/>
                  <a:gd name="connsiteY2" fmla="*/ 20470 h 28614"/>
                  <a:gd name="connsiteX3" fmla="*/ 19091 w 28614"/>
                  <a:gd name="connsiteY3" fmla="*/ 23393 h 28614"/>
                  <a:gd name="connsiteX4" fmla="*/ 22668 w 28614"/>
                  <a:gd name="connsiteY4" fmla="*/ 19816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2668" y="19816"/>
                    </a:moveTo>
                    <a:cubicBezTo>
                      <a:pt x="22669" y="17816"/>
                      <a:pt x="21090" y="16173"/>
                      <a:pt x="19091" y="16096"/>
                    </a:cubicBezTo>
                    <a:cubicBezTo>
                      <a:pt x="17077" y="16497"/>
                      <a:pt x="15767" y="18455"/>
                      <a:pt x="16168" y="20470"/>
                    </a:cubicBezTo>
                    <a:cubicBezTo>
                      <a:pt x="16463" y="21946"/>
                      <a:pt x="17616" y="23099"/>
                      <a:pt x="19091" y="23393"/>
                    </a:cubicBezTo>
                    <a:cubicBezTo>
                      <a:pt x="21067" y="23393"/>
                      <a:pt x="22668" y="21792"/>
                      <a:pt x="22668" y="1981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50" name="Freeform: Shape 549">
                <a:extLst>
                  <a:ext uri="{FF2B5EF4-FFF2-40B4-BE49-F238E27FC236}">
                    <a16:creationId xmlns:a16="http://schemas.microsoft.com/office/drawing/2014/main" id="{ED299C57-5A62-4392-B58F-8021C7F716C9}"/>
                  </a:ext>
                </a:extLst>
              </p:cNvPr>
              <p:cNvSpPr/>
              <p:nvPr/>
            </p:nvSpPr>
            <p:spPr>
              <a:xfrm>
                <a:off x="4480110" y="5042777"/>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1"/>
                      <a:pt x="21962"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51" name="Freeform: Shape 550">
                <a:extLst>
                  <a:ext uri="{FF2B5EF4-FFF2-40B4-BE49-F238E27FC236}">
                    <a16:creationId xmlns:a16="http://schemas.microsoft.com/office/drawing/2014/main" id="{D3DBE07F-AC3B-48AC-A284-E4987EBDC0C6}"/>
                  </a:ext>
                </a:extLst>
              </p:cNvPr>
              <p:cNvSpPr/>
              <p:nvPr/>
            </p:nvSpPr>
            <p:spPr>
              <a:xfrm>
                <a:off x="4010538" y="4875092"/>
                <a:ext cx="42922" cy="42922"/>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52" name="Freeform: Shape 551">
                <a:extLst>
                  <a:ext uri="{FF2B5EF4-FFF2-40B4-BE49-F238E27FC236}">
                    <a16:creationId xmlns:a16="http://schemas.microsoft.com/office/drawing/2014/main" id="{42BB5548-E795-456A-BAA8-A23025F0121D}"/>
                  </a:ext>
                </a:extLst>
              </p:cNvPr>
              <p:cNvSpPr/>
              <p:nvPr/>
            </p:nvSpPr>
            <p:spPr>
              <a:xfrm>
                <a:off x="4062048" y="4875533"/>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53" name="Freeform: Shape 552">
                <a:extLst>
                  <a:ext uri="{FF2B5EF4-FFF2-40B4-BE49-F238E27FC236}">
                    <a16:creationId xmlns:a16="http://schemas.microsoft.com/office/drawing/2014/main" id="{BBA990A0-5C67-433D-97CD-86C19FE9D46B}"/>
                  </a:ext>
                </a:extLst>
              </p:cNvPr>
              <p:cNvSpPr/>
              <p:nvPr/>
            </p:nvSpPr>
            <p:spPr>
              <a:xfrm>
                <a:off x="4115127" y="4877827"/>
                <a:ext cx="42922" cy="42922"/>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54" name="Freeform: Shape 553">
                <a:extLst>
                  <a:ext uri="{FF2B5EF4-FFF2-40B4-BE49-F238E27FC236}">
                    <a16:creationId xmlns:a16="http://schemas.microsoft.com/office/drawing/2014/main" id="{3314176B-26CE-4AE5-A5EE-39246668BBB4}"/>
                  </a:ext>
                </a:extLst>
              </p:cNvPr>
              <p:cNvSpPr/>
              <p:nvPr/>
            </p:nvSpPr>
            <p:spPr>
              <a:xfrm>
                <a:off x="4166922" y="4876832"/>
                <a:ext cx="42922" cy="42922"/>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55" name="Freeform: Shape 554">
                <a:extLst>
                  <a:ext uri="{FF2B5EF4-FFF2-40B4-BE49-F238E27FC236}">
                    <a16:creationId xmlns:a16="http://schemas.microsoft.com/office/drawing/2014/main" id="{A43DA576-EAEC-4A01-8052-4DD218FC026C}"/>
                  </a:ext>
                </a:extLst>
              </p:cNvPr>
              <p:cNvSpPr/>
              <p:nvPr/>
            </p:nvSpPr>
            <p:spPr>
              <a:xfrm>
                <a:off x="4219001" y="4877399"/>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1"/>
                      <a:pt x="22296" y="28401"/>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56" name="Freeform: Shape 555">
                <a:extLst>
                  <a:ext uri="{FF2B5EF4-FFF2-40B4-BE49-F238E27FC236}">
                    <a16:creationId xmlns:a16="http://schemas.microsoft.com/office/drawing/2014/main" id="{291B82D4-8C61-48D9-B02F-8AA99B63F967}"/>
                  </a:ext>
                </a:extLst>
              </p:cNvPr>
              <p:cNvSpPr/>
              <p:nvPr/>
            </p:nvSpPr>
            <p:spPr>
              <a:xfrm>
                <a:off x="4271365" y="4878261"/>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57" name="Freeform: Shape 556">
                <a:extLst>
                  <a:ext uri="{FF2B5EF4-FFF2-40B4-BE49-F238E27FC236}">
                    <a16:creationId xmlns:a16="http://schemas.microsoft.com/office/drawing/2014/main" id="{B005E17D-F5F7-463F-BFF2-1E3F7CEB4417}"/>
                  </a:ext>
                </a:extLst>
              </p:cNvPr>
              <p:cNvSpPr/>
              <p:nvPr/>
            </p:nvSpPr>
            <p:spPr>
              <a:xfrm>
                <a:off x="4323445" y="4878694"/>
                <a:ext cx="28615" cy="28616"/>
              </a:xfrm>
              <a:custGeom>
                <a:avLst/>
                <a:gdLst>
                  <a:gd name="connsiteX0" fmla="*/ 25823 w 28614"/>
                  <a:gd name="connsiteY0" fmla="*/ 21101 h 28614"/>
                  <a:gd name="connsiteX1" fmla="*/ 21101 w 28614"/>
                  <a:gd name="connsiteY1" fmla="*/ 16098 h 28614"/>
                  <a:gd name="connsiteX2" fmla="*/ 16098 w 28614"/>
                  <a:gd name="connsiteY2" fmla="*/ 20819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19"/>
                    </a:cubicBezTo>
                    <a:cubicBezTo>
                      <a:pt x="16019" y="23505"/>
                      <a:pt x="18134" y="25746"/>
                      <a:pt x="20820" y="25823"/>
                    </a:cubicBezTo>
                    <a:cubicBezTo>
                      <a:pt x="20914" y="25826"/>
                      <a:pt x="21007" y="25826"/>
                      <a:pt x="21101" y="25823"/>
                    </a:cubicBezTo>
                    <a:cubicBezTo>
                      <a:pt x="23677" y="25748"/>
                      <a:pt x="25748" y="23677"/>
                      <a:pt x="25823" y="2110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58" name="Freeform: Shape 557">
                <a:extLst>
                  <a:ext uri="{FF2B5EF4-FFF2-40B4-BE49-F238E27FC236}">
                    <a16:creationId xmlns:a16="http://schemas.microsoft.com/office/drawing/2014/main" id="{2D7E05BC-3D1A-4D38-BAD2-1EEEBBB642DE}"/>
                  </a:ext>
                </a:extLst>
              </p:cNvPr>
              <p:cNvSpPr/>
              <p:nvPr/>
            </p:nvSpPr>
            <p:spPr>
              <a:xfrm>
                <a:off x="4375808" y="4879540"/>
                <a:ext cx="28615" cy="28616"/>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59" name="Freeform: Shape 558">
                <a:extLst>
                  <a:ext uri="{FF2B5EF4-FFF2-40B4-BE49-F238E27FC236}">
                    <a16:creationId xmlns:a16="http://schemas.microsoft.com/office/drawing/2014/main" id="{C4420E69-DC8B-4FFF-BE82-89411952A6A8}"/>
                  </a:ext>
                </a:extLst>
              </p:cNvPr>
              <p:cNvSpPr/>
              <p:nvPr/>
            </p:nvSpPr>
            <p:spPr>
              <a:xfrm>
                <a:off x="4427888" y="4879883"/>
                <a:ext cx="28615" cy="28615"/>
              </a:xfrm>
              <a:custGeom>
                <a:avLst/>
                <a:gdLst>
                  <a:gd name="connsiteX0" fmla="*/ 23965 w 28614"/>
                  <a:gd name="connsiteY0" fmla="*/ 19889 h 28614"/>
                  <a:gd name="connsiteX1" fmla="*/ 20611 w 28614"/>
                  <a:gd name="connsiteY1" fmla="*/ 16102 h 28614"/>
                  <a:gd name="connsiteX2" fmla="*/ 19673 w 28614"/>
                  <a:gd name="connsiteY2" fmla="*/ 16169 h 28614"/>
                  <a:gd name="connsiteX3" fmla="*/ 16096 w 28614"/>
                  <a:gd name="connsiteY3" fmla="*/ 19746 h 28614"/>
                  <a:gd name="connsiteX4" fmla="*/ 19673 w 28614"/>
                  <a:gd name="connsiteY4" fmla="*/ 23323 h 28614"/>
                  <a:gd name="connsiteX5" fmla="*/ 23250 w 28614"/>
                  <a:gd name="connsiteY5" fmla="*/ 1974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965" y="19889"/>
                    </a:moveTo>
                    <a:cubicBezTo>
                      <a:pt x="24085" y="17918"/>
                      <a:pt x="22583" y="16222"/>
                      <a:pt x="20611" y="16102"/>
                    </a:cubicBezTo>
                    <a:cubicBezTo>
                      <a:pt x="20297" y="16084"/>
                      <a:pt x="19982" y="16106"/>
                      <a:pt x="19673" y="16169"/>
                    </a:cubicBezTo>
                    <a:cubicBezTo>
                      <a:pt x="17697" y="16169"/>
                      <a:pt x="16096" y="17770"/>
                      <a:pt x="16096" y="19746"/>
                    </a:cubicBezTo>
                    <a:cubicBezTo>
                      <a:pt x="16169" y="21691"/>
                      <a:pt x="17728" y="23250"/>
                      <a:pt x="19673" y="23323"/>
                    </a:cubicBezTo>
                    <a:cubicBezTo>
                      <a:pt x="21649" y="23323"/>
                      <a:pt x="23250" y="21722"/>
                      <a:pt x="23250" y="1974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60" name="Freeform: Shape 559">
                <a:extLst>
                  <a:ext uri="{FF2B5EF4-FFF2-40B4-BE49-F238E27FC236}">
                    <a16:creationId xmlns:a16="http://schemas.microsoft.com/office/drawing/2014/main" id="{3BDDDA31-3B41-4FE6-A211-5E1F2543D7DC}"/>
                  </a:ext>
                </a:extLst>
              </p:cNvPr>
              <p:cNvSpPr/>
              <p:nvPr/>
            </p:nvSpPr>
            <p:spPr>
              <a:xfrm>
                <a:off x="4480110" y="4880686"/>
                <a:ext cx="28615" cy="28616"/>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0"/>
                      <a:pt x="21962"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61" name="Freeform: Shape 560">
                <a:extLst>
                  <a:ext uri="{FF2B5EF4-FFF2-40B4-BE49-F238E27FC236}">
                    <a16:creationId xmlns:a16="http://schemas.microsoft.com/office/drawing/2014/main" id="{36030779-ADE1-49E0-9CB8-3D492B697B1D}"/>
                  </a:ext>
                </a:extLst>
              </p:cNvPr>
              <p:cNvSpPr/>
              <p:nvPr/>
            </p:nvSpPr>
            <p:spPr>
              <a:xfrm>
                <a:off x="4010395" y="4907453"/>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62" name="Freeform: Shape 561">
                <a:extLst>
                  <a:ext uri="{FF2B5EF4-FFF2-40B4-BE49-F238E27FC236}">
                    <a16:creationId xmlns:a16="http://schemas.microsoft.com/office/drawing/2014/main" id="{AC88D0B6-902C-43B7-ABD9-EE687AF5B23A}"/>
                  </a:ext>
                </a:extLst>
              </p:cNvPr>
              <p:cNvSpPr/>
              <p:nvPr/>
            </p:nvSpPr>
            <p:spPr>
              <a:xfrm>
                <a:off x="4062045" y="4908014"/>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8"/>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63" name="Freeform: Shape 562">
                <a:extLst>
                  <a:ext uri="{FF2B5EF4-FFF2-40B4-BE49-F238E27FC236}">
                    <a16:creationId xmlns:a16="http://schemas.microsoft.com/office/drawing/2014/main" id="{380E01A2-68FA-442F-8620-56448271A279}"/>
                  </a:ext>
                </a:extLst>
              </p:cNvPr>
              <p:cNvSpPr/>
              <p:nvPr/>
            </p:nvSpPr>
            <p:spPr>
              <a:xfrm>
                <a:off x="4114840" y="4908737"/>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64" name="Freeform: Shape 563">
                <a:extLst>
                  <a:ext uri="{FF2B5EF4-FFF2-40B4-BE49-F238E27FC236}">
                    <a16:creationId xmlns:a16="http://schemas.microsoft.com/office/drawing/2014/main" id="{2F0AE71A-6A42-47F9-B99E-82D3ADBD268E}"/>
                  </a:ext>
                </a:extLst>
              </p:cNvPr>
              <p:cNvSpPr/>
              <p:nvPr/>
            </p:nvSpPr>
            <p:spPr>
              <a:xfrm>
                <a:off x="4166919" y="4909320"/>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65" name="Freeform: Shape 564">
                <a:extLst>
                  <a:ext uri="{FF2B5EF4-FFF2-40B4-BE49-F238E27FC236}">
                    <a16:creationId xmlns:a16="http://schemas.microsoft.com/office/drawing/2014/main" id="{98B42C4B-5376-490E-AC96-9B1F8BD55F27}"/>
                  </a:ext>
                </a:extLst>
              </p:cNvPr>
              <p:cNvSpPr/>
              <p:nvPr/>
            </p:nvSpPr>
            <p:spPr>
              <a:xfrm>
                <a:off x="4219069" y="4910826"/>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66" name="Freeform: Shape 565">
                <a:extLst>
                  <a:ext uri="{FF2B5EF4-FFF2-40B4-BE49-F238E27FC236}">
                    <a16:creationId xmlns:a16="http://schemas.microsoft.com/office/drawing/2014/main" id="{5C56C83B-B2F1-42E1-BBD1-9393B33270AB}"/>
                  </a:ext>
                </a:extLst>
              </p:cNvPr>
              <p:cNvSpPr/>
              <p:nvPr/>
            </p:nvSpPr>
            <p:spPr>
              <a:xfrm>
                <a:off x="4271363" y="4910613"/>
                <a:ext cx="42922" cy="42923"/>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67" name="Freeform: Shape 566">
                <a:extLst>
                  <a:ext uri="{FF2B5EF4-FFF2-40B4-BE49-F238E27FC236}">
                    <a16:creationId xmlns:a16="http://schemas.microsoft.com/office/drawing/2014/main" id="{7FAB76B7-BF7A-49AB-A54D-125893923EFA}"/>
                  </a:ext>
                </a:extLst>
              </p:cNvPr>
              <p:cNvSpPr/>
              <p:nvPr/>
            </p:nvSpPr>
            <p:spPr>
              <a:xfrm>
                <a:off x="4323513" y="4912016"/>
                <a:ext cx="28615" cy="28616"/>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68" name="Freeform: Shape 567">
                <a:extLst>
                  <a:ext uri="{FF2B5EF4-FFF2-40B4-BE49-F238E27FC236}">
                    <a16:creationId xmlns:a16="http://schemas.microsoft.com/office/drawing/2014/main" id="{E1C1BE71-1A20-4E6E-8C44-71A12EC7BBA8}"/>
                  </a:ext>
                </a:extLst>
              </p:cNvPr>
              <p:cNvSpPr/>
              <p:nvPr/>
            </p:nvSpPr>
            <p:spPr>
              <a:xfrm>
                <a:off x="4375808" y="4911917"/>
                <a:ext cx="28615" cy="28616"/>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69" name="Freeform: Shape 568">
                <a:extLst>
                  <a:ext uri="{FF2B5EF4-FFF2-40B4-BE49-F238E27FC236}">
                    <a16:creationId xmlns:a16="http://schemas.microsoft.com/office/drawing/2014/main" id="{0B35E701-4BFE-499C-B4C3-3CC4D0533086}"/>
                  </a:ext>
                </a:extLst>
              </p:cNvPr>
              <p:cNvSpPr/>
              <p:nvPr/>
            </p:nvSpPr>
            <p:spPr>
              <a:xfrm>
                <a:off x="4428603" y="4912506"/>
                <a:ext cx="28615" cy="28616"/>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70" name="Freeform: Shape 569">
                <a:extLst>
                  <a:ext uri="{FF2B5EF4-FFF2-40B4-BE49-F238E27FC236}">
                    <a16:creationId xmlns:a16="http://schemas.microsoft.com/office/drawing/2014/main" id="{B729B70C-8426-43C3-8018-0B23B1CFFDBD}"/>
                  </a:ext>
                </a:extLst>
              </p:cNvPr>
              <p:cNvSpPr/>
              <p:nvPr/>
            </p:nvSpPr>
            <p:spPr>
              <a:xfrm>
                <a:off x="4480108" y="4913206"/>
                <a:ext cx="28615" cy="28616"/>
              </a:xfrm>
              <a:custGeom>
                <a:avLst/>
                <a:gdLst>
                  <a:gd name="connsiteX0" fmla="*/ 21962 w 28614"/>
                  <a:gd name="connsiteY0" fmla="*/ 18961 h 28614"/>
                  <a:gd name="connsiteX1" fmla="*/ 19100 w 28614"/>
                  <a:gd name="connsiteY1" fmla="*/ 16100 h 28614"/>
                  <a:gd name="connsiteX2" fmla="*/ 16100 w 28614"/>
                  <a:gd name="connsiteY2" fmla="*/ 18815 h 28614"/>
                  <a:gd name="connsiteX3" fmla="*/ 16096 w 28614"/>
                  <a:gd name="connsiteY3" fmla="*/ 18961 h 28614"/>
                  <a:gd name="connsiteX4" fmla="*/ 19100 w 28614"/>
                  <a:gd name="connsiteY4" fmla="*/ 21966 h 28614"/>
                  <a:gd name="connsiteX5" fmla="*/ 21966 w 28614"/>
                  <a:gd name="connsiteY5" fmla="*/ 19108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5"/>
                    </a:cubicBezTo>
                    <a:cubicBezTo>
                      <a:pt x="16097" y="18864"/>
                      <a:pt x="16096" y="18912"/>
                      <a:pt x="16096" y="18961"/>
                    </a:cubicBezTo>
                    <a:cubicBezTo>
                      <a:pt x="16096" y="20621"/>
                      <a:pt x="17441" y="21966"/>
                      <a:pt x="19100" y="21966"/>
                    </a:cubicBezTo>
                    <a:cubicBezTo>
                      <a:pt x="20682" y="21967"/>
                      <a:pt x="21963" y="20688"/>
                      <a:pt x="21966" y="19108"/>
                    </a:cubicBezTo>
                    <a:cubicBezTo>
                      <a:pt x="21966" y="19058"/>
                      <a:pt x="21965" y="19010"/>
                      <a:pt x="21962" y="1896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71" name="Freeform: Shape 570">
                <a:extLst>
                  <a:ext uri="{FF2B5EF4-FFF2-40B4-BE49-F238E27FC236}">
                    <a16:creationId xmlns:a16="http://schemas.microsoft.com/office/drawing/2014/main" id="{4F8EFB92-AD05-4046-BE1D-93E72618BE93}"/>
                  </a:ext>
                </a:extLst>
              </p:cNvPr>
              <p:cNvSpPr/>
              <p:nvPr/>
            </p:nvSpPr>
            <p:spPr>
              <a:xfrm>
                <a:off x="4010392" y="4939942"/>
                <a:ext cx="42922" cy="42923"/>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72" name="Freeform: Shape 571">
                <a:extLst>
                  <a:ext uri="{FF2B5EF4-FFF2-40B4-BE49-F238E27FC236}">
                    <a16:creationId xmlns:a16="http://schemas.microsoft.com/office/drawing/2014/main" id="{CD0C9124-B504-49CF-ACA4-64D444B8B6A2}"/>
                  </a:ext>
                </a:extLst>
              </p:cNvPr>
              <p:cNvSpPr/>
              <p:nvPr/>
            </p:nvSpPr>
            <p:spPr>
              <a:xfrm>
                <a:off x="4062046" y="4940357"/>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73" name="Freeform: Shape 572">
                <a:extLst>
                  <a:ext uri="{FF2B5EF4-FFF2-40B4-BE49-F238E27FC236}">
                    <a16:creationId xmlns:a16="http://schemas.microsoft.com/office/drawing/2014/main" id="{F801702B-9E2F-4887-A6D5-9E54FFCFB09B}"/>
                  </a:ext>
                </a:extLst>
              </p:cNvPr>
              <p:cNvSpPr/>
              <p:nvPr/>
            </p:nvSpPr>
            <p:spPr>
              <a:xfrm>
                <a:off x="4114836" y="4941205"/>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74" name="Freeform: Shape 573">
                <a:extLst>
                  <a:ext uri="{FF2B5EF4-FFF2-40B4-BE49-F238E27FC236}">
                    <a16:creationId xmlns:a16="http://schemas.microsoft.com/office/drawing/2014/main" id="{5362F9F6-1E9E-4440-B5E3-708D5B2DC2B0}"/>
                  </a:ext>
                </a:extLst>
              </p:cNvPr>
              <p:cNvSpPr/>
              <p:nvPr/>
            </p:nvSpPr>
            <p:spPr>
              <a:xfrm>
                <a:off x="4166917" y="4941787"/>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75" name="Freeform: Shape 574">
                <a:extLst>
                  <a:ext uri="{FF2B5EF4-FFF2-40B4-BE49-F238E27FC236}">
                    <a16:creationId xmlns:a16="http://schemas.microsoft.com/office/drawing/2014/main" id="{3402D35B-89FB-402D-A923-9EB006EC3158}"/>
                  </a:ext>
                </a:extLst>
              </p:cNvPr>
              <p:cNvSpPr/>
              <p:nvPr/>
            </p:nvSpPr>
            <p:spPr>
              <a:xfrm>
                <a:off x="4218997" y="4942195"/>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76" name="Freeform: Shape 575">
                <a:extLst>
                  <a:ext uri="{FF2B5EF4-FFF2-40B4-BE49-F238E27FC236}">
                    <a16:creationId xmlns:a16="http://schemas.microsoft.com/office/drawing/2014/main" id="{DDC148B4-4B94-42E4-A074-0D3910373CA5}"/>
                  </a:ext>
                </a:extLst>
              </p:cNvPr>
              <p:cNvSpPr/>
              <p:nvPr/>
            </p:nvSpPr>
            <p:spPr>
              <a:xfrm>
                <a:off x="4271359" y="4943028"/>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77" name="Freeform: Shape 576">
                <a:extLst>
                  <a:ext uri="{FF2B5EF4-FFF2-40B4-BE49-F238E27FC236}">
                    <a16:creationId xmlns:a16="http://schemas.microsoft.com/office/drawing/2014/main" id="{E87A8D73-B0C8-4EA7-97A9-5A1EF2A71A46}"/>
                  </a:ext>
                </a:extLst>
              </p:cNvPr>
              <p:cNvSpPr/>
              <p:nvPr/>
            </p:nvSpPr>
            <p:spPr>
              <a:xfrm>
                <a:off x="4323513" y="4942771"/>
                <a:ext cx="28615" cy="42922"/>
              </a:xfrm>
              <a:custGeom>
                <a:avLst/>
                <a:gdLst>
                  <a:gd name="connsiteX0" fmla="*/ 25754 w 28614"/>
                  <a:gd name="connsiteY0" fmla="*/ 21793 h 42922"/>
                  <a:gd name="connsiteX1" fmla="*/ 21793 w 28614"/>
                  <a:gd name="connsiteY1" fmla="*/ 16168 h 42922"/>
                  <a:gd name="connsiteX2" fmla="*/ 16168 w 28614"/>
                  <a:gd name="connsiteY2" fmla="*/ 20130 h 42922"/>
                  <a:gd name="connsiteX3" fmla="*/ 16168 w 28614"/>
                  <a:gd name="connsiteY3" fmla="*/ 21793 h 42922"/>
                  <a:gd name="connsiteX4" fmla="*/ 20130 w 28614"/>
                  <a:gd name="connsiteY4" fmla="*/ 27417 h 42922"/>
                  <a:gd name="connsiteX5" fmla="*/ 25754 w 28614"/>
                  <a:gd name="connsiteY5" fmla="*/ 23455 h 42922"/>
                  <a:gd name="connsiteX6" fmla="*/ 25754 w 28614"/>
                  <a:gd name="connsiteY6" fmla="*/ 2179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42922">
                    <a:moveTo>
                      <a:pt x="25754" y="21793"/>
                    </a:moveTo>
                    <a:cubicBezTo>
                      <a:pt x="26214" y="19146"/>
                      <a:pt x="24439" y="16628"/>
                      <a:pt x="21793" y="16168"/>
                    </a:cubicBezTo>
                    <a:cubicBezTo>
                      <a:pt x="19146" y="15709"/>
                      <a:pt x="16628" y="17483"/>
                      <a:pt x="16168" y="20130"/>
                    </a:cubicBezTo>
                    <a:cubicBezTo>
                      <a:pt x="16072" y="20681"/>
                      <a:pt x="16072" y="21243"/>
                      <a:pt x="16168" y="21793"/>
                    </a:cubicBezTo>
                    <a:cubicBezTo>
                      <a:pt x="15709" y="24439"/>
                      <a:pt x="17483" y="26958"/>
                      <a:pt x="20130" y="27417"/>
                    </a:cubicBezTo>
                    <a:cubicBezTo>
                      <a:pt x="22777" y="27876"/>
                      <a:pt x="25295" y="26102"/>
                      <a:pt x="25754" y="23455"/>
                    </a:cubicBezTo>
                    <a:cubicBezTo>
                      <a:pt x="25850" y="22904"/>
                      <a:pt x="25850" y="22342"/>
                      <a:pt x="25754" y="217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78" name="Freeform: Shape 577">
                <a:extLst>
                  <a:ext uri="{FF2B5EF4-FFF2-40B4-BE49-F238E27FC236}">
                    <a16:creationId xmlns:a16="http://schemas.microsoft.com/office/drawing/2014/main" id="{97C52B71-3579-46DA-996A-7AE982CEDAFE}"/>
                  </a:ext>
                </a:extLst>
              </p:cNvPr>
              <p:cNvSpPr/>
              <p:nvPr/>
            </p:nvSpPr>
            <p:spPr>
              <a:xfrm>
                <a:off x="4375812" y="4944297"/>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79" name="Freeform: Shape 578">
                <a:extLst>
                  <a:ext uri="{FF2B5EF4-FFF2-40B4-BE49-F238E27FC236}">
                    <a16:creationId xmlns:a16="http://schemas.microsoft.com/office/drawing/2014/main" id="{74A4DF00-0303-4983-9237-5A97783E6086}"/>
                  </a:ext>
                </a:extLst>
              </p:cNvPr>
              <p:cNvSpPr/>
              <p:nvPr/>
            </p:nvSpPr>
            <p:spPr>
              <a:xfrm>
                <a:off x="4428596" y="4944840"/>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80" name="Freeform: Shape 579">
                <a:extLst>
                  <a:ext uri="{FF2B5EF4-FFF2-40B4-BE49-F238E27FC236}">
                    <a16:creationId xmlns:a16="http://schemas.microsoft.com/office/drawing/2014/main" id="{59A37404-E6AB-47C8-8E0D-6CD7ABD41484}"/>
                  </a:ext>
                </a:extLst>
              </p:cNvPr>
              <p:cNvSpPr/>
              <p:nvPr/>
            </p:nvSpPr>
            <p:spPr>
              <a:xfrm>
                <a:off x="4480045" y="4945430"/>
                <a:ext cx="28615" cy="28615"/>
              </a:xfrm>
              <a:custGeom>
                <a:avLst/>
                <a:gdLst>
                  <a:gd name="connsiteX0" fmla="*/ 22034 w 28614"/>
                  <a:gd name="connsiteY0" fmla="*/ 19100 h 28614"/>
                  <a:gd name="connsiteX1" fmla="*/ 19320 w 28614"/>
                  <a:gd name="connsiteY1" fmla="*/ 16099 h 28614"/>
                  <a:gd name="connsiteX2" fmla="*/ 19173 w 28614"/>
                  <a:gd name="connsiteY2" fmla="*/ 16096 h 28614"/>
                  <a:gd name="connsiteX3" fmla="*/ 16168 w 28614"/>
                  <a:gd name="connsiteY3" fmla="*/ 19100 h 28614"/>
                  <a:gd name="connsiteX4" fmla="*/ 18449 w 28614"/>
                  <a:gd name="connsiteY4" fmla="*/ 22686 h 28614"/>
                  <a:gd name="connsiteX5" fmla="*/ 22034 w 28614"/>
                  <a:gd name="connsiteY5" fmla="*/ 20404 h 28614"/>
                  <a:gd name="connsiteX6" fmla="*/ 22034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2034" y="19100"/>
                    </a:moveTo>
                    <a:cubicBezTo>
                      <a:pt x="22113" y="17522"/>
                      <a:pt x="20898" y="16179"/>
                      <a:pt x="19320" y="16099"/>
                    </a:cubicBezTo>
                    <a:cubicBezTo>
                      <a:pt x="19270" y="16097"/>
                      <a:pt x="19222" y="16096"/>
                      <a:pt x="19173" y="16096"/>
                    </a:cubicBezTo>
                    <a:cubicBezTo>
                      <a:pt x="17513" y="16096"/>
                      <a:pt x="16168" y="17441"/>
                      <a:pt x="16168" y="19100"/>
                    </a:cubicBezTo>
                    <a:cubicBezTo>
                      <a:pt x="15808" y="20720"/>
                      <a:pt x="16829" y="22325"/>
                      <a:pt x="18449" y="22686"/>
                    </a:cubicBezTo>
                    <a:cubicBezTo>
                      <a:pt x="20070" y="23045"/>
                      <a:pt x="21674" y="22023"/>
                      <a:pt x="22034" y="20404"/>
                    </a:cubicBezTo>
                    <a:cubicBezTo>
                      <a:pt x="22130" y="19975"/>
                      <a:pt x="22130" y="19530"/>
                      <a:pt x="22034"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grpSp>
        <p:grpSp>
          <p:nvGrpSpPr>
            <p:cNvPr id="363" name="Group 362">
              <a:extLst>
                <a:ext uri="{FF2B5EF4-FFF2-40B4-BE49-F238E27FC236}">
                  <a16:creationId xmlns:a16="http://schemas.microsoft.com/office/drawing/2014/main" id="{3654A81D-E9C9-4C15-9046-B9C956E41222}"/>
                </a:ext>
              </a:extLst>
            </p:cNvPr>
            <p:cNvGrpSpPr/>
            <p:nvPr/>
          </p:nvGrpSpPr>
          <p:grpSpPr>
            <a:xfrm rot="1348360">
              <a:off x="6291649" y="2458711"/>
              <a:ext cx="816988" cy="341279"/>
              <a:chOff x="4010404" y="4875001"/>
              <a:chExt cx="498331" cy="208165"/>
            </a:xfrm>
            <a:solidFill>
              <a:srgbClr val="74BF4B"/>
            </a:solidFill>
          </p:grpSpPr>
          <p:sp>
            <p:nvSpPr>
              <p:cNvPr id="461" name="Freeform: Shape 460">
                <a:extLst>
                  <a:ext uri="{FF2B5EF4-FFF2-40B4-BE49-F238E27FC236}">
                    <a16:creationId xmlns:a16="http://schemas.microsoft.com/office/drawing/2014/main" id="{A898C62D-DE0A-4FBE-B4EE-330D9D79C2FA}"/>
                  </a:ext>
                </a:extLst>
              </p:cNvPr>
              <p:cNvSpPr/>
              <p:nvPr/>
            </p:nvSpPr>
            <p:spPr>
              <a:xfrm>
                <a:off x="4010546" y="4972281"/>
                <a:ext cx="42922" cy="42921"/>
              </a:xfrm>
              <a:custGeom>
                <a:avLst/>
                <a:gdLst>
                  <a:gd name="connsiteX0" fmla="*/ 33123 w 42922"/>
                  <a:gd name="connsiteY0" fmla="*/ 24539 h 42922"/>
                  <a:gd name="connsiteX1" fmla="*/ 24683 w 42922"/>
                  <a:gd name="connsiteY1" fmla="*/ 16096 h 42922"/>
                  <a:gd name="connsiteX2" fmla="*/ 24539 w 42922"/>
                  <a:gd name="connsiteY2" fmla="*/ 16097 h 42922"/>
                  <a:gd name="connsiteX3" fmla="*/ 16097 w 42922"/>
                  <a:gd name="connsiteY3" fmla="*/ 24250 h 42922"/>
                  <a:gd name="connsiteX4" fmla="*/ 16097 w 42922"/>
                  <a:gd name="connsiteY4" fmla="*/ 24539 h 42922"/>
                  <a:gd name="connsiteX5" fmla="*/ 24394 w 42922"/>
                  <a:gd name="connsiteY5" fmla="*/ 33122 h 42922"/>
                  <a:gd name="connsiteX6" fmla="*/ 24539 w 42922"/>
                  <a:gd name="connsiteY6" fmla="*/ 33123 h 42922"/>
                  <a:gd name="connsiteX7" fmla="*/ 33123 w 42922"/>
                  <a:gd name="connsiteY7" fmla="*/ 245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539"/>
                    </a:moveTo>
                    <a:cubicBezTo>
                      <a:pt x="33123" y="19877"/>
                      <a:pt x="29344" y="16097"/>
                      <a:pt x="24683" y="16096"/>
                    </a:cubicBezTo>
                    <a:cubicBezTo>
                      <a:pt x="24634" y="16096"/>
                      <a:pt x="24587" y="16096"/>
                      <a:pt x="24539" y="16097"/>
                    </a:cubicBezTo>
                    <a:cubicBezTo>
                      <a:pt x="19956" y="16017"/>
                      <a:pt x="16177" y="19667"/>
                      <a:pt x="16097" y="24250"/>
                    </a:cubicBezTo>
                    <a:cubicBezTo>
                      <a:pt x="16096" y="24346"/>
                      <a:pt x="16096" y="24443"/>
                      <a:pt x="16097" y="24539"/>
                    </a:cubicBezTo>
                    <a:cubicBezTo>
                      <a:pt x="16018" y="29200"/>
                      <a:pt x="19733" y="33043"/>
                      <a:pt x="24394" y="33122"/>
                    </a:cubicBezTo>
                    <a:cubicBezTo>
                      <a:pt x="24443" y="33123"/>
                      <a:pt x="24490" y="33123"/>
                      <a:pt x="24539" y="33123"/>
                    </a:cubicBezTo>
                    <a:cubicBezTo>
                      <a:pt x="29280" y="33123"/>
                      <a:pt x="33123" y="29280"/>
                      <a:pt x="33123" y="2453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2" name="Freeform: Shape 461">
                <a:extLst>
                  <a:ext uri="{FF2B5EF4-FFF2-40B4-BE49-F238E27FC236}">
                    <a16:creationId xmlns:a16="http://schemas.microsoft.com/office/drawing/2014/main" id="{87F00D8E-45C0-459B-AF34-AF0E3A87A41D}"/>
                  </a:ext>
                </a:extLst>
              </p:cNvPr>
              <p:cNvSpPr/>
              <p:nvPr/>
            </p:nvSpPr>
            <p:spPr>
              <a:xfrm>
                <a:off x="4062055" y="4972713"/>
                <a:ext cx="42922" cy="42921"/>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6"/>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3" name="Freeform: Shape 462">
                <a:extLst>
                  <a:ext uri="{FF2B5EF4-FFF2-40B4-BE49-F238E27FC236}">
                    <a16:creationId xmlns:a16="http://schemas.microsoft.com/office/drawing/2014/main" id="{23ACC63A-BCE9-4834-A15C-9FFD17693ACE}"/>
                  </a:ext>
                </a:extLst>
              </p:cNvPr>
              <p:cNvSpPr/>
              <p:nvPr/>
            </p:nvSpPr>
            <p:spPr>
              <a:xfrm>
                <a:off x="4115135" y="4974864"/>
                <a:ext cx="42922" cy="42921"/>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4" name="Freeform: Shape 463">
                <a:extLst>
                  <a:ext uri="{FF2B5EF4-FFF2-40B4-BE49-F238E27FC236}">
                    <a16:creationId xmlns:a16="http://schemas.microsoft.com/office/drawing/2014/main" id="{50189789-05FA-484A-A96A-05D211E689D0}"/>
                  </a:ext>
                </a:extLst>
              </p:cNvPr>
              <p:cNvSpPr/>
              <p:nvPr/>
            </p:nvSpPr>
            <p:spPr>
              <a:xfrm>
                <a:off x="4166928" y="4974001"/>
                <a:ext cx="42922" cy="42921"/>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5" name="Freeform: Shape 464">
                <a:extLst>
                  <a:ext uri="{FF2B5EF4-FFF2-40B4-BE49-F238E27FC236}">
                    <a16:creationId xmlns:a16="http://schemas.microsoft.com/office/drawing/2014/main" id="{66F7C401-E81C-4EA0-8B34-D4C675B57DA2}"/>
                  </a:ext>
                </a:extLst>
              </p:cNvPr>
              <p:cNvSpPr/>
              <p:nvPr/>
            </p:nvSpPr>
            <p:spPr>
              <a:xfrm>
                <a:off x="4219079" y="4975507"/>
                <a:ext cx="42922" cy="42921"/>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6" name="Freeform: Shape 465">
                <a:extLst>
                  <a:ext uri="{FF2B5EF4-FFF2-40B4-BE49-F238E27FC236}">
                    <a16:creationId xmlns:a16="http://schemas.microsoft.com/office/drawing/2014/main" id="{574FE851-5A41-471A-B5BA-59BE67662354}"/>
                  </a:ext>
                </a:extLst>
              </p:cNvPr>
              <p:cNvSpPr/>
              <p:nvPr/>
            </p:nvSpPr>
            <p:spPr>
              <a:xfrm>
                <a:off x="4271373" y="4975287"/>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7" name="Freeform: Shape 466">
                <a:extLst>
                  <a:ext uri="{FF2B5EF4-FFF2-40B4-BE49-F238E27FC236}">
                    <a16:creationId xmlns:a16="http://schemas.microsoft.com/office/drawing/2014/main" id="{52A40DFA-5A11-4F06-BD70-0ABFFD5010D0}"/>
                  </a:ext>
                </a:extLst>
              </p:cNvPr>
              <p:cNvSpPr/>
              <p:nvPr/>
            </p:nvSpPr>
            <p:spPr>
              <a:xfrm>
                <a:off x="4323524" y="4976690"/>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8" name="Freeform: Shape 467">
                <a:extLst>
                  <a:ext uri="{FF2B5EF4-FFF2-40B4-BE49-F238E27FC236}">
                    <a16:creationId xmlns:a16="http://schemas.microsoft.com/office/drawing/2014/main" id="{5E778088-69D6-4EDF-86A5-898ECB5D8E0E}"/>
                  </a:ext>
                </a:extLst>
              </p:cNvPr>
              <p:cNvSpPr/>
              <p:nvPr/>
            </p:nvSpPr>
            <p:spPr>
              <a:xfrm>
                <a:off x="4375820" y="4976717"/>
                <a:ext cx="28615" cy="28615"/>
              </a:xfrm>
              <a:custGeom>
                <a:avLst/>
                <a:gdLst>
                  <a:gd name="connsiteX0" fmla="*/ 24392 w 28614"/>
                  <a:gd name="connsiteY0" fmla="*/ 20102 h 28614"/>
                  <a:gd name="connsiteX1" fmla="*/ 20103 w 28614"/>
                  <a:gd name="connsiteY1" fmla="*/ 16098 h 28614"/>
                  <a:gd name="connsiteX2" fmla="*/ 16098 w 28614"/>
                  <a:gd name="connsiteY2" fmla="*/ 20388 h 28614"/>
                  <a:gd name="connsiteX3" fmla="*/ 20243 w 28614"/>
                  <a:gd name="connsiteY3" fmla="*/ 24394 h 28614"/>
                  <a:gd name="connsiteX4" fmla="*/ 24395 w 28614"/>
                  <a:gd name="connsiteY4" fmla="*/ 20248 h 28614"/>
                  <a:gd name="connsiteX5" fmla="*/ 24392 w 28614"/>
                  <a:gd name="connsiteY5" fmla="*/ 201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4392" y="20102"/>
                    </a:moveTo>
                    <a:cubicBezTo>
                      <a:pt x="24314" y="17811"/>
                      <a:pt x="22392" y="16018"/>
                      <a:pt x="20103" y="16098"/>
                    </a:cubicBezTo>
                    <a:cubicBezTo>
                      <a:pt x="17812" y="16177"/>
                      <a:pt x="16020" y="18097"/>
                      <a:pt x="16098" y="20388"/>
                    </a:cubicBezTo>
                    <a:cubicBezTo>
                      <a:pt x="16176" y="22621"/>
                      <a:pt x="18008" y="24393"/>
                      <a:pt x="20243" y="24394"/>
                    </a:cubicBezTo>
                    <a:cubicBezTo>
                      <a:pt x="22535" y="24395"/>
                      <a:pt x="24394" y="22538"/>
                      <a:pt x="24395" y="20248"/>
                    </a:cubicBezTo>
                    <a:cubicBezTo>
                      <a:pt x="24395" y="20199"/>
                      <a:pt x="24394" y="20150"/>
                      <a:pt x="24392" y="2010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9" name="Freeform: Shape 468">
                <a:extLst>
                  <a:ext uri="{FF2B5EF4-FFF2-40B4-BE49-F238E27FC236}">
                    <a16:creationId xmlns:a16="http://schemas.microsoft.com/office/drawing/2014/main" id="{FD129378-2D3E-4FE7-B2C1-FB044BF2AEDD}"/>
                  </a:ext>
                </a:extLst>
              </p:cNvPr>
              <p:cNvSpPr/>
              <p:nvPr/>
            </p:nvSpPr>
            <p:spPr>
              <a:xfrm>
                <a:off x="4428613" y="4977147"/>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728" y="16169"/>
                      <a:pt x="16169" y="17728"/>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0" name="Freeform: Shape 469">
                <a:extLst>
                  <a:ext uri="{FF2B5EF4-FFF2-40B4-BE49-F238E27FC236}">
                    <a16:creationId xmlns:a16="http://schemas.microsoft.com/office/drawing/2014/main" id="{40E30523-F360-43C6-9207-8E7E695C9949}"/>
                  </a:ext>
                </a:extLst>
              </p:cNvPr>
              <p:cNvSpPr/>
              <p:nvPr/>
            </p:nvSpPr>
            <p:spPr>
              <a:xfrm>
                <a:off x="4480119" y="4977859"/>
                <a:ext cx="28615" cy="28615"/>
              </a:xfrm>
              <a:custGeom>
                <a:avLst/>
                <a:gdLst>
                  <a:gd name="connsiteX0" fmla="*/ 21962 w 28614"/>
                  <a:gd name="connsiteY0" fmla="*/ 18961 h 28614"/>
                  <a:gd name="connsiteX1" fmla="*/ 19100 w 28614"/>
                  <a:gd name="connsiteY1" fmla="*/ 16100 h 28614"/>
                  <a:gd name="connsiteX2" fmla="*/ 16100 w 28614"/>
                  <a:gd name="connsiteY2" fmla="*/ 18814 h 28614"/>
                  <a:gd name="connsiteX3" fmla="*/ 16096 w 28614"/>
                  <a:gd name="connsiteY3" fmla="*/ 18961 h 28614"/>
                  <a:gd name="connsiteX4" fmla="*/ 19100 w 28614"/>
                  <a:gd name="connsiteY4" fmla="*/ 21966 h 28614"/>
                  <a:gd name="connsiteX5" fmla="*/ 21966 w 28614"/>
                  <a:gd name="connsiteY5" fmla="*/ 19107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4"/>
                    </a:cubicBezTo>
                    <a:cubicBezTo>
                      <a:pt x="16097" y="18864"/>
                      <a:pt x="16096" y="18912"/>
                      <a:pt x="16096" y="18961"/>
                    </a:cubicBezTo>
                    <a:cubicBezTo>
                      <a:pt x="16096" y="20621"/>
                      <a:pt x="17441" y="21966"/>
                      <a:pt x="19100" y="21966"/>
                    </a:cubicBezTo>
                    <a:cubicBezTo>
                      <a:pt x="20682" y="21967"/>
                      <a:pt x="21963" y="20688"/>
                      <a:pt x="21966" y="19107"/>
                    </a:cubicBezTo>
                    <a:cubicBezTo>
                      <a:pt x="21966" y="19058"/>
                      <a:pt x="21965" y="19010"/>
                      <a:pt x="21962" y="1896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1" name="Freeform: Shape 470">
                <a:extLst>
                  <a:ext uri="{FF2B5EF4-FFF2-40B4-BE49-F238E27FC236}">
                    <a16:creationId xmlns:a16="http://schemas.microsoft.com/office/drawing/2014/main" id="{D4FED1F3-A0A2-4247-8D53-3677869EE1EF}"/>
                  </a:ext>
                </a:extLst>
              </p:cNvPr>
              <p:cNvSpPr/>
              <p:nvPr/>
            </p:nvSpPr>
            <p:spPr>
              <a:xfrm>
                <a:off x="4010404" y="5004617"/>
                <a:ext cx="42922" cy="42921"/>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2" name="Freeform: Shape 471">
                <a:extLst>
                  <a:ext uri="{FF2B5EF4-FFF2-40B4-BE49-F238E27FC236}">
                    <a16:creationId xmlns:a16="http://schemas.microsoft.com/office/drawing/2014/main" id="{65A18376-BDB5-4ADC-AE03-8764860EC079}"/>
                  </a:ext>
                </a:extLst>
              </p:cNvPr>
              <p:cNvSpPr/>
              <p:nvPr/>
            </p:nvSpPr>
            <p:spPr>
              <a:xfrm>
                <a:off x="4062057" y="5005047"/>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96" y="32119"/>
                      <a:pt x="32119" y="28596"/>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3" name="Freeform: Shape 472">
                <a:extLst>
                  <a:ext uri="{FF2B5EF4-FFF2-40B4-BE49-F238E27FC236}">
                    <a16:creationId xmlns:a16="http://schemas.microsoft.com/office/drawing/2014/main" id="{658441A4-021D-48F9-A072-DF829070A3B6}"/>
                  </a:ext>
                </a:extLst>
              </p:cNvPr>
              <p:cNvSpPr/>
              <p:nvPr/>
            </p:nvSpPr>
            <p:spPr>
              <a:xfrm>
                <a:off x="4114849" y="5005905"/>
                <a:ext cx="42922" cy="42921"/>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4" name="Freeform: Shape 473">
                <a:extLst>
                  <a:ext uri="{FF2B5EF4-FFF2-40B4-BE49-F238E27FC236}">
                    <a16:creationId xmlns:a16="http://schemas.microsoft.com/office/drawing/2014/main" id="{C1627AF8-9FE8-4603-BFF5-908339FE0FA7}"/>
                  </a:ext>
                </a:extLst>
              </p:cNvPr>
              <p:cNvSpPr/>
              <p:nvPr/>
            </p:nvSpPr>
            <p:spPr>
              <a:xfrm>
                <a:off x="4166929" y="5006479"/>
                <a:ext cx="42922" cy="42921"/>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5" name="Freeform: Shape 474">
                <a:extLst>
                  <a:ext uri="{FF2B5EF4-FFF2-40B4-BE49-F238E27FC236}">
                    <a16:creationId xmlns:a16="http://schemas.microsoft.com/office/drawing/2014/main" id="{763479E6-F3FA-4C16-A594-64B5AFC8532F}"/>
                  </a:ext>
                </a:extLst>
              </p:cNvPr>
              <p:cNvSpPr/>
              <p:nvPr/>
            </p:nvSpPr>
            <p:spPr>
              <a:xfrm>
                <a:off x="4219009" y="5006907"/>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6" name="Freeform: Shape 475">
                <a:extLst>
                  <a:ext uri="{FF2B5EF4-FFF2-40B4-BE49-F238E27FC236}">
                    <a16:creationId xmlns:a16="http://schemas.microsoft.com/office/drawing/2014/main" id="{A50CA933-AEC0-46BA-951E-1AB83E872622}"/>
                  </a:ext>
                </a:extLst>
              </p:cNvPr>
              <p:cNvSpPr/>
              <p:nvPr/>
            </p:nvSpPr>
            <p:spPr>
              <a:xfrm>
                <a:off x="4271373" y="5007764"/>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7" name="Freeform: Shape 476">
                <a:extLst>
                  <a:ext uri="{FF2B5EF4-FFF2-40B4-BE49-F238E27FC236}">
                    <a16:creationId xmlns:a16="http://schemas.microsoft.com/office/drawing/2014/main" id="{C01AFB10-AC46-4147-B405-6019FF17B520}"/>
                  </a:ext>
                </a:extLst>
              </p:cNvPr>
              <p:cNvSpPr/>
              <p:nvPr/>
            </p:nvSpPr>
            <p:spPr>
              <a:xfrm>
                <a:off x="4323452" y="5008338"/>
                <a:ext cx="28615" cy="28615"/>
              </a:xfrm>
              <a:custGeom>
                <a:avLst/>
                <a:gdLst>
                  <a:gd name="connsiteX0" fmla="*/ 25825 w 28614"/>
                  <a:gd name="connsiteY0" fmla="*/ 20959 h 28614"/>
                  <a:gd name="connsiteX1" fmla="*/ 20959 w 28614"/>
                  <a:gd name="connsiteY1" fmla="*/ 16096 h 28614"/>
                  <a:gd name="connsiteX2" fmla="*/ 16096 w 28614"/>
                  <a:gd name="connsiteY2" fmla="*/ 20963 h 28614"/>
                  <a:gd name="connsiteX3" fmla="*/ 20963 w 28614"/>
                  <a:gd name="connsiteY3" fmla="*/ 25825 h 28614"/>
                  <a:gd name="connsiteX4" fmla="*/ 21104 w 28614"/>
                  <a:gd name="connsiteY4" fmla="*/ 25824 h 28614"/>
                  <a:gd name="connsiteX5" fmla="*/ 25825 w 28614"/>
                  <a:gd name="connsiteY5" fmla="*/ 2095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5" y="20959"/>
                    </a:moveTo>
                    <a:cubicBezTo>
                      <a:pt x="25824" y="18272"/>
                      <a:pt x="23644" y="16096"/>
                      <a:pt x="20959" y="16096"/>
                    </a:cubicBezTo>
                    <a:cubicBezTo>
                      <a:pt x="18272" y="16097"/>
                      <a:pt x="16094" y="18276"/>
                      <a:pt x="16096" y="20963"/>
                    </a:cubicBezTo>
                    <a:cubicBezTo>
                      <a:pt x="16097" y="23650"/>
                      <a:pt x="18276" y="25826"/>
                      <a:pt x="20963" y="25825"/>
                    </a:cubicBezTo>
                    <a:cubicBezTo>
                      <a:pt x="21009" y="25825"/>
                      <a:pt x="21056" y="25825"/>
                      <a:pt x="21104" y="25824"/>
                    </a:cubicBezTo>
                    <a:cubicBezTo>
                      <a:pt x="23735" y="25746"/>
                      <a:pt x="25826" y="23590"/>
                      <a:pt x="25825" y="2095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8" name="Freeform: Shape 477">
                <a:extLst>
                  <a:ext uri="{FF2B5EF4-FFF2-40B4-BE49-F238E27FC236}">
                    <a16:creationId xmlns:a16="http://schemas.microsoft.com/office/drawing/2014/main" id="{573AEF61-AC11-4255-8ABD-3F20A5A22F98}"/>
                  </a:ext>
                </a:extLst>
              </p:cNvPr>
              <p:cNvSpPr/>
              <p:nvPr/>
            </p:nvSpPr>
            <p:spPr>
              <a:xfrm>
                <a:off x="4375817" y="5009052"/>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9" name="Freeform: Shape 478">
                <a:extLst>
                  <a:ext uri="{FF2B5EF4-FFF2-40B4-BE49-F238E27FC236}">
                    <a16:creationId xmlns:a16="http://schemas.microsoft.com/office/drawing/2014/main" id="{79E2E7F7-C7E7-4B1B-8539-87E27E71B4E8}"/>
                  </a:ext>
                </a:extLst>
              </p:cNvPr>
              <p:cNvSpPr/>
              <p:nvPr/>
            </p:nvSpPr>
            <p:spPr>
              <a:xfrm>
                <a:off x="4428613" y="5009625"/>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0" name="Freeform: Shape 479">
                <a:extLst>
                  <a:ext uri="{FF2B5EF4-FFF2-40B4-BE49-F238E27FC236}">
                    <a16:creationId xmlns:a16="http://schemas.microsoft.com/office/drawing/2014/main" id="{7F49D204-D110-4F1B-98DA-F346B1033BAB}"/>
                  </a:ext>
                </a:extLst>
              </p:cNvPr>
              <p:cNvSpPr/>
              <p:nvPr/>
            </p:nvSpPr>
            <p:spPr>
              <a:xfrm>
                <a:off x="4479977" y="5010199"/>
                <a:ext cx="28615" cy="28615"/>
              </a:xfrm>
              <a:custGeom>
                <a:avLst/>
                <a:gdLst>
                  <a:gd name="connsiteX0" fmla="*/ 22105 w 28614"/>
                  <a:gd name="connsiteY0" fmla="*/ 19098 h 28614"/>
                  <a:gd name="connsiteX1" fmla="*/ 19098 w 28614"/>
                  <a:gd name="connsiteY1" fmla="*/ 16096 h 28614"/>
                  <a:gd name="connsiteX2" fmla="*/ 16096 w 28614"/>
                  <a:gd name="connsiteY2" fmla="*/ 19105 h 28614"/>
                  <a:gd name="connsiteX3" fmla="*/ 19103 w 28614"/>
                  <a:gd name="connsiteY3" fmla="*/ 22105 h 28614"/>
                  <a:gd name="connsiteX4" fmla="*/ 19244 w 28614"/>
                  <a:gd name="connsiteY4" fmla="*/ 22102 h 28614"/>
                  <a:gd name="connsiteX5" fmla="*/ 22105 w 28614"/>
                  <a:gd name="connsiteY5" fmla="*/ 1909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2105" y="19098"/>
                    </a:moveTo>
                    <a:cubicBezTo>
                      <a:pt x="22104" y="17438"/>
                      <a:pt x="20756" y="16094"/>
                      <a:pt x="19098" y="16096"/>
                    </a:cubicBezTo>
                    <a:cubicBezTo>
                      <a:pt x="17438" y="16099"/>
                      <a:pt x="16094" y="17445"/>
                      <a:pt x="16096" y="19105"/>
                    </a:cubicBezTo>
                    <a:cubicBezTo>
                      <a:pt x="16097" y="20764"/>
                      <a:pt x="17445" y="22108"/>
                      <a:pt x="19103" y="22105"/>
                    </a:cubicBezTo>
                    <a:cubicBezTo>
                      <a:pt x="19151" y="22105"/>
                      <a:pt x="19196" y="22105"/>
                      <a:pt x="19244" y="22102"/>
                    </a:cubicBezTo>
                    <a:cubicBezTo>
                      <a:pt x="20847" y="22026"/>
                      <a:pt x="22107" y="20703"/>
                      <a:pt x="22105" y="19098"/>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1" name="Freeform: Shape 480">
                <a:extLst>
                  <a:ext uri="{FF2B5EF4-FFF2-40B4-BE49-F238E27FC236}">
                    <a16:creationId xmlns:a16="http://schemas.microsoft.com/office/drawing/2014/main" id="{AF022A60-EDE0-4F38-BD92-37D387DCB0BB}"/>
                  </a:ext>
                </a:extLst>
              </p:cNvPr>
              <p:cNvSpPr/>
              <p:nvPr/>
            </p:nvSpPr>
            <p:spPr>
              <a:xfrm>
                <a:off x="4010547" y="5037094"/>
                <a:ext cx="42922" cy="42921"/>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2" name="Freeform: Shape 481">
                <a:extLst>
                  <a:ext uri="{FF2B5EF4-FFF2-40B4-BE49-F238E27FC236}">
                    <a16:creationId xmlns:a16="http://schemas.microsoft.com/office/drawing/2014/main" id="{BA10D307-9B3A-4925-B400-F11A2625DF35}"/>
                  </a:ext>
                </a:extLst>
              </p:cNvPr>
              <p:cNvSpPr/>
              <p:nvPr/>
            </p:nvSpPr>
            <p:spPr>
              <a:xfrm>
                <a:off x="4062057" y="5037525"/>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3" name="Freeform: Shape 482">
                <a:extLst>
                  <a:ext uri="{FF2B5EF4-FFF2-40B4-BE49-F238E27FC236}">
                    <a16:creationId xmlns:a16="http://schemas.microsoft.com/office/drawing/2014/main" id="{F41DCE10-AB9B-4C61-BAD7-0ACBCDEA9680}"/>
                  </a:ext>
                </a:extLst>
              </p:cNvPr>
              <p:cNvSpPr/>
              <p:nvPr/>
            </p:nvSpPr>
            <p:spPr>
              <a:xfrm>
                <a:off x="4114850" y="5038382"/>
                <a:ext cx="42922" cy="42921"/>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89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89"/>
                      <a:pt x="23393" y="30689"/>
                    </a:cubicBezTo>
                    <a:cubicBezTo>
                      <a:pt x="27423" y="30689"/>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4" name="Freeform: Shape 483">
                <a:extLst>
                  <a:ext uri="{FF2B5EF4-FFF2-40B4-BE49-F238E27FC236}">
                    <a16:creationId xmlns:a16="http://schemas.microsoft.com/office/drawing/2014/main" id="{8A287E0D-BB22-408A-9A88-D4A58E72256E}"/>
                  </a:ext>
                </a:extLst>
              </p:cNvPr>
              <p:cNvSpPr/>
              <p:nvPr/>
            </p:nvSpPr>
            <p:spPr>
              <a:xfrm>
                <a:off x="4166931" y="5038813"/>
                <a:ext cx="42922" cy="42921"/>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5" name="Freeform: Shape 484">
                <a:extLst>
                  <a:ext uri="{FF2B5EF4-FFF2-40B4-BE49-F238E27FC236}">
                    <a16:creationId xmlns:a16="http://schemas.microsoft.com/office/drawing/2014/main" id="{8B50F6AE-22B8-4E14-83EA-88E43EE766AF}"/>
                  </a:ext>
                </a:extLst>
              </p:cNvPr>
              <p:cNvSpPr/>
              <p:nvPr/>
            </p:nvSpPr>
            <p:spPr>
              <a:xfrm>
                <a:off x="4219010" y="5039385"/>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6" name="Freeform: Shape 485">
                <a:extLst>
                  <a:ext uri="{FF2B5EF4-FFF2-40B4-BE49-F238E27FC236}">
                    <a16:creationId xmlns:a16="http://schemas.microsoft.com/office/drawing/2014/main" id="{1DAFAC08-7E52-4715-AFA6-B76B160F9582}"/>
                  </a:ext>
                </a:extLst>
              </p:cNvPr>
              <p:cNvSpPr/>
              <p:nvPr/>
            </p:nvSpPr>
            <p:spPr>
              <a:xfrm>
                <a:off x="4271373" y="5040245"/>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7" name="Freeform: Shape 486">
                <a:extLst>
                  <a:ext uri="{FF2B5EF4-FFF2-40B4-BE49-F238E27FC236}">
                    <a16:creationId xmlns:a16="http://schemas.microsoft.com/office/drawing/2014/main" id="{6B0038F4-BE1F-4228-9F78-B4FB9F040125}"/>
                  </a:ext>
                </a:extLst>
              </p:cNvPr>
              <p:cNvSpPr/>
              <p:nvPr/>
            </p:nvSpPr>
            <p:spPr>
              <a:xfrm>
                <a:off x="4323455" y="5040675"/>
                <a:ext cx="28615" cy="28615"/>
              </a:xfrm>
              <a:custGeom>
                <a:avLst/>
                <a:gdLst>
                  <a:gd name="connsiteX0" fmla="*/ 25823 w 28614"/>
                  <a:gd name="connsiteY0" fmla="*/ 21101 h 28614"/>
                  <a:gd name="connsiteX1" fmla="*/ 21101 w 28614"/>
                  <a:gd name="connsiteY1" fmla="*/ 16098 h 28614"/>
                  <a:gd name="connsiteX2" fmla="*/ 16098 w 28614"/>
                  <a:gd name="connsiteY2" fmla="*/ 20820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20"/>
                    </a:cubicBezTo>
                    <a:cubicBezTo>
                      <a:pt x="16019" y="23505"/>
                      <a:pt x="18134" y="25746"/>
                      <a:pt x="20820" y="25823"/>
                    </a:cubicBezTo>
                    <a:cubicBezTo>
                      <a:pt x="20914" y="25826"/>
                      <a:pt x="21007" y="25826"/>
                      <a:pt x="21101" y="25823"/>
                    </a:cubicBezTo>
                    <a:cubicBezTo>
                      <a:pt x="23677" y="25748"/>
                      <a:pt x="25748" y="23678"/>
                      <a:pt x="25823" y="2110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8" name="Freeform: Shape 487">
                <a:extLst>
                  <a:ext uri="{FF2B5EF4-FFF2-40B4-BE49-F238E27FC236}">
                    <a16:creationId xmlns:a16="http://schemas.microsoft.com/office/drawing/2014/main" id="{0D328508-5D3D-448D-A115-88C022515DC7}"/>
                  </a:ext>
                </a:extLst>
              </p:cNvPr>
              <p:cNvSpPr/>
              <p:nvPr/>
            </p:nvSpPr>
            <p:spPr>
              <a:xfrm>
                <a:off x="4375818" y="5041533"/>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9" name="Freeform: Shape 488">
                <a:extLst>
                  <a:ext uri="{FF2B5EF4-FFF2-40B4-BE49-F238E27FC236}">
                    <a16:creationId xmlns:a16="http://schemas.microsoft.com/office/drawing/2014/main" id="{8137CC4E-3ABB-45F1-990C-4A32584E5DE8}"/>
                  </a:ext>
                </a:extLst>
              </p:cNvPr>
              <p:cNvSpPr/>
              <p:nvPr/>
            </p:nvSpPr>
            <p:spPr>
              <a:xfrm>
                <a:off x="4429194" y="5041961"/>
                <a:ext cx="28615" cy="28615"/>
              </a:xfrm>
              <a:custGeom>
                <a:avLst/>
                <a:gdLst>
                  <a:gd name="connsiteX0" fmla="*/ 22668 w 28614"/>
                  <a:gd name="connsiteY0" fmla="*/ 19816 h 28614"/>
                  <a:gd name="connsiteX1" fmla="*/ 19091 w 28614"/>
                  <a:gd name="connsiteY1" fmla="*/ 16096 h 28614"/>
                  <a:gd name="connsiteX2" fmla="*/ 16168 w 28614"/>
                  <a:gd name="connsiteY2" fmla="*/ 20470 h 28614"/>
                  <a:gd name="connsiteX3" fmla="*/ 19091 w 28614"/>
                  <a:gd name="connsiteY3" fmla="*/ 23393 h 28614"/>
                  <a:gd name="connsiteX4" fmla="*/ 22668 w 28614"/>
                  <a:gd name="connsiteY4" fmla="*/ 19816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2668" y="19816"/>
                    </a:moveTo>
                    <a:cubicBezTo>
                      <a:pt x="22669" y="17816"/>
                      <a:pt x="21090" y="16173"/>
                      <a:pt x="19091" y="16096"/>
                    </a:cubicBezTo>
                    <a:cubicBezTo>
                      <a:pt x="17077" y="16497"/>
                      <a:pt x="15767" y="18455"/>
                      <a:pt x="16168" y="20470"/>
                    </a:cubicBezTo>
                    <a:cubicBezTo>
                      <a:pt x="16463" y="21946"/>
                      <a:pt x="17616" y="23099"/>
                      <a:pt x="19091" y="23393"/>
                    </a:cubicBezTo>
                    <a:cubicBezTo>
                      <a:pt x="21067" y="23393"/>
                      <a:pt x="22668" y="21792"/>
                      <a:pt x="22668" y="1981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0" name="Freeform: Shape 489">
                <a:extLst>
                  <a:ext uri="{FF2B5EF4-FFF2-40B4-BE49-F238E27FC236}">
                    <a16:creationId xmlns:a16="http://schemas.microsoft.com/office/drawing/2014/main" id="{10A0FE4A-D1EE-4A82-94E1-1F49E57F9C19}"/>
                  </a:ext>
                </a:extLst>
              </p:cNvPr>
              <p:cNvSpPr/>
              <p:nvPr/>
            </p:nvSpPr>
            <p:spPr>
              <a:xfrm>
                <a:off x="4480120" y="5042671"/>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1"/>
                      <a:pt x="21962"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1" name="Freeform: Shape 490">
                <a:extLst>
                  <a:ext uri="{FF2B5EF4-FFF2-40B4-BE49-F238E27FC236}">
                    <a16:creationId xmlns:a16="http://schemas.microsoft.com/office/drawing/2014/main" id="{49F5AEAA-37B5-46BF-9F72-0E8B98B62DA4}"/>
                  </a:ext>
                </a:extLst>
              </p:cNvPr>
              <p:cNvSpPr/>
              <p:nvPr/>
            </p:nvSpPr>
            <p:spPr>
              <a:xfrm>
                <a:off x="4010546" y="4875001"/>
                <a:ext cx="42922" cy="42921"/>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2" name="Freeform: Shape 491">
                <a:extLst>
                  <a:ext uri="{FF2B5EF4-FFF2-40B4-BE49-F238E27FC236}">
                    <a16:creationId xmlns:a16="http://schemas.microsoft.com/office/drawing/2014/main" id="{9B091639-6871-4C44-BF22-99E11F348391}"/>
                  </a:ext>
                </a:extLst>
              </p:cNvPr>
              <p:cNvSpPr/>
              <p:nvPr/>
            </p:nvSpPr>
            <p:spPr>
              <a:xfrm>
                <a:off x="4062056" y="4875421"/>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3" name="Freeform: Shape 492">
                <a:extLst>
                  <a:ext uri="{FF2B5EF4-FFF2-40B4-BE49-F238E27FC236}">
                    <a16:creationId xmlns:a16="http://schemas.microsoft.com/office/drawing/2014/main" id="{58F1A970-AE12-4863-A12E-BF426BBDC158}"/>
                  </a:ext>
                </a:extLst>
              </p:cNvPr>
              <p:cNvSpPr/>
              <p:nvPr/>
            </p:nvSpPr>
            <p:spPr>
              <a:xfrm>
                <a:off x="4115136" y="4877714"/>
                <a:ext cx="42922" cy="42921"/>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4" name="Freeform: Shape 493">
                <a:extLst>
                  <a:ext uri="{FF2B5EF4-FFF2-40B4-BE49-F238E27FC236}">
                    <a16:creationId xmlns:a16="http://schemas.microsoft.com/office/drawing/2014/main" id="{DFC84334-91BC-4B2D-832E-3F86199928A6}"/>
                  </a:ext>
                </a:extLst>
              </p:cNvPr>
              <p:cNvSpPr/>
              <p:nvPr/>
            </p:nvSpPr>
            <p:spPr>
              <a:xfrm>
                <a:off x="4166931" y="4876718"/>
                <a:ext cx="42922" cy="42921"/>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5" name="Freeform: Shape 494">
                <a:extLst>
                  <a:ext uri="{FF2B5EF4-FFF2-40B4-BE49-F238E27FC236}">
                    <a16:creationId xmlns:a16="http://schemas.microsoft.com/office/drawing/2014/main" id="{8B7F6D6F-F2D3-4C61-9E8D-2D92BFFEE38C}"/>
                  </a:ext>
                </a:extLst>
              </p:cNvPr>
              <p:cNvSpPr/>
              <p:nvPr/>
            </p:nvSpPr>
            <p:spPr>
              <a:xfrm>
                <a:off x="4219010" y="4877282"/>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1"/>
                      <a:pt x="22296" y="28401"/>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6" name="Freeform: Shape 495">
                <a:extLst>
                  <a:ext uri="{FF2B5EF4-FFF2-40B4-BE49-F238E27FC236}">
                    <a16:creationId xmlns:a16="http://schemas.microsoft.com/office/drawing/2014/main" id="{67798521-FAFA-4F05-9C9A-6FA682FD877B}"/>
                  </a:ext>
                </a:extLst>
              </p:cNvPr>
              <p:cNvSpPr/>
              <p:nvPr/>
            </p:nvSpPr>
            <p:spPr>
              <a:xfrm>
                <a:off x="4271374" y="4878141"/>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7" name="Freeform: Shape 496">
                <a:extLst>
                  <a:ext uri="{FF2B5EF4-FFF2-40B4-BE49-F238E27FC236}">
                    <a16:creationId xmlns:a16="http://schemas.microsoft.com/office/drawing/2014/main" id="{FD8F1E50-590B-4277-BC98-9752F98FD03C}"/>
                  </a:ext>
                </a:extLst>
              </p:cNvPr>
              <p:cNvSpPr/>
              <p:nvPr/>
            </p:nvSpPr>
            <p:spPr>
              <a:xfrm>
                <a:off x="4323455" y="4878585"/>
                <a:ext cx="28615" cy="28615"/>
              </a:xfrm>
              <a:custGeom>
                <a:avLst/>
                <a:gdLst>
                  <a:gd name="connsiteX0" fmla="*/ 25823 w 28614"/>
                  <a:gd name="connsiteY0" fmla="*/ 21101 h 28614"/>
                  <a:gd name="connsiteX1" fmla="*/ 21101 w 28614"/>
                  <a:gd name="connsiteY1" fmla="*/ 16098 h 28614"/>
                  <a:gd name="connsiteX2" fmla="*/ 16098 w 28614"/>
                  <a:gd name="connsiteY2" fmla="*/ 20819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19"/>
                    </a:cubicBezTo>
                    <a:cubicBezTo>
                      <a:pt x="16019" y="23505"/>
                      <a:pt x="18134" y="25746"/>
                      <a:pt x="20820" y="25823"/>
                    </a:cubicBezTo>
                    <a:cubicBezTo>
                      <a:pt x="20914" y="25826"/>
                      <a:pt x="21007" y="25826"/>
                      <a:pt x="21101" y="25823"/>
                    </a:cubicBezTo>
                    <a:cubicBezTo>
                      <a:pt x="23677" y="25748"/>
                      <a:pt x="25748" y="23677"/>
                      <a:pt x="25823" y="2110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8" name="Freeform: Shape 497">
                <a:extLst>
                  <a:ext uri="{FF2B5EF4-FFF2-40B4-BE49-F238E27FC236}">
                    <a16:creationId xmlns:a16="http://schemas.microsoft.com/office/drawing/2014/main" id="{C1FA0DC4-A760-4212-98C6-0027AFFF91DF}"/>
                  </a:ext>
                </a:extLst>
              </p:cNvPr>
              <p:cNvSpPr/>
              <p:nvPr/>
            </p:nvSpPr>
            <p:spPr>
              <a:xfrm>
                <a:off x="4375818" y="4879446"/>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9" name="Freeform: Shape 498">
                <a:extLst>
                  <a:ext uri="{FF2B5EF4-FFF2-40B4-BE49-F238E27FC236}">
                    <a16:creationId xmlns:a16="http://schemas.microsoft.com/office/drawing/2014/main" id="{7D187198-D834-4164-8C93-468716733CA9}"/>
                  </a:ext>
                </a:extLst>
              </p:cNvPr>
              <p:cNvSpPr/>
              <p:nvPr/>
            </p:nvSpPr>
            <p:spPr>
              <a:xfrm>
                <a:off x="4427898" y="4879796"/>
                <a:ext cx="28615" cy="28615"/>
              </a:xfrm>
              <a:custGeom>
                <a:avLst/>
                <a:gdLst>
                  <a:gd name="connsiteX0" fmla="*/ 23965 w 28614"/>
                  <a:gd name="connsiteY0" fmla="*/ 19889 h 28614"/>
                  <a:gd name="connsiteX1" fmla="*/ 20611 w 28614"/>
                  <a:gd name="connsiteY1" fmla="*/ 16102 h 28614"/>
                  <a:gd name="connsiteX2" fmla="*/ 19673 w 28614"/>
                  <a:gd name="connsiteY2" fmla="*/ 16169 h 28614"/>
                  <a:gd name="connsiteX3" fmla="*/ 16096 w 28614"/>
                  <a:gd name="connsiteY3" fmla="*/ 19746 h 28614"/>
                  <a:gd name="connsiteX4" fmla="*/ 19673 w 28614"/>
                  <a:gd name="connsiteY4" fmla="*/ 23323 h 28614"/>
                  <a:gd name="connsiteX5" fmla="*/ 23250 w 28614"/>
                  <a:gd name="connsiteY5" fmla="*/ 1974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965" y="19889"/>
                    </a:moveTo>
                    <a:cubicBezTo>
                      <a:pt x="24085" y="17918"/>
                      <a:pt x="22583" y="16222"/>
                      <a:pt x="20611" y="16102"/>
                    </a:cubicBezTo>
                    <a:cubicBezTo>
                      <a:pt x="20297" y="16084"/>
                      <a:pt x="19982" y="16106"/>
                      <a:pt x="19673" y="16169"/>
                    </a:cubicBezTo>
                    <a:cubicBezTo>
                      <a:pt x="17697" y="16169"/>
                      <a:pt x="16096" y="17770"/>
                      <a:pt x="16096" y="19746"/>
                    </a:cubicBezTo>
                    <a:cubicBezTo>
                      <a:pt x="16169" y="21691"/>
                      <a:pt x="17728" y="23250"/>
                      <a:pt x="19673" y="23323"/>
                    </a:cubicBezTo>
                    <a:cubicBezTo>
                      <a:pt x="21649" y="23323"/>
                      <a:pt x="23250" y="21722"/>
                      <a:pt x="23250" y="1974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0" name="Freeform: Shape 499">
                <a:extLst>
                  <a:ext uri="{FF2B5EF4-FFF2-40B4-BE49-F238E27FC236}">
                    <a16:creationId xmlns:a16="http://schemas.microsoft.com/office/drawing/2014/main" id="{A2846120-AD40-4F73-BAAF-48D0C23C8CDF}"/>
                  </a:ext>
                </a:extLst>
              </p:cNvPr>
              <p:cNvSpPr/>
              <p:nvPr/>
            </p:nvSpPr>
            <p:spPr>
              <a:xfrm>
                <a:off x="4480120" y="4880597"/>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0"/>
                      <a:pt x="21962"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1" name="Freeform: Shape 500">
                <a:extLst>
                  <a:ext uri="{FF2B5EF4-FFF2-40B4-BE49-F238E27FC236}">
                    <a16:creationId xmlns:a16="http://schemas.microsoft.com/office/drawing/2014/main" id="{B289186A-41FB-4102-B9B7-D8CB4558CB6D}"/>
                  </a:ext>
                </a:extLst>
              </p:cNvPr>
              <p:cNvSpPr/>
              <p:nvPr/>
            </p:nvSpPr>
            <p:spPr>
              <a:xfrm>
                <a:off x="4010404" y="4907366"/>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2" name="Freeform: Shape 501">
                <a:extLst>
                  <a:ext uri="{FF2B5EF4-FFF2-40B4-BE49-F238E27FC236}">
                    <a16:creationId xmlns:a16="http://schemas.microsoft.com/office/drawing/2014/main" id="{58B16F34-689F-4AA5-8CBA-1F6783925D51}"/>
                  </a:ext>
                </a:extLst>
              </p:cNvPr>
              <p:cNvSpPr/>
              <p:nvPr/>
            </p:nvSpPr>
            <p:spPr>
              <a:xfrm>
                <a:off x="4062054" y="4907955"/>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8"/>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3" name="Freeform: Shape 502">
                <a:extLst>
                  <a:ext uri="{FF2B5EF4-FFF2-40B4-BE49-F238E27FC236}">
                    <a16:creationId xmlns:a16="http://schemas.microsoft.com/office/drawing/2014/main" id="{E9854295-64E5-46CA-B3C6-ABF64DEBBC96}"/>
                  </a:ext>
                </a:extLst>
              </p:cNvPr>
              <p:cNvSpPr/>
              <p:nvPr/>
            </p:nvSpPr>
            <p:spPr>
              <a:xfrm>
                <a:off x="4114850" y="4908669"/>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4" name="Freeform: Shape 503">
                <a:extLst>
                  <a:ext uri="{FF2B5EF4-FFF2-40B4-BE49-F238E27FC236}">
                    <a16:creationId xmlns:a16="http://schemas.microsoft.com/office/drawing/2014/main" id="{3DB749AC-68AF-4F34-A9AD-C06913B2E87A}"/>
                  </a:ext>
                </a:extLst>
              </p:cNvPr>
              <p:cNvSpPr/>
              <p:nvPr/>
            </p:nvSpPr>
            <p:spPr>
              <a:xfrm>
                <a:off x="4166929" y="4909232"/>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5" name="Freeform: Shape 504">
                <a:extLst>
                  <a:ext uri="{FF2B5EF4-FFF2-40B4-BE49-F238E27FC236}">
                    <a16:creationId xmlns:a16="http://schemas.microsoft.com/office/drawing/2014/main" id="{CDDE02FC-C1FB-4F4A-99BE-38DB2121EB39}"/>
                  </a:ext>
                </a:extLst>
              </p:cNvPr>
              <p:cNvSpPr/>
              <p:nvPr/>
            </p:nvSpPr>
            <p:spPr>
              <a:xfrm>
                <a:off x="4219079" y="4910737"/>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6" name="Freeform: Shape 505">
                <a:extLst>
                  <a:ext uri="{FF2B5EF4-FFF2-40B4-BE49-F238E27FC236}">
                    <a16:creationId xmlns:a16="http://schemas.microsoft.com/office/drawing/2014/main" id="{2B1C18CB-45B6-41A5-A202-2E4F499EAC59}"/>
                  </a:ext>
                </a:extLst>
              </p:cNvPr>
              <p:cNvSpPr/>
              <p:nvPr/>
            </p:nvSpPr>
            <p:spPr>
              <a:xfrm>
                <a:off x="4271373" y="4910507"/>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7" name="Freeform: Shape 506">
                <a:extLst>
                  <a:ext uri="{FF2B5EF4-FFF2-40B4-BE49-F238E27FC236}">
                    <a16:creationId xmlns:a16="http://schemas.microsoft.com/office/drawing/2014/main" id="{9615D3D3-7F0C-496E-B5DD-38954F1A4A02}"/>
                  </a:ext>
                </a:extLst>
              </p:cNvPr>
              <p:cNvSpPr/>
              <p:nvPr/>
            </p:nvSpPr>
            <p:spPr>
              <a:xfrm>
                <a:off x="4323524" y="4911910"/>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8" name="Freeform: Shape 507">
                <a:extLst>
                  <a:ext uri="{FF2B5EF4-FFF2-40B4-BE49-F238E27FC236}">
                    <a16:creationId xmlns:a16="http://schemas.microsoft.com/office/drawing/2014/main" id="{AEB119F6-3DF4-4E09-88EA-4C7F300A39ED}"/>
                  </a:ext>
                </a:extLst>
              </p:cNvPr>
              <p:cNvSpPr/>
              <p:nvPr/>
            </p:nvSpPr>
            <p:spPr>
              <a:xfrm>
                <a:off x="4375818" y="4911796"/>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9" name="Freeform: Shape 508">
                <a:extLst>
                  <a:ext uri="{FF2B5EF4-FFF2-40B4-BE49-F238E27FC236}">
                    <a16:creationId xmlns:a16="http://schemas.microsoft.com/office/drawing/2014/main" id="{51CAB735-6313-4331-BBB0-58D5E9B1B52F}"/>
                  </a:ext>
                </a:extLst>
              </p:cNvPr>
              <p:cNvSpPr/>
              <p:nvPr/>
            </p:nvSpPr>
            <p:spPr>
              <a:xfrm>
                <a:off x="4428613" y="4912384"/>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0" name="Freeform: Shape 509">
                <a:extLst>
                  <a:ext uri="{FF2B5EF4-FFF2-40B4-BE49-F238E27FC236}">
                    <a16:creationId xmlns:a16="http://schemas.microsoft.com/office/drawing/2014/main" id="{266E82DF-F6F3-44FB-91EF-669663DB17E7}"/>
                  </a:ext>
                </a:extLst>
              </p:cNvPr>
              <p:cNvSpPr/>
              <p:nvPr/>
            </p:nvSpPr>
            <p:spPr>
              <a:xfrm>
                <a:off x="4480120" y="4913109"/>
                <a:ext cx="28615" cy="28615"/>
              </a:xfrm>
              <a:custGeom>
                <a:avLst/>
                <a:gdLst>
                  <a:gd name="connsiteX0" fmla="*/ 21962 w 28614"/>
                  <a:gd name="connsiteY0" fmla="*/ 18961 h 28614"/>
                  <a:gd name="connsiteX1" fmla="*/ 19100 w 28614"/>
                  <a:gd name="connsiteY1" fmla="*/ 16100 h 28614"/>
                  <a:gd name="connsiteX2" fmla="*/ 16100 w 28614"/>
                  <a:gd name="connsiteY2" fmla="*/ 18815 h 28614"/>
                  <a:gd name="connsiteX3" fmla="*/ 16096 w 28614"/>
                  <a:gd name="connsiteY3" fmla="*/ 18961 h 28614"/>
                  <a:gd name="connsiteX4" fmla="*/ 19100 w 28614"/>
                  <a:gd name="connsiteY4" fmla="*/ 21966 h 28614"/>
                  <a:gd name="connsiteX5" fmla="*/ 21966 w 28614"/>
                  <a:gd name="connsiteY5" fmla="*/ 19108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5"/>
                    </a:cubicBezTo>
                    <a:cubicBezTo>
                      <a:pt x="16097" y="18864"/>
                      <a:pt x="16096" y="18912"/>
                      <a:pt x="16096" y="18961"/>
                    </a:cubicBezTo>
                    <a:cubicBezTo>
                      <a:pt x="16096" y="20621"/>
                      <a:pt x="17441" y="21966"/>
                      <a:pt x="19100" y="21966"/>
                    </a:cubicBezTo>
                    <a:cubicBezTo>
                      <a:pt x="20682" y="21967"/>
                      <a:pt x="21963" y="20688"/>
                      <a:pt x="21966" y="19108"/>
                    </a:cubicBezTo>
                    <a:cubicBezTo>
                      <a:pt x="21966" y="19058"/>
                      <a:pt x="21965" y="19010"/>
                      <a:pt x="21962" y="1896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1" name="Freeform: Shape 510">
                <a:extLst>
                  <a:ext uri="{FF2B5EF4-FFF2-40B4-BE49-F238E27FC236}">
                    <a16:creationId xmlns:a16="http://schemas.microsoft.com/office/drawing/2014/main" id="{E2E1FDDB-A53E-46ED-8198-E9037A5D70E6}"/>
                  </a:ext>
                </a:extLst>
              </p:cNvPr>
              <p:cNvSpPr/>
              <p:nvPr/>
            </p:nvSpPr>
            <p:spPr>
              <a:xfrm>
                <a:off x="4010404" y="4939899"/>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2" name="Freeform: Shape 511">
                <a:extLst>
                  <a:ext uri="{FF2B5EF4-FFF2-40B4-BE49-F238E27FC236}">
                    <a16:creationId xmlns:a16="http://schemas.microsoft.com/office/drawing/2014/main" id="{6A6C1198-4435-40EB-B6BE-972C2AEF185A}"/>
                  </a:ext>
                </a:extLst>
              </p:cNvPr>
              <p:cNvSpPr/>
              <p:nvPr/>
            </p:nvSpPr>
            <p:spPr>
              <a:xfrm>
                <a:off x="4062055" y="4940333"/>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3" name="Freeform: Shape 512">
                <a:extLst>
                  <a:ext uri="{FF2B5EF4-FFF2-40B4-BE49-F238E27FC236}">
                    <a16:creationId xmlns:a16="http://schemas.microsoft.com/office/drawing/2014/main" id="{2AEF4020-8C15-4629-9E04-6109803DCCBE}"/>
                  </a:ext>
                </a:extLst>
              </p:cNvPr>
              <p:cNvSpPr/>
              <p:nvPr/>
            </p:nvSpPr>
            <p:spPr>
              <a:xfrm>
                <a:off x="4114851" y="4941204"/>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4" name="Freeform: Shape 513">
                <a:extLst>
                  <a:ext uri="{FF2B5EF4-FFF2-40B4-BE49-F238E27FC236}">
                    <a16:creationId xmlns:a16="http://schemas.microsoft.com/office/drawing/2014/main" id="{FA2D3269-6BC8-44BD-A63A-4478169347F4}"/>
                  </a:ext>
                </a:extLst>
              </p:cNvPr>
              <p:cNvSpPr/>
              <p:nvPr/>
            </p:nvSpPr>
            <p:spPr>
              <a:xfrm>
                <a:off x="4166928" y="4941762"/>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5" name="Freeform: Shape 514">
                <a:extLst>
                  <a:ext uri="{FF2B5EF4-FFF2-40B4-BE49-F238E27FC236}">
                    <a16:creationId xmlns:a16="http://schemas.microsoft.com/office/drawing/2014/main" id="{9E56C992-D24B-4D98-B06A-31058DA341E7}"/>
                  </a:ext>
                </a:extLst>
              </p:cNvPr>
              <p:cNvSpPr/>
              <p:nvPr/>
            </p:nvSpPr>
            <p:spPr>
              <a:xfrm>
                <a:off x="4219009" y="4942194"/>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6" name="Freeform: Shape 515">
                <a:extLst>
                  <a:ext uri="{FF2B5EF4-FFF2-40B4-BE49-F238E27FC236}">
                    <a16:creationId xmlns:a16="http://schemas.microsoft.com/office/drawing/2014/main" id="{DC6648B0-513F-4287-8ACE-9E76BAD9EDC7}"/>
                  </a:ext>
                </a:extLst>
              </p:cNvPr>
              <p:cNvSpPr/>
              <p:nvPr/>
            </p:nvSpPr>
            <p:spPr>
              <a:xfrm>
                <a:off x="4271373" y="4943028"/>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7" name="Freeform: Shape 516">
                <a:extLst>
                  <a:ext uri="{FF2B5EF4-FFF2-40B4-BE49-F238E27FC236}">
                    <a16:creationId xmlns:a16="http://schemas.microsoft.com/office/drawing/2014/main" id="{83EEC15A-AD3D-4D32-BACB-29CD58635C24}"/>
                  </a:ext>
                </a:extLst>
              </p:cNvPr>
              <p:cNvSpPr/>
              <p:nvPr/>
            </p:nvSpPr>
            <p:spPr>
              <a:xfrm>
                <a:off x="4323521" y="4942771"/>
                <a:ext cx="28615" cy="42922"/>
              </a:xfrm>
              <a:custGeom>
                <a:avLst/>
                <a:gdLst>
                  <a:gd name="connsiteX0" fmla="*/ 25754 w 28614"/>
                  <a:gd name="connsiteY0" fmla="*/ 21793 h 42922"/>
                  <a:gd name="connsiteX1" fmla="*/ 21793 w 28614"/>
                  <a:gd name="connsiteY1" fmla="*/ 16168 h 42922"/>
                  <a:gd name="connsiteX2" fmla="*/ 16168 w 28614"/>
                  <a:gd name="connsiteY2" fmla="*/ 20130 h 42922"/>
                  <a:gd name="connsiteX3" fmla="*/ 16168 w 28614"/>
                  <a:gd name="connsiteY3" fmla="*/ 21793 h 42922"/>
                  <a:gd name="connsiteX4" fmla="*/ 20130 w 28614"/>
                  <a:gd name="connsiteY4" fmla="*/ 27417 h 42922"/>
                  <a:gd name="connsiteX5" fmla="*/ 25754 w 28614"/>
                  <a:gd name="connsiteY5" fmla="*/ 23455 h 42922"/>
                  <a:gd name="connsiteX6" fmla="*/ 25754 w 28614"/>
                  <a:gd name="connsiteY6" fmla="*/ 2179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42922">
                    <a:moveTo>
                      <a:pt x="25754" y="21793"/>
                    </a:moveTo>
                    <a:cubicBezTo>
                      <a:pt x="26214" y="19146"/>
                      <a:pt x="24439" y="16628"/>
                      <a:pt x="21793" y="16168"/>
                    </a:cubicBezTo>
                    <a:cubicBezTo>
                      <a:pt x="19146" y="15709"/>
                      <a:pt x="16628" y="17483"/>
                      <a:pt x="16168" y="20130"/>
                    </a:cubicBezTo>
                    <a:cubicBezTo>
                      <a:pt x="16072" y="20681"/>
                      <a:pt x="16072" y="21243"/>
                      <a:pt x="16168" y="21793"/>
                    </a:cubicBezTo>
                    <a:cubicBezTo>
                      <a:pt x="15709" y="24439"/>
                      <a:pt x="17483" y="26958"/>
                      <a:pt x="20130" y="27417"/>
                    </a:cubicBezTo>
                    <a:cubicBezTo>
                      <a:pt x="22777" y="27876"/>
                      <a:pt x="25295" y="26102"/>
                      <a:pt x="25754" y="23455"/>
                    </a:cubicBezTo>
                    <a:cubicBezTo>
                      <a:pt x="25850" y="22904"/>
                      <a:pt x="25850" y="22342"/>
                      <a:pt x="25754" y="217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8" name="Freeform: Shape 517">
                <a:extLst>
                  <a:ext uri="{FF2B5EF4-FFF2-40B4-BE49-F238E27FC236}">
                    <a16:creationId xmlns:a16="http://schemas.microsoft.com/office/drawing/2014/main" id="{568BDE15-7017-448B-9175-F064CAA7302D}"/>
                  </a:ext>
                </a:extLst>
              </p:cNvPr>
              <p:cNvSpPr/>
              <p:nvPr/>
            </p:nvSpPr>
            <p:spPr>
              <a:xfrm>
                <a:off x="4375813" y="4944297"/>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9" name="Freeform: Shape 518">
                <a:extLst>
                  <a:ext uri="{FF2B5EF4-FFF2-40B4-BE49-F238E27FC236}">
                    <a16:creationId xmlns:a16="http://schemas.microsoft.com/office/drawing/2014/main" id="{F1EB53A4-6714-41AB-84CE-3F8AEDF81D6F}"/>
                  </a:ext>
                </a:extLst>
              </p:cNvPr>
              <p:cNvSpPr/>
              <p:nvPr/>
            </p:nvSpPr>
            <p:spPr>
              <a:xfrm>
                <a:off x="4428596" y="4944840"/>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20" name="Freeform: Shape 519">
                <a:extLst>
                  <a:ext uri="{FF2B5EF4-FFF2-40B4-BE49-F238E27FC236}">
                    <a16:creationId xmlns:a16="http://schemas.microsoft.com/office/drawing/2014/main" id="{4303BE71-3F27-474A-ADF4-81E2DFBDABA4}"/>
                  </a:ext>
                </a:extLst>
              </p:cNvPr>
              <p:cNvSpPr/>
              <p:nvPr/>
            </p:nvSpPr>
            <p:spPr>
              <a:xfrm>
                <a:off x="4480045" y="4945430"/>
                <a:ext cx="28615" cy="28615"/>
              </a:xfrm>
              <a:custGeom>
                <a:avLst/>
                <a:gdLst>
                  <a:gd name="connsiteX0" fmla="*/ 22034 w 28614"/>
                  <a:gd name="connsiteY0" fmla="*/ 19100 h 28614"/>
                  <a:gd name="connsiteX1" fmla="*/ 19320 w 28614"/>
                  <a:gd name="connsiteY1" fmla="*/ 16099 h 28614"/>
                  <a:gd name="connsiteX2" fmla="*/ 19173 w 28614"/>
                  <a:gd name="connsiteY2" fmla="*/ 16096 h 28614"/>
                  <a:gd name="connsiteX3" fmla="*/ 16168 w 28614"/>
                  <a:gd name="connsiteY3" fmla="*/ 19100 h 28614"/>
                  <a:gd name="connsiteX4" fmla="*/ 18449 w 28614"/>
                  <a:gd name="connsiteY4" fmla="*/ 22686 h 28614"/>
                  <a:gd name="connsiteX5" fmla="*/ 22034 w 28614"/>
                  <a:gd name="connsiteY5" fmla="*/ 20404 h 28614"/>
                  <a:gd name="connsiteX6" fmla="*/ 22034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2034" y="19100"/>
                    </a:moveTo>
                    <a:cubicBezTo>
                      <a:pt x="22113" y="17522"/>
                      <a:pt x="20898" y="16179"/>
                      <a:pt x="19320" y="16099"/>
                    </a:cubicBezTo>
                    <a:cubicBezTo>
                      <a:pt x="19270" y="16097"/>
                      <a:pt x="19222" y="16096"/>
                      <a:pt x="19173" y="16096"/>
                    </a:cubicBezTo>
                    <a:cubicBezTo>
                      <a:pt x="17513" y="16096"/>
                      <a:pt x="16168" y="17441"/>
                      <a:pt x="16168" y="19100"/>
                    </a:cubicBezTo>
                    <a:cubicBezTo>
                      <a:pt x="15808" y="20720"/>
                      <a:pt x="16829" y="22325"/>
                      <a:pt x="18449" y="22686"/>
                    </a:cubicBezTo>
                    <a:cubicBezTo>
                      <a:pt x="20070" y="23045"/>
                      <a:pt x="21674" y="22023"/>
                      <a:pt x="22034" y="20404"/>
                    </a:cubicBezTo>
                    <a:cubicBezTo>
                      <a:pt x="22130" y="19975"/>
                      <a:pt x="22130" y="19530"/>
                      <a:pt x="22034"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grpSp>
        <p:grpSp>
          <p:nvGrpSpPr>
            <p:cNvPr id="364" name="Group 363">
              <a:extLst>
                <a:ext uri="{FF2B5EF4-FFF2-40B4-BE49-F238E27FC236}">
                  <a16:creationId xmlns:a16="http://schemas.microsoft.com/office/drawing/2014/main" id="{1964549C-14CB-4723-966F-D884FCBE7928}"/>
                </a:ext>
              </a:extLst>
            </p:cNvPr>
            <p:cNvGrpSpPr/>
            <p:nvPr/>
          </p:nvGrpSpPr>
          <p:grpSpPr>
            <a:xfrm rot="1348360">
              <a:off x="6419212" y="2147219"/>
              <a:ext cx="816988" cy="341279"/>
              <a:chOff x="4010404" y="4875001"/>
              <a:chExt cx="498331" cy="208165"/>
            </a:xfrm>
            <a:solidFill>
              <a:srgbClr val="74BF4B"/>
            </a:solidFill>
          </p:grpSpPr>
          <p:sp>
            <p:nvSpPr>
              <p:cNvPr id="401" name="Freeform: Shape 400">
                <a:extLst>
                  <a:ext uri="{FF2B5EF4-FFF2-40B4-BE49-F238E27FC236}">
                    <a16:creationId xmlns:a16="http://schemas.microsoft.com/office/drawing/2014/main" id="{2042EBA3-04C8-4FEC-8832-4EC174C75D02}"/>
                  </a:ext>
                </a:extLst>
              </p:cNvPr>
              <p:cNvSpPr/>
              <p:nvPr/>
            </p:nvSpPr>
            <p:spPr>
              <a:xfrm>
                <a:off x="4010546" y="4972281"/>
                <a:ext cx="42922" cy="42921"/>
              </a:xfrm>
              <a:custGeom>
                <a:avLst/>
                <a:gdLst>
                  <a:gd name="connsiteX0" fmla="*/ 33123 w 42922"/>
                  <a:gd name="connsiteY0" fmla="*/ 24539 h 42922"/>
                  <a:gd name="connsiteX1" fmla="*/ 24683 w 42922"/>
                  <a:gd name="connsiteY1" fmla="*/ 16096 h 42922"/>
                  <a:gd name="connsiteX2" fmla="*/ 24539 w 42922"/>
                  <a:gd name="connsiteY2" fmla="*/ 16097 h 42922"/>
                  <a:gd name="connsiteX3" fmla="*/ 16097 w 42922"/>
                  <a:gd name="connsiteY3" fmla="*/ 24250 h 42922"/>
                  <a:gd name="connsiteX4" fmla="*/ 16097 w 42922"/>
                  <a:gd name="connsiteY4" fmla="*/ 24539 h 42922"/>
                  <a:gd name="connsiteX5" fmla="*/ 24394 w 42922"/>
                  <a:gd name="connsiteY5" fmla="*/ 33122 h 42922"/>
                  <a:gd name="connsiteX6" fmla="*/ 24539 w 42922"/>
                  <a:gd name="connsiteY6" fmla="*/ 33123 h 42922"/>
                  <a:gd name="connsiteX7" fmla="*/ 33123 w 42922"/>
                  <a:gd name="connsiteY7" fmla="*/ 245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539"/>
                    </a:moveTo>
                    <a:cubicBezTo>
                      <a:pt x="33123" y="19877"/>
                      <a:pt x="29344" y="16097"/>
                      <a:pt x="24683" y="16096"/>
                    </a:cubicBezTo>
                    <a:cubicBezTo>
                      <a:pt x="24634" y="16096"/>
                      <a:pt x="24587" y="16096"/>
                      <a:pt x="24539" y="16097"/>
                    </a:cubicBezTo>
                    <a:cubicBezTo>
                      <a:pt x="19956" y="16017"/>
                      <a:pt x="16177" y="19667"/>
                      <a:pt x="16097" y="24250"/>
                    </a:cubicBezTo>
                    <a:cubicBezTo>
                      <a:pt x="16096" y="24346"/>
                      <a:pt x="16096" y="24443"/>
                      <a:pt x="16097" y="24539"/>
                    </a:cubicBezTo>
                    <a:cubicBezTo>
                      <a:pt x="16018" y="29200"/>
                      <a:pt x="19733" y="33043"/>
                      <a:pt x="24394" y="33122"/>
                    </a:cubicBezTo>
                    <a:cubicBezTo>
                      <a:pt x="24443" y="33123"/>
                      <a:pt x="24490" y="33123"/>
                      <a:pt x="24539" y="33123"/>
                    </a:cubicBezTo>
                    <a:cubicBezTo>
                      <a:pt x="29280" y="33123"/>
                      <a:pt x="33123" y="29280"/>
                      <a:pt x="33123" y="2453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2" name="Freeform: Shape 401">
                <a:extLst>
                  <a:ext uri="{FF2B5EF4-FFF2-40B4-BE49-F238E27FC236}">
                    <a16:creationId xmlns:a16="http://schemas.microsoft.com/office/drawing/2014/main" id="{80C58005-CEFF-443A-BF83-DCDF07868AE2}"/>
                  </a:ext>
                </a:extLst>
              </p:cNvPr>
              <p:cNvSpPr/>
              <p:nvPr/>
            </p:nvSpPr>
            <p:spPr>
              <a:xfrm>
                <a:off x="4062055" y="4972713"/>
                <a:ext cx="42922" cy="42921"/>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6"/>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3" name="Freeform: Shape 402">
                <a:extLst>
                  <a:ext uri="{FF2B5EF4-FFF2-40B4-BE49-F238E27FC236}">
                    <a16:creationId xmlns:a16="http://schemas.microsoft.com/office/drawing/2014/main" id="{EB781CBA-F99E-4A10-A1F6-A362C28A8C51}"/>
                  </a:ext>
                </a:extLst>
              </p:cNvPr>
              <p:cNvSpPr/>
              <p:nvPr/>
            </p:nvSpPr>
            <p:spPr>
              <a:xfrm>
                <a:off x="4115135" y="4974864"/>
                <a:ext cx="42922" cy="42921"/>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4" name="Freeform: Shape 403">
                <a:extLst>
                  <a:ext uri="{FF2B5EF4-FFF2-40B4-BE49-F238E27FC236}">
                    <a16:creationId xmlns:a16="http://schemas.microsoft.com/office/drawing/2014/main" id="{697597CD-892F-42E4-B8A7-0F15219DE5AC}"/>
                  </a:ext>
                </a:extLst>
              </p:cNvPr>
              <p:cNvSpPr/>
              <p:nvPr/>
            </p:nvSpPr>
            <p:spPr>
              <a:xfrm>
                <a:off x="4166928" y="4974001"/>
                <a:ext cx="42922" cy="42921"/>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5" name="Freeform: Shape 404">
                <a:extLst>
                  <a:ext uri="{FF2B5EF4-FFF2-40B4-BE49-F238E27FC236}">
                    <a16:creationId xmlns:a16="http://schemas.microsoft.com/office/drawing/2014/main" id="{1CA384BD-E8AA-48D0-9B2C-132E48A13495}"/>
                  </a:ext>
                </a:extLst>
              </p:cNvPr>
              <p:cNvSpPr/>
              <p:nvPr/>
            </p:nvSpPr>
            <p:spPr>
              <a:xfrm>
                <a:off x="4219079" y="4975507"/>
                <a:ext cx="42922" cy="42921"/>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6" name="Freeform: Shape 405">
                <a:extLst>
                  <a:ext uri="{FF2B5EF4-FFF2-40B4-BE49-F238E27FC236}">
                    <a16:creationId xmlns:a16="http://schemas.microsoft.com/office/drawing/2014/main" id="{2F468221-7841-4E1C-92F1-BCFBCE9D63F6}"/>
                  </a:ext>
                </a:extLst>
              </p:cNvPr>
              <p:cNvSpPr/>
              <p:nvPr/>
            </p:nvSpPr>
            <p:spPr>
              <a:xfrm>
                <a:off x="4271373" y="4975287"/>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7" name="Freeform: Shape 406">
                <a:extLst>
                  <a:ext uri="{FF2B5EF4-FFF2-40B4-BE49-F238E27FC236}">
                    <a16:creationId xmlns:a16="http://schemas.microsoft.com/office/drawing/2014/main" id="{41FF626B-7627-4EB6-9B52-735ED84C4015}"/>
                  </a:ext>
                </a:extLst>
              </p:cNvPr>
              <p:cNvSpPr/>
              <p:nvPr/>
            </p:nvSpPr>
            <p:spPr>
              <a:xfrm>
                <a:off x="4323524" y="4976690"/>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8" name="Freeform: Shape 407">
                <a:extLst>
                  <a:ext uri="{FF2B5EF4-FFF2-40B4-BE49-F238E27FC236}">
                    <a16:creationId xmlns:a16="http://schemas.microsoft.com/office/drawing/2014/main" id="{B1598A16-00D5-4C6E-ABBC-88D05B283DCB}"/>
                  </a:ext>
                </a:extLst>
              </p:cNvPr>
              <p:cNvSpPr/>
              <p:nvPr/>
            </p:nvSpPr>
            <p:spPr>
              <a:xfrm>
                <a:off x="4375820" y="4976717"/>
                <a:ext cx="28615" cy="28615"/>
              </a:xfrm>
              <a:custGeom>
                <a:avLst/>
                <a:gdLst>
                  <a:gd name="connsiteX0" fmla="*/ 24392 w 28614"/>
                  <a:gd name="connsiteY0" fmla="*/ 20102 h 28614"/>
                  <a:gd name="connsiteX1" fmla="*/ 20103 w 28614"/>
                  <a:gd name="connsiteY1" fmla="*/ 16098 h 28614"/>
                  <a:gd name="connsiteX2" fmla="*/ 16098 w 28614"/>
                  <a:gd name="connsiteY2" fmla="*/ 20388 h 28614"/>
                  <a:gd name="connsiteX3" fmla="*/ 20243 w 28614"/>
                  <a:gd name="connsiteY3" fmla="*/ 24394 h 28614"/>
                  <a:gd name="connsiteX4" fmla="*/ 24395 w 28614"/>
                  <a:gd name="connsiteY4" fmla="*/ 20248 h 28614"/>
                  <a:gd name="connsiteX5" fmla="*/ 24392 w 28614"/>
                  <a:gd name="connsiteY5" fmla="*/ 201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4392" y="20102"/>
                    </a:moveTo>
                    <a:cubicBezTo>
                      <a:pt x="24314" y="17811"/>
                      <a:pt x="22392" y="16018"/>
                      <a:pt x="20103" y="16098"/>
                    </a:cubicBezTo>
                    <a:cubicBezTo>
                      <a:pt x="17812" y="16177"/>
                      <a:pt x="16020" y="18097"/>
                      <a:pt x="16098" y="20388"/>
                    </a:cubicBezTo>
                    <a:cubicBezTo>
                      <a:pt x="16176" y="22621"/>
                      <a:pt x="18008" y="24393"/>
                      <a:pt x="20243" y="24394"/>
                    </a:cubicBezTo>
                    <a:cubicBezTo>
                      <a:pt x="22535" y="24395"/>
                      <a:pt x="24394" y="22538"/>
                      <a:pt x="24395" y="20248"/>
                    </a:cubicBezTo>
                    <a:cubicBezTo>
                      <a:pt x="24395" y="20199"/>
                      <a:pt x="24394" y="20150"/>
                      <a:pt x="24392" y="2010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9" name="Freeform: Shape 408">
                <a:extLst>
                  <a:ext uri="{FF2B5EF4-FFF2-40B4-BE49-F238E27FC236}">
                    <a16:creationId xmlns:a16="http://schemas.microsoft.com/office/drawing/2014/main" id="{67B57571-6D00-4CD1-AB5B-ACBA8F7C64D7}"/>
                  </a:ext>
                </a:extLst>
              </p:cNvPr>
              <p:cNvSpPr/>
              <p:nvPr/>
            </p:nvSpPr>
            <p:spPr>
              <a:xfrm>
                <a:off x="4428613" y="4977147"/>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728" y="16169"/>
                      <a:pt x="16169" y="17728"/>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0" name="Freeform: Shape 409">
                <a:extLst>
                  <a:ext uri="{FF2B5EF4-FFF2-40B4-BE49-F238E27FC236}">
                    <a16:creationId xmlns:a16="http://schemas.microsoft.com/office/drawing/2014/main" id="{6025E967-9FBB-4755-8558-7E82F74B561C}"/>
                  </a:ext>
                </a:extLst>
              </p:cNvPr>
              <p:cNvSpPr/>
              <p:nvPr/>
            </p:nvSpPr>
            <p:spPr>
              <a:xfrm>
                <a:off x="4480119" y="4977859"/>
                <a:ext cx="28615" cy="28615"/>
              </a:xfrm>
              <a:custGeom>
                <a:avLst/>
                <a:gdLst>
                  <a:gd name="connsiteX0" fmla="*/ 21962 w 28614"/>
                  <a:gd name="connsiteY0" fmla="*/ 18961 h 28614"/>
                  <a:gd name="connsiteX1" fmla="*/ 19100 w 28614"/>
                  <a:gd name="connsiteY1" fmla="*/ 16100 h 28614"/>
                  <a:gd name="connsiteX2" fmla="*/ 16100 w 28614"/>
                  <a:gd name="connsiteY2" fmla="*/ 18814 h 28614"/>
                  <a:gd name="connsiteX3" fmla="*/ 16096 w 28614"/>
                  <a:gd name="connsiteY3" fmla="*/ 18961 h 28614"/>
                  <a:gd name="connsiteX4" fmla="*/ 19100 w 28614"/>
                  <a:gd name="connsiteY4" fmla="*/ 21966 h 28614"/>
                  <a:gd name="connsiteX5" fmla="*/ 21966 w 28614"/>
                  <a:gd name="connsiteY5" fmla="*/ 19107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4"/>
                    </a:cubicBezTo>
                    <a:cubicBezTo>
                      <a:pt x="16097" y="18864"/>
                      <a:pt x="16096" y="18912"/>
                      <a:pt x="16096" y="18961"/>
                    </a:cubicBezTo>
                    <a:cubicBezTo>
                      <a:pt x="16096" y="20621"/>
                      <a:pt x="17441" y="21966"/>
                      <a:pt x="19100" y="21966"/>
                    </a:cubicBezTo>
                    <a:cubicBezTo>
                      <a:pt x="20682" y="21967"/>
                      <a:pt x="21963" y="20688"/>
                      <a:pt x="21966" y="19107"/>
                    </a:cubicBezTo>
                    <a:cubicBezTo>
                      <a:pt x="21966" y="19058"/>
                      <a:pt x="21965" y="19010"/>
                      <a:pt x="21962" y="1896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1" name="Freeform: Shape 410">
                <a:extLst>
                  <a:ext uri="{FF2B5EF4-FFF2-40B4-BE49-F238E27FC236}">
                    <a16:creationId xmlns:a16="http://schemas.microsoft.com/office/drawing/2014/main" id="{08ACC3CA-3A9F-4009-9DE6-6EE2CF1792B3}"/>
                  </a:ext>
                </a:extLst>
              </p:cNvPr>
              <p:cNvSpPr/>
              <p:nvPr/>
            </p:nvSpPr>
            <p:spPr>
              <a:xfrm>
                <a:off x="4010404" y="5004617"/>
                <a:ext cx="42922" cy="42921"/>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2" name="Freeform: Shape 411">
                <a:extLst>
                  <a:ext uri="{FF2B5EF4-FFF2-40B4-BE49-F238E27FC236}">
                    <a16:creationId xmlns:a16="http://schemas.microsoft.com/office/drawing/2014/main" id="{91719D09-7CB9-41A8-B660-288F1A462508}"/>
                  </a:ext>
                </a:extLst>
              </p:cNvPr>
              <p:cNvSpPr/>
              <p:nvPr/>
            </p:nvSpPr>
            <p:spPr>
              <a:xfrm>
                <a:off x="4062057" y="5005047"/>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96" y="32119"/>
                      <a:pt x="32119" y="28596"/>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3" name="Freeform: Shape 412">
                <a:extLst>
                  <a:ext uri="{FF2B5EF4-FFF2-40B4-BE49-F238E27FC236}">
                    <a16:creationId xmlns:a16="http://schemas.microsoft.com/office/drawing/2014/main" id="{B532A212-8AE3-4535-80B1-16FE564453DC}"/>
                  </a:ext>
                </a:extLst>
              </p:cNvPr>
              <p:cNvSpPr/>
              <p:nvPr/>
            </p:nvSpPr>
            <p:spPr>
              <a:xfrm>
                <a:off x="4114849" y="5005905"/>
                <a:ext cx="42922" cy="42921"/>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4" name="Freeform: Shape 413">
                <a:extLst>
                  <a:ext uri="{FF2B5EF4-FFF2-40B4-BE49-F238E27FC236}">
                    <a16:creationId xmlns:a16="http://schemas.microsoft.com/office/drawing/2014/main" id="{F851A701-ACD9-4599-918C-DF4A8106EC68}"/>
                  </a:ext>
                </a:extLst>
              </p:cNvPr>
              <p:cNvSpPr/>
              <p:nvPr/>
            </p:nvSpPr>
            <p:spPr>
              <a:xfrm>
                <a:off x="4166929" y="5006479"/>
                <a:ext cx="42922" cy="42921"/>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5" name="Freeform: Shape 414">
                <a:extLst>
                  <a:ext uri="{FF2B5EF4-FFF2-40B4-BE49-F238E27FC236}">
                    <a16:creationId xmlns:a16="http://schemas.microsoft.com/office/drawing/2014/main" id="{00ADC465-E559-4C81-8190-CBD533EDBE3C}"/>
                  </a:ext>
                </a:extLst>
              </p:cNvPr>
              <p:cNvSpPr/>
              <p:nvPr/>
            </p:nvSpPr>
            <p:spPr>
              <a:xfrm>
                <a:off x="4219009" y="5006907"/>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6" name="Freeform: Shape 415">
                <a:extLst>
                  <a:ext uri="{FF2B5EF4-FFF2-40B4-BE49-F238E27FC236}">
                    <a16:creationId xmlns:a16="http://schemas.microsoft.com/office/drawing/2014/main" id="{5279B30E-B277-40F2-B933-332875920258}"/>
                  </a:ext>
                </a:extLst>
              </p:cNvPr>
              <p:cNvSpPr/>
              <p:nvPr/>
            </p:nvSpPr>
            <p:spPr>
              <a:xfrm>
                <a:off x="4271373" y="5007764"/>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7" name="Freeform: Shape 416">
                <a:extLst>
                  <a:ext uri="{FF2B5EF4-FFF2-40B4-BE49-F238E27FC236}">
                    <a16:creationId xmlns:a16="http://schemas.microsoft.com/office/drawing/2014/main" id="{A0495A85-699F-4530-8B55-8239EE4ED141}"/>
                  </a:ext>
                </a:extLst>
              </p:cNvPr>
              <p:cNvSpPr/>
              <p:nvPr/>
            </p:nvSpPr>
            <p:spPr>
              <a:xfrm>
                <a:off x="4323452" y="5008338"/>
                <a:ext cx="28615" cy="28615"/>
              </a:xfrm>
              <a:custGeom>
                <a:avLst/>
                <a:gdLst>
                  <a:gd name="connsiteX0" fmla="*/ 25825 w 28614"/>
                  <a:gd name="connsiteY0" fmla="*/ 20959 h 28614"/>
                  <a:gd name="connsiteX1" fmla="*/ 20959 w 28614"/>
                  <a:gd name="connsiteY1" fmla="*/ 16096 h 28614"/>
                  <a:gd name="connsiteX2" fmla="*/ 16096 w 28614"/>
                  <a:gd name="connsiteY2" fmla="*/ 20963 h 28614"/>
                  <a:gd name="connsiteX3" fmla="*/ 20963 w 28614"/>
                  <a:gd name="connsiteY3" fmla="*/ 25825 h 28614"/>
                  <a:gd name="connsiteX4" fmla="*/ 21104 w 28614"/>
                  <a:gd name="connsiteY4" fmla="*/ 25824 h 28614"/>
                  <a:gd name="connsiteX5" fmla="*/ 25825 w 28614"/>
                  <a:gd name="connsiteY5" fmla="*/ 2095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5" y="20959"/>
                    </a:moveTo>
                    <a:cubicBezTo>
                      <a:pt x="25824" y="18272"/>
                      <a:pt x="23644" y="16096"/>
                      <a:pt x="20959" y="16096"/>
                    </a:cubicBezTo>
                    <a:cubicBezTo>
                      <a:pt x="18272" y="16097"/>
                      <a:pt x="16094" y="18276"/>
                      <a:pt x="16096" y="20963"/>
                    </a:cubicBezTo>
                    <a:cubicBezTo>
                      <a:pt x="16097" y="23650"/>
                      <a:pt x="18276" y="25826"/>
                      <a:pt x="20963" y="25825"/>
                    </a:cubicBezTo>
                    <a:cubicBezTo>
                      <a:pt x="21009" y="25825"/>
                      <a:pt x="21056" y="25825"/>
                      <a:pt x="21104" y="25824"/>
                    </a:cubicBezTo>
                    <a:cubicBezTo>
                      <a:pt x="23735" y="25746"/>
                      <a:pt x="25826" y="23590"/>
                      <a:pt x="25825" y="2095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8" name="Freeform: Shape 417">
                <a:extLst>
                  <a:ext uri="{FF2B5EF4-FFF2-40B4-BE49-F238E27FC236}">
                    <a16:creationId xmlns:a16="http://schemas.microsoft.com/office/drawing/2014/main" id="{58276BE5-32C2-4E31-8FDC-234174F44FDE}"/>
                  </a:ext>
                </a:extLst>
              </p:cNvPr>
              <p:cNvSpPr/>
              <p:nvPr/>
            </p:nvSpPr>
            <p:spPr>
              <a:xfrm>
                <a:off x="4375817" y="5009052"/>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9" name="Freeform: Shape 418">
                <a:extLst>
                  <a:ext uri="{FF2B5EF4-FFF2-40B4-BE49-F238E27FC236}">
                    <a16:creationId xmlns:a16="http://schemas.microsoft.com/office/drawing/2014/main" id="{9914AE2A-94A5-44DA-B554-729E151A8646}"/>
                  </a:ext>
                </a:extLst>
              </p:cNvPr>
              <p:cNvSpPr/>
              <p:nvPr/>
            </p:nvSpPr>
            <p:spPr>
              <a:xfrm>
                <a:off x="4428613" y="5009625"/>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0" name="Freeform: Shape 419">
                <a:extLst>
                  <a:ext uri="{FF2B5EF4-FFF2-40B4-BE49-F238E27FC236}">
                    <a16:creationId xmlns:a16="http://schemas.microsoft.com/office/drawing/2014/main" id="{3A810AF9-7492-4AE3-9DBD-E85C6E6A3094}"/>
                  </a:ext>
                </a:extLst>
              </p:cNvPr>
              <p:cNvSpPr/>
              <p:nvPr/>
            </p:nvSpPr>
            <p:spPr>
              <a:xfrm>
                <a:off x="4479977" y="5010199"/>
                <a:ext cx="28615" cy="28615"/>
              </a:xfrm>
              <a:custGeom>
                <a:avLst/>
                <a:gdLst>
                  <a:gd name="connsiteX0" fmla="*/ 22105 w 28614"/>
                  <a:gd name="connsiteY0" fmla="*/ 19098 h 28614"/>
                  <a:gd name="connsiteX1" fmla="*/ 19098 w 28614"/>
                  <a:gd name="connsiteY1" fmla="*/ 16096 h 28614"/>
                  <a:gd name="connsiteX2" fmla="*/ 16096 w 28614"/>
                  <a:gd name="connsiteY2" fmla="*/ 19105 h 28614"/>
                  <a:gd name="connsiteX3" fmla="*/ 19103 w 28614"/>
                  <a:gd name="connsiteY3" fmla="*/ 22105 h 28614"/>
                  <a:gd name="connsiteX4" fmla="*/ 19244 w 28614"/>
                  <a:gd name="connsiteY4" fmla="*/ 22102 h 28614"/>
                  <a:gd name="connsiteX5" fmla="*/ 22105 w 28614"/>
                  <a:gd name="connsiteY5" fmla="*/ 1909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2105" y="19098"/>
                    </a:moveTo>
                    <a:cubicBezTo>
                      <a:pt x="22104" y="17438"/>
                      <a:pt x="20756" y="16094"/>
                      <a:pt x="19098" y="16096"/>
                    </a:cubicBezTo>
                    <a:cubicBezTo>
                      <a:pt x="17438" y="16099"/>
                      <a:pt x="16094" y="17445"/>
                      <a:pt x="16096" y="19105"/>
                    </a:cubicBezTo>
                    <a:cubicBezTo>
                      <a:pt x="16097" y="20764"/>
                      <a:pt x="17445" y="22108"/>
                      <a:pt x="19103" y="22105"/>
                    </a:cubicBezTo>
                    <a:cubicBezTo>
                      <a:pt x="19151" y="22105"/>
                      <a:pt x="19196" y="22105"/>
                      <a:pt x="19244" y="22102"/>
                    </a:cubicBezTo>
                    <a:cubicBezTo>
                      <a:pt x="20847" y="22026"/>
                      <a:pt x="22107" y="20703"/>
                      <a:pt x="22105" y="19098"/>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1" name="Freeform: Shape 420">
                <a:extLst>
                  <a:ext uri="{FF2B5EF4-FFF2-40B4-BE49-F238E27FC236}">
                    <a16:creationId xmlns:a16="http://schemas.microsoft.com/office/drawing/2014/main" id="{4B5717E2-08BB-4896-825D-0B365D8605E1}"/>
                  </a:ext>
                </a:extLst>
              </p:cNvPr>
              <p:cNvSpPr/>
              <p:nvPr/>
            </p:nvSpPr>
            <p:spPr>
              <a:xfrm>
                <a:off x="4010547" y="5037094"/>
                <a:ext cx="42922" cy="42921"/>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2" name="Freeform: Shape 421">
                <a:extLst>
                  <a:ext uri="{FF2B5EF4-FFF2-40B4-BE49-F238E27FC236}">
                    <a16:creationId xmlns:a16="http://schemas.microsoft.com/office/drawing/2014/main" id="{F2840F8C-AED1-4E07-A9EE-B5F216B6FC60}"/>
                  </a:ext>
                </a:extLst>
              </p:cNvPr>
              <p:cNvSpPr/>
              <p:nvPr/>
            </p:nvSpPr>
            <p:spPr>
              <a:xfrm>
                <a:off x="4062057" y="5037525"/>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3" name="Freeform: Shape 422">
                <a:extLst>
                  <a:ext uri="{FF2B5EF4-FFF2-40B4-BE49-F238E27FC236}">
                    <a16:creationId xmlns:a16="http://schemas.microsoft.com/office/drawing/2014/main" id="{376964EF-6A07-488C-A4EC-52094FE5653C}"/>
                  </a:ext>
                </a:extLst>
              </p:cNvPr>
              <p:cNvSpPr/>
              <p:nvPr/>
            </p:nvSpPr>
            <p:spPr>
              <a:xfrm>
                <a:off x="4114850" y="5038382"/>
                <a:ext cx="42922" cy="42921"/>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89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89"/>
                      <a:pt x="23393" y="30689"/>
                    </a:cubicBezTo>
                    <a:cubicBezTo>
                      <a:pt x="27423" y="30689"/>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4" name="Freeform: Shape 423">
                <a:extLst>
                  <a:ext uri="{FF2B5EF4-FFF2-40B4-BE49-F238E27FC236}">
                    <a16:creationId xmlns:a16="http://schemas.microsoft.com/office/drawing/2014/main" id="{91DD14FF-12C8-495E-A00A-4AB59977B9E1}"/>
                  </a:ext>
                </a:extLst>
              </p:cNvPr>
              <p:cNvSpPr/>
              <p:nvPr/>
            </p:nvSpPr>
            <p:spPr>
              <a:xfrm>
                <a:off x="4166931" y="5038813"/>
                <a:ext cx="42922" cy="42921"/>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5" name="Freeform: Shape 424">
                <a:extLst>
                  <a:ext uri="{FF2B5EF4-FFF2-40B4-BE49-F238E27FC236}">
                    <a16:creationId xmlns:a16="http://schemas.microsoft.com/office/drawing/2014/main" id="{B968578B-B4FD-48D0-9C58-F357C2E4DAC4}"/>
                  </a:ext>
                </a:extLst>
              </p:cNvPr>
              <p:cNvSpPr/>
              <p:nvPr/>
            </p:nvSpPr>
            <p:spPr>
              <a:xfrm>
                <a:off x="4219010" y="5039385"/>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6" name="Freeform: Shape 425">
                <a:extLst>
                  <a:ext uri="{FF2B5EF4-FFF2-40B4-BE49-F238E27FC236}">
                    <a16:creationId xmlns:a16="http://schemas.microsoft.com/office/drawing/2014/main" id="{03A72C9A-5D8D-4F21-93FF-0C326DB1E7BE}"/>
                  </a:ext>
                </a:extLst>
              </p:cNvPr>
              <p:cNvSpPr/>
              <p:nvPr/>
            </p:nvSpPr>
            <p:spPr>
              <a:xfrm>
                <a:off x="4271373" y="5040245"/>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7" name="Freeform: Shape 426">
                <a:extLst>
                  <a:ext uri="{FF2B5EF4-FFF2-40B4-BE49-F238E27FC236}">
                    <a16:creationId xmlns:a16="http://schemas.microsoft.com/office/drawing/2014/main" id="{E6B0F91D-4488-4F5B-83A3-90D536424B29}"/>
                  </a:ext>
                </a:extLst>
              </p:cNvPr>
              <p:cNvSpPr/>
              <p:nvPr/>
            </p:nvSpPr>
            <p:spPr>
              <a:xfrm>
                <a:off x="4323455" y="5040675"/>
                <a:ext cx="28615" cy="28615"/>
              </a:xfrm>
              <a:custGeom>
                <a:avLst/>
                <a:gdLst>
                  <a:gd name="connsiteX0" fmla="*/ 25823 w 28614"/>
                  <a:gd name="connsiteY0" fmla="*/ 21101 h 28614"/>
                  <a:gd name="connsiteX1" fmla="*/ 21101 w 28614"/>
                  <a:gd name="connsiteY1" fmla="*/ 16098 h 28614"/>
                  <a:gd name="connsiteX2" fmla="*/ 16098 w 28614"/>
                  <a:gd name="connsiteY2" fmla="*/ 20820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20"/>
                    </a:cubicBezTo>
                    <a:cubicBezTo>
                      <a:pt x="16019" y="23505"/>
                      <a:pt x="18134" y="25746"/>
                      <a:pt x="20820" y="25823"/>
                    </a:cubicBezTo>
                    <a:cubicBezTo>
                      <a:pt x="20914" y="25826"/>
                      <a:pt x="21007" y="25826"/>
                      <a:pt x="21101" y="25823"/>
                    </a:cubicBezTo>
                    <a:cubicBezTo>
                      <a:pt x="23677" y="25748"/>
                      <a:pt x="25748" y="23678"/>
                      <a:pt x="25823" y="2110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8" name="Freeform: Shape 427">
                <a:extLst>
                  <a:ext uri="{FF2B5EF4-FFF2-40B4-BE49-F238E27FC236}">
                    <a16:creationId xmlns:a16="http://schemas.microsoft.com/office/drawing/2014/main" id="{7DF5A6FD-C0B1-4ED2-BF0F-191567088034}"/>
                  </a:ext>
                </a:extLst>
              </p:cNvPr>
              <p:cNvSpPr/>
              <p:nvPr/>
            </p:nvSpPr>
            <p:spPr>
              <a:xfrm>
                <a:off x="4375818" y="5041533"/>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9" name="Freeform: Shape 428">
                <a:extLst>
                  <a:ext uri="{FF2B5EF4-FFF2-40B4-BE49-F238E27FC236}">
                    <a16:creationId xmlns:a16="http://schemas.microsoft.com/office/drawing/2014/main" id="{55FB0C4E-DDF3-42FE-9AAF-7DA935648647}"/>
                  </a:ext>
                </a:extLst>
              </p:cNvPr>
              <p:cNvSpPr/>
              <p:nvPr/>
            </p:nvSpPr>
            <p:spPr>
              <a:xfrm>
                <a:off x="4429194" y="5041961"/>
                <a:ext cx="28615" cy="28615"/>
              </a:xfrm>
              <a:custGeom>
                <a:avLst/>
                <a:gdLst>
                  <a:gd name="connsiteX0" fmla="*/ 22668 w 28614"/>
                  <a:gd name="connsiteY0" fmla="*/ 19816 h 28614"/>
                  <a:gd name="connsiteX1" fmla="*/ 19091 w 28614"/>
                  <a:gd name="connsiteY1" fmla="*/ 16096 h 28614"/>
                  <a:gd name="connsiteX2" fmla="*/ 16168 w 28614"/>
                  <a:gd name="connsiteY2" fmla="*/ 20470 h 28614"/>
                  <a:gd name="connsiteX3" fmla="*/ 19091 w 28614"/>
                  <a:gd name="connsiteY3" fmla="*/ 23393 h 28614"/>
                  <a:gd name="connsiteX4" fmla="*/ 22668 w 28614"/>
                  <a:gd name="connsiteY4" fmla="*/ 19816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2668" y="19816"/>
                    </a:moveTo>
                    <a:cubicBezTo>
                      <a:pt x="22669" y="17816"/>
                      <a:pt x="21090" y="16173"/>
                      <a:pt x="19091" y="16096"/>
                    </a:cubicBezTo>
                    <a:cubicBezTo>
                      <a:pt x="17077" y="16497"/>
                      <a:pt x="15767" y="18455"/>
                      <a:pt x="16168" y="20470"/>
                    </a:cubicBezTo>
                    <a:cubicBezTo>
                      <a:pt x="16463" y="21946"/>
                      <a:pt x="17616" y="23099"/>
                      <a:pt x="19091" y="23393"/>
                    </a:cubicBezTo>
                    <a:cubicBezTo>
                      <a:pt x="21067" y="23393"/>
                      <a:pt x="22668" y="21792"/>
                      <a:pt x="22668" y="1981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0" name="Freeform: Shape 429">
                <a:extLst>
                  <a:ext uri="{FF2B5EF4-FFF2-40B4-BE49-F238E27FC236}">
                    <a16:creationId xmlns:a16="http://schemas.microsoft.com/office/drawing/2014/main" id="{BFF3EB43-4EAE-4E0D-83A0-68D83CE96A50}"/>
                  </a:ext>
                </a:extLst>
              </p:cNvPr>
              <p:cNvSpPr/>
              <p:nvPr/>
            </p:nvSpPr>
            <p:spPr>
              <a:xfrm>
                <a:off x="4480120" y="5042671"/>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1"/>
                      <a:pt x="21962"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1" name="Freeform: Shape 430">
                <a:extLst>
                  <a:ext uri="{FF2B5EF4-FFF2-40B4-BE49-F238E27FC236}">
                    <a16:creationId xmlns:a16="http://schemas.microsoft.com/office/drawing/2014/main" id="{C7DF55F7-55BE-4C71-995A-035D73C7A9D7}"/>
                  </a:ext>
                </a:extLst>
              </p:cNvPr>
              <p:cNvSpPr/>
              <p:nvPr/>
            </p:nvSpPr>
            <p:spPr>
              <a:xfrm>
                <a:off x="4010546" y="4875001"/>
                <a:ext cx="42922" cy="42921"/>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2" name="Freeform: Shape 431">
                <a:extLst>
                  <a:ext uri="{FF2B5EF4-FFF2-40B4-BE49-F238E27FC236}">
                    <a16:creationId xmlns:a16="http://schemas.microsoft.com/office/drawing/2014/main" id="{C9BF7975-E5BC-4BBA-95F3-22B9272EA883}"/>
                  </a:ext>
                </a:extLst>
              </p:cNvPr>
              <p:cNvSpPr/>
              <p:nvPr/>
            </p:nvSpPr>
            <p:spPr>
              <a:xfrm>
                <a:off x="4062056" y="4875421"/>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3" name="Freeform: Shape 432">
                <a:extLst>
                  <a:ext uri="{FF2B5EF4-FFF2-40B4-BE49-F238E27FC236}">
                    <a16:creationId xmlns:a16="http://schemas.microsoft.com/office/drawing/2014/main" id="{2B65400B-4292-4171-8649-4D821A4E16B3}"/>
                  </a:ext>
                </a:extLst>
              </p:cNvPr>
              <p:cNvSpPr/>
              <p:nvPr/>
            </p:nvSpPr>
            <p:spPr>
              <a:xfrm>
                <a:off x="4115136" y="4877714"/>
                <a:ext cx="42922" cy="42921"/>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4" name="Freeform: Shape 433">
                <a:extLst>
                  <a:ext uri="{FF2B5EF4-FFF2-40B4-BE49-F238E27FC236}">
                    <a16:creationId xmlns:a16="http://schemas.microsoft.com/office/drawing/2014/main" id="{64C9D5DD-E53C-4C86-A3B7-7A5F13A4DF6B}"/>
                  </a:ext>
                </a:extLst>
              </p:cNvPr>
              <p:cNvSpPr/>
              <p:nvPr/>
            </p:nvSpPr>
            <p:spPr>
              <a:xfrm>
                <a:off x="4166931" y="4876718"/>
                <a:ext cx="42922" cy="42921"/>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5" name="Freeform: Shape 434">
                <a:extLst>
                  <a:ext uri="{FF2B5EF4-FFF2-40B4-BE49-F238E27FC236}">
                    <a16:creationId xmlns:a16="http://schemas.microsoft.com/office/drawing/2014/main" id="{DD4C2760-73FD-421C-83C3-E348E313CDCC}"/>
                  </a:ext>
                </a:extLst>
              </p:cNvPr>
              <p:cNvSpPr/>
              <p:nvPr/>
            </p:nvSpPr>
            <p:spPr>
              <a:xfrm>
                <a:off x="4219010" y="4877282"/>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1"/>
                      <a:pt x="22296" y="28401"/>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6" name="Freeform: Shape 435">
                <a:extLst>
                  <a:ext uri="{FF2B5EF4-FFF2-40B4-BE49-F238E27FC236}">
                    <a16:creationId xmlns:a16="http://schemas.microsoft.com/office/drawing/2014/main" id="{533AE560-525C-4504-A594-AC9E4825F9CA}"/>
                  </a:ext>
                </a:extLst>
              </p:cNvPr>
              <p:cNvSpPr/>
              <p:nvPr/>
            </p:nvSpPr>
            <p:spPr>
              <a:xfrm>
                <a:off x="4271374" y="4878141"/>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7" name="Freeform: Shape 436">
                <a:extLst>
                  <a:ext uri="{FF2B5EF4-FFF2-40B4-BE49-F238E27FC236}">
                    <a16:creationId xmlns:a16="http://schemas.microsoft.com/office/drawing/2014/main" id="{537F40B7-8D2C-41FE-8DF6-A6B6AA106124}"/>
                  </a:ext>
                </a:extLst>
              </p:cNvPr>
              <p:cNvSpPr/>
              <p:nvPr/>
            </p:nvSpPr>
            <p:spPr>
              <a:xfrm>
                <a:off x="4323455" y="4878585"/>
                <a:ext cx="28615" cy="28615"/>
              </a:xfrm>
              <a:custGeom>
                <a:avLst/>
                <a:gdLst>
                  <a:gd name="connsiteX0" fmla="*/ 25823 w 28614"/>
                  <a:gd name="connsiteY0" fmla="*/ 21101 h 28614"/>
                  <a:gd name="connsiteX1" fmla="*/ 21101 w 28614"/>
                  <a:gd name="connsiteY1" fmla="*/ 16098 h 28614"/>
                  <a:gd name="connsiteX2" fmla="*/ 16098 w 28614"/>
                  <a:gd name="connsiteY2" fmla="*/ 20819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19"/>
                    </a:cubicBezTo>
                    <a:cubicBezTo>
                      <a:pt x="16019" y="23505"/>
                      <a:pt x="18134" y="25746"/>
                      <a:pt x="20820" y="25823"/>
                    </a:cubicBezTo>
                    <a:cubicBezTo>
                      <a:pt x="20914" y="25826"/>
                      <a:pt x="21007" y="25826"/>
                      <a:pt x="21101" y="25823"/>
                    </a:cubicBezTo>
                    <a:cubicBezTo>
                      <a:pt x="23677" y="25748"/>
                      <a:pt x="25748" y="23677"/>
                      <a:pt x="25823" y="2110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8" name="Freeform: Shape 437">
                <a:extLst>
                  <a:ext uri="{FF2B5EF4-FFF2-40B4-BE49-F238E27FC236}">
                    <a16:creationId xmlns:a16="http://schemas.microsoft.com/office/drawing/2014/main" id="{CDE776CD-B01A-4B5B-9041-B3405BE64AEB}"/>
                  </a:ext>
                </a:extLst>
              </p:cNvPr>
              <p:cNvSpPr/>
              <p:nvPr/>
            </p:nvSpPr>
            <p:spPr>
              <a:xfrm>
                <a:off x="4375818" y="4879446"/>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9" name="Freeform: Shape 438">
                <a:extLst>
                  <a:ext uri="{FF2B5EF4-FFF2-40B4-BE49-F238E27FC236}">
                    <a16:creationId xmlns:a16="http://schemas.microsoft.com/office/drawing/2014/main" id="{25C5168A-71BD-4C0D-90C6-8A8AF99B5C1B}"/>
                  </a:ext>
                </a:extLst>
              </p:cNvPr>
              <p:cNvSpPr/>
              <p:nvPr/>
            </p:nvSpPr>
            <p:spPr>
              <a:xfrm>
                <a:off x="4427898" y="4879796"/>
                <a:ext cx="28615" cy="28615"/>
              </a:xfrm>
              <a:custGeom>
                <a:avLst/>
                <a:gdLst>
                  <a:gd name="connsiteX0" fmla="*/ 23965 w 28614"/>
                  <a:gd name="connsiteY0" fmla="*/ 19889 h 28614"/>
                  <a:gd name="connsiteX1" fmla="*/ 20611 w 28614"/>
                  <a:gd name="connsiteY1" fmla="*/ 16102 h 28614"/>
                  <a:gd name="connsiteX2" fmla="*/ 19673 w 28614"/>
                  <a:gd name="connsiteY2" fmla="*/ 16169 h 28614"/>
                  <a:gd name="connsiteX3" fmla="*/ 16096 w 28614"/>
                  <a:gd name="connsiteY3" fmla="*/ 19746 h 28614"/>
                  <a:gd name="connsiteX4" fmla="*/ 19673 w 28614"/>
                  <a:gd name="connsiteY4" fmla="*/ 23323 h 28614"/>
                  <a:gd name="connsiteX5" fmla="*/ 23250 w 28614"/>
                  <a:gd name="connsiteY5" fmla="*/ 1974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965" y="19889"/>
                    </a:moveTo>
                    <a:cubicBezTo>
                      <a:pt x="24085" y="17918"/>
                      <a:pt x="22583" y="16222"/>
                      <a:pt x="20611" y="16102"/>
                    </a:cubicBezTo>
                    <a:cubicBezTo>
                      <a:pt x="20297" y="16084"/>
                      <a:pt x="19982" y="16106"/>
                      <a:pt x="19673" y="16169"/>
                    </a:cubicBezTo>
                    <a:cubicBezTo>
                      <a:pt x="17697" y="16169"/>
                      <a:pt x="16096" y="17770"/>
                      <a:pt x="16096" y="19746"/>
                    </a:cubicBezTo>
                    <a:cubicBezTo>
                      <a:pt x="16169" y="21691"/>
                      <a:pt x="17728" y="23250"/>
                      <a:pt x="19673" y="23323"/>
                    </a:cubicBezTo>
                    <a:cubicBezTo>
                      <a:pt x="21649" y="23323"/>
                      <a:pt x="23250" y="21722"/>
                      <a:pt x="23250" y="1974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0" name="Freeform: Shape 439">
                <a:extLst>
                  <a:ext uri="{FF2B5EF4-FFF2-40B4-BE49-F238E27FC236}">
                    <a16:creationId xmlns:a16="http://schemas.microsoft.com/office/drawing/2014/main" id="{3FF66E39-93A0-43EC-AC24-F36B76ED13BA}"/>
                  </a:ext>
                </a:extLst>
              </p:cNvPr>
              <p:cNvSpPr/>
              <p:nvPr/>
            </p:nvSpPr>
            <p:spPr>
              <a:xfrm>
                <a:off x="4480120" y="4880597"/>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0"/>
                      <a:pt x="21962"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1" name="Freeform: Shape 440">
                <a:extLst>
                  <a:ext uri="{FF2B5EF4-FFF2-40B4-BE49-F238E27FC236}">
                    <a16:creationId xmlns:a16="http://schemas.microsoft.com/office/drawing/2014/main" id="{20E5FDFB-F2DD-4E77-BE44-9F2868E88F25}"/>
                  </a:ext>
                </a:extLst>
              </p:cNvPr>
              <p:cNvSpPr/>
              <p:nvPr/>
            </p:nvSpPr>
            <p:spPr>
              <a:xfrm>
                <a:off x="4010404" y="4907366"/>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2" name="Freeform: Shape 441">
                <a:extLst>
                  <a:ext uri="{FF2B5EF4-FFF2-40B4-BE49-F238E27FC236}">
                    <a16:creationId xmlns:a16="http://schemas.microsoft.com/office/drawing/2014/main" id="{C0E93014-C8FC-4BF5-9708-EFA056823733}"/>
                  </a:ext>
                </a:extLst>
              </p:cNvPr>
              <p:cNvSpPr/>
              <p:nvPr/>
            </p:nvSpPr>
            <p:spPr>
              <a:xfrm>
                <a:off x="4062054" y="4907955"/>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8"/>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3" name="Freeform: Shape 442">
                <a:extLst>
                  <a:ext uri="{FF2B5EF4-FFF2-40B4-BE49-F238E27FC236}">
                    <a16:creationId xmlns:a16="http://schemas.microsoft.com/office/drawing/2014/main" id="{44797C9A-6E05-4C6D-ADA2-64BF1FED350C}"/>
                  </a:ext>
                </a:extLst>
              </p:cNvPr>
              <p:cNvSpPr/>
              <p:nvPr/>
            </p:nvSpPr>
            <p:spPr>
              <a:xfrm>
                <a:off x="4114850" y="4908669"/>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4" name="Freeform: Shape 443">
                <a:extLst>
                  <a:ext uri="{FF2B5EF4-FFF2-40B4-BE49-F238E27FC236}">
                    <a16:creationId xmlns:a16="http://schemas.microsoft.com/office/drawing/2014/main" id="{B6F85FBC-C539-4FF4-89D4-E5C85E7DF147}"/>
                  </a:ext>
                </a:extLst>
              </p:cNvPr>
              <p:cNvSpPr/>
              <p:nvPr/>
            </p:nvSpPr>
            <p:spPr>
              <a:xfrm>
                <a:off x="4166929" y="4909232"/>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5" name="Freeform: Shape 444">
                <a:extLst>
                  <a:ext uri="{FF2B5EF4-FFF2-40B4-BE49-F238E27FC236}">
                    <a16:creationId xmlns:a16="http://schemas.microsoft.com/office/drawing/2014/main" id="{67DB0A14-EE35-4A55-8EF9-3044894BB728}"/>
                  </a:ext>
                </a:extLst>
              </p:cNvPr>
              <p:cNvSpPr/>
              <p:nvPr/>
            </p:nvSpPr>
            <p:spPr>
              <a:xfrm>
                <a:off x="4219079" y="4910737"/>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6" name="Freeform: Shape 445">
                <a:extLst>
                  <a:ext uri="{FF2B5EF4-FFF2-40B4-BE49-F238E27FC236}">
                    <a16:creationId xmlns:a16="http://schemas.microsoft.com/office/drawing/2014/main" id="{C9EED154-0665-4017-8A92-7ACC0C41B7BF}"/>
                  </a:ext>
                </a:extLst>
              </p:cNvPr>
              <p:cNvSpPr/>
              <p:nvPr/>
            </p:nvSpPr>
            <p:spPr>
              <a:xfrm>
                <a:off x="4271373" y="4910507"/>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7" name="Freeform: Shape 446">
                <a:extLst>
                  <a:ext uri="{FF2B5EF4-FFF2-40B4-BE49-F238E27FC236}">
                    <a16:creationId xmlns:a16="http://schemas.microsoft.com/office/drawing/2014/main" id="{5F412077-941B-456E-949F-43649A4C0AB8}"/>
                  </a:ext>
                </a:extLst>
              </p:cNvPr>
              <p:cNvSpPr/>
              <p:nvPr/>
            </p:nvSpPr>
            <p:spPr>
              <a:xfrm>
                <a:off x="4323524" y="4911910"/>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8" name="Freeform: Shape 447">
                <a:extLst>
                  <a:ext uri="{FF2B5EF4-FFF2-40B4-BE49-F238E27FC236}">
                    <a16:creationId xmlns:a16="http://schemas.microsoft.com/office/drawing/2014/main" id="{F47C1905-A5EA-46E5-BDA5-BC268A38D3C4}"/>
                  </a:ext>
                </a:extLst>
              </p:cNvPr>
              <p:cNvSpPr/>
              <p:nvPr/>
            </p:nvSpPr>
            <p:spPr>
              <a:xfrm>
                <a:off x="4375818" y="4911796"/>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9" name="Freeform: Shape 448">
                <a:extLst>
                  <a:ext uri="{FF2B5EF4-FFF2-40B4-BE49-F238E27FC236}">
                    <a16:creationId xmlns:a16="http://schemas.microsoft.com/office/drawing/2014/main" id="{DA33337F-0947-47F2-A47B-D5BA8E5B826C}"/>
                  </a:ext>
                </a:extLst>
              </p:cNvPr>
              <p:cNvSpPr/>
              <p:nvPr/>
            </p:nvSpPr>
            <p:spPr>
              <a:xfrm>
                <a:off x="4428613" y="4912384"/>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0" name="Freeform: Shape 449">
                <a:extLst>
                  <a:ext uri="{FF2B5EF4-FFF2-40B4-BE49-F238E27FC236}">
                    <a16:creationId xmlns:a16="http://schemas.microsoft.com/office/drawing/2014/main" id="{D511564F-19EF-4947-93A7-AD4B299DCB8B}"/>
                  </a:ext>
                </a:extLst>
              </p:cNvPr>
              <p:cNvSpPr/>
              <p:nvPr/>
            </p:nvSpPr>
            <p:spPr>
              <a:xfrm>
                <a:off x="4480120" y="4913109"/>
                <a:ext cx="28615" cy="28615"/>
              </a:xfrm>
              <a:custGeom>
                <a:avLst/>
                <a:gdLst>
                  <a:gd name="connsiteX0" fmla="*/ 21962 w 28614"/>
                  <a:gd name="connsiteY0" fmla="*/ 18961 h 28614"/>
                  <a:gd name="connsiteX1" fmla="*/ 19100 w 28614"/>
                  <a:gd name="connsiteY1" fmla="*/ 16100 h 28614"/>
                  <a:gd name="connsiteX2" fmla="*/ 16100 w 28614"/>
                  <a:gd name="connsiteY2" fmla="*/ 18815 h 28614"/>
                  <a:gd name="connsiteX3" fmla="*/ 16096 w 28614"/>
                  <a:gd name="connsiteY3" fmla="*/ 18961 h 28614"/>
                  <a:gd name="connsiteX4" fmla="*/ 19100 w 28614"/>
                  <a:gd name="connsiteY4" fmla="*/ 21966 h 28614"/>
                  <a:gd name="connsiteX5" fmla="*/ 21966 w 28614"/>
                  <a:gd name="connsiteY5" fmla="*/ 19108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5"/>
                    </a:cubicBezTo>
                    <a:cubicBezTo>
                      <a:pt x="16097" y="18864"/>
                      <a:pt x="16096" y="18912"/>
                      <a:pt x="16096" y="18961"/>
                    </a:cubicBezTo>
                    <a:cubicBezTo>
                      <a:pt x="16096" y="20621"/>
                      <a:pt x="17441" y="21966"/>
                      <a:pt x="19100" y="21966"/>
                    </a:cubicBezTo>
                    <a:cubicBezTo>
                      <a:pt x="20682" y="21967"/>
                      <a:pt x="21963" y="20688"/>
                      <a:pt x="21966" y="19108"/>
                    </a:cubicBezTo>
                    <a:cubicBezTo>
                      <a:pt x="21966" y="19058"/>
                      <a:pt x="21965" y="19010"/>
                      <a:pt x="21962" y="1896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1" name="Freeform: Shape 450">
                <a:extLst>
                  <a:ext uri="{FF2B5EF4-FFF2-40B4-BE49-F238E27FC236}">
                    <a16:creationId xmlns:a16="http://schemas.microsoft.com/office/drawing/2014/main" id="{9247112F-AC02-4834-87FA-1511F22F8C91}"/>
                  </a:ext>
                </a:extLst>
              </p:cNvPr>
              <p:cNvSpPr/>
              <p:nvPr/>
            </p:nvSpPr>
            <p:spPr>
              <a:xfrm>
                <a:off x="4010404" y="4939899"/>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2" name="Freeform: Shape 451">
                <a:extLst>
                  <a:ext uri="{FF2B5EF4-FFF2-40B4-BE49-F238E27FC236}">
                    <a16:creationId xmlns:a16="http://schemas.microsoft.com/office/drawing/2014/main" id="{383DD0E5-2749-492B-A67F-7BA21F4C9991}"/>
                  </a:ext>
                </a:extLst>
              </p:cNvPr>
              <p:cNvSpPr/>
              <p:nvPr/>
            </p:nvSpPr>
            <p:spPr>
              <a:xfrm>
                <a:off x="4062055" y="4940333"/>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3" name="Freeform: Shape 452">
                <a:extLst>
                  <a:ext uri="{FF2B5EF4-FFF2-40B4-BE49-F238E27FC236}">
                    <a16:creationId xmlns:a16="http://schemas.microsoft.com/office/drawing/2014/main" id="{2E135F6F-3FBE-452C-B653-79092301408C}"/>
                  </a:ext>
                </a:extLst>
              </p:cNvPr>
              <p:cNvSpPr/>
              <p:nvPr/>
            </p:nvSpPr>
            <p:spPr>
              <a:xfrm>
                <a:off x="4114851" y="4941204"/>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4" name="Freeform: Shape 453">
                <a:extLst>
                  <a:ext uri="{FF2B5EF4-FFF2-40B4-BE49-F238E27FC236}">
                    <a16:creationId xmlns:a16="http://schemas.microsoft.com/office/drawing/2014/main" id="{5D864F74-62A1-4843-A928-55359CB8B0E7}"/>
                  </a:ext>
                </a:extLst>
              </p:cNvPr>
              <p:cNvSpPr/>
              <p:nvPr/>
            </p:nvSpPr>
            <p:spPr>
              <a:xfrm>
                <a:off x="4166928" y="4941762"/>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5" name="Freeform: Shape 454">
                <a:extLst>
                  <a:ext uri="{FF2B5EF4-FFF2-40B4-BE49-F238E27FC236}">
                    <a16:creationId xmlns:a16="http://schemas.microsoft.com/office/drawing/2014/main" id="{4EED46F8-22AE-485A-BDCE-A2D9EC9637EE}"/>
                  </a:ext>
                </a:extLst>
              </p:cNvPr>
              <p:cNvSpPr/>
              <p:nvPr/>
            </p:nvSpPr>
            <p:spPr>
              <a:xfrm>
                <a:off x="4219009" y="4942194"/>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6" name="Freeform: Shape 455">
                <a:extLst>
                  <a:ext uri="{FF2B5EF4-FFF2-40B4-BE49-F238E27FC236}">
                    <a16:creationId xmlns:a16="http://schemas.microsoft.com/office/drawing/2014/main" id="{C211979B-4F3B-473A-95B3-D6F04494354A}"/>
                  </a:ext>
                </a:extLst>
              </p:cNvPr>
              <p:cNvSpPr/>
              <p:nvPr/>
            </p:nvSpPr>
            <p:spPr>
              <a:xfrm>
                <a:off x="4271373" y="4943028"/>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7" name="Freeform: Shape 456">
                <a:extLst>
                  <a:ext uri="{FF2B5EF4-FFF2-40B4-BE49-F238E27FC236}">
                    <a16:creationId xmlns:a16="http://schemas.microsoft.com/office/drawing/2014/main" id="{D23CA195-A578-4152-BA0E-1902CB53B466}"/>
                  </a:ext>
                </a:extLst>
              </p:cNvPr>
              <p:cNvSpPr/>
              <p:nvPr/>
            </p:nvSpPr>
            <p:spPr>
              <a:xfrm>
                <a:off x="4323521" y="4942771"/>
                <a:ext cx="28615" cy="42922"/>
              </a:xfrm>
              <a:custGeom>
                <a:avLst/>
                <a:gdLst>
                  <a:gd name="connsiteX0" fmla="*/ 25754 w 28614"/>
                  <a:gd name="connsiteY0" fmla="*/ 21793 h 42922"/>
                  <a:gd name="connsiteX1" fmla="*/ 21793 w 28614"/>
                  <a:gd name="connsiteY1" fmla="*/ 16168 h 42922"/>
                  <a:gd name="connsiteX2" fmla="*/ 16168 w 28614"/>
                  <a:gd name="connsiteY2" fmla="*/ 20130 h 42922"/>
                  <a:gd name="connsiteX3" fmla="*/ 16168 w 28614"/>
                  <a:gd name="connsiteY3" fmla="*/ 21793 h 42922"/>
                  <a:gd name="connsiteX4" fmla="*/ 20130 w 28614"/>
                  <a:gd name="connsiteY4" fmla="*/ 27417 h 42922"/>
                  <a:gd name="connsiteX5" fmla="*/ 25754 w 28614"/>
                  <a:gd name="connsiteY5" fmla="*/ 23455 h 42922"/>
                  <a:gd name="connsiteX6" fmla="*/ 25754 w 28614"/>
                  <a:gd name="connsiteY6" fmla="*/ 2179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42922">
                    <a:moveTo>
                      <a:pt x="25754" y="21793"/>
                    </a:moveTo>
                    <a:cubicBezTo>
                      <a:pt x="26214" y="19146"/>
                      <a:pt x="24439" y="16628"/>
                      <a:pt x="21793" y="16168"/>
                    </a:cubicBezTo>
                    <a:cubicBezTo>
                      <a:pt x="19146" y="15709"/>
                      <a:pt x="16628" y="17483"/>
                      <a:pt x="16168" y="20130"/>
                    </a:cubicBezTo>
                    <a:cubicBezTo>
                      <a:pt x="16072" y="20681"/>
                      <a:pt x="16072" y="21243"/>
                      <a:pt x="16168" y="21793"/>
                    </a:cubicBezTo>
                    <a:cubicBezTo>
                      <a:pt x="15709" y="24439"/>
                      <a:pt x="17483" y="26958"/>
                      <a:pt x="20130" y="27417"/>
                    </a:cubicBezTo>
                    <a:cubicBezTo>
                      <a:pt x="22777" y="27876"/>
                      <a:pt x="25295" y="26102"/>
                      <a:pt x="25754" y="23455"/>
                    </a:cubicBezTo>
                    <a:cubicBezTo>
                      <a:pt x="25850" y="22904"/>
                      <a:pt x="25850" y="22342"/>
                      <a:pt x="25754" y="217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8" name="Freeform: Shape 457">
                <a:extLst>
                  <a:ext uri="{FF2B5EF4-FFF2-40B4-BE49-F238E27FC236}">
                    <a16:creationId xmlns:a16="http://schemas.microsoft.com/office/drawing/2014/main" id="{B80935A8-E70C-423E-AB8F-E6495B63C659}"/>
                  </a:ext>
                </a:extLst>
              </p:cNvPr>
              <p:cNvSpPr/>
              <p:nvPr/>
            </p:nvSpPr>
            <p:spPr>
              <a:xfrm>
                <a:off x="4375813" y="4944297"/>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9" name="Freeform: Shape 458">
                <a:extLst>
                  <a:ext uri="{FF2B5EF4-FFF2-40B4-BE49-F238E27FC236}">
                    <a16:creationId xmlns:a16="http://schemas.microsoft.com/office/drawing/2014/main" id="{21C94C49-D6F8-43C9-9503-04FC494DFD29}"/>
                  </a:ext>
                </a:extLst>
              </p:cNvPr>
              <p:cNvSpPr/>
              <p:nvPr/>
            </p:nvSpPr>
            <p:spPr>
              <a:xfrm>
                <a:off x="4428596" y="4944840"/>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0" name="Freeform: Shape 459">
                <a:extLst>
                  <a:ext uri="{FF2B5EF4-FFF2-40B4-BE49-F238E27FC236}">
                    <a16:creationId xmlns:a16="http://schemas.microsoft.com/office/drawing/2014/main" id="{12998C9D-BE38-45BE-A2CF-54CB304666B3}"/>
                  </a:ext>
                </a:extLst>
              </p:cNvPr>
              <p:cNvSpPr/>
              <p:nvPr/>
            </p:nvSpPr>
            <p:spPr>
              <a:xfrm>
                <a:off x="4480045" y="4945430"/>
                <a:ext cx="28615" cy="28615"/>
              </a:xfrm>
              <a:custGeom>
                <a:avLst/>
                <a:gdLst>
                  <a:gd name="connsiteX0" fmla="*/ 22034 w 28614"/>
                  <a:gd name="connsiteY0" fmla="*/ 19100 h 28614"/>
                  <a:gd name="connsiteX1" fmla="*/ 19320 w 28614"/>
                  <a:gd name="connsiteY1" fmla="*/ 16099 h 28614"/>
                  <a:gd name="connsiteX2" fmla="*/ 19173 w 28614"/>
                  <a:gd name="connsiteY2" fmla="*/ 16096 h 28614"/>
                  <a:gd name="connsiteX3" fmla="*/ 16168 w 28614"/>
                  <a:gd name="connsiteY3" fmla="*/ 19100 h 28614"/>
                  <a:gd name="connsiteX4" fmla="*/ 18449 w 28614"/>
                  <a:gd name="connsiteY4" fmla="*/ 22686 h 28614"/>
                  <a:gd name="connsiteX5" fmla="*/ 22034 w 28614"/>
                  <a:gd name="connsiteY5" fmla="*/ 20404 h 28614"/>
                  <a:gd name="connsiteX6" fmla="*/ 22034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2034" y="19100"/>
                    </a:moveTo>
                    <a:cubicBezTo>
                      <a:pt x="22113" y="17522"/>
                      <a:pt x="20898" y="16179"/>
                      <a:pt x="19320" y="16099"/>
                    </a:cubicBezTo>
                    <a:cubicBezTo>
                      <a:pt x="19270" y="16097"/>
                      <a:pt x="19222" y="16096"/>
                      <a:pt x="19173" y="16096"/>
                    </a:cubicBezTo>
                    <a:cubicBezTo>
                      <a:pt x="17513" y="16096"/>
                      <a:pt x="16168" y="17441"/>
                      <a:pt x="16168" y="19100"/>
                    </a:cubicBezTo>
                    <a:cubicBezTo>
                      <a:pt x="15808" y="20720"/>
                      <a:pt x="16829" y="22325"/>
                      <a:pt x="18449" y="22686"/>
                    </a:cubicBezTo>
                    <a:cubicBezTo>
                      <a:pt x="20070" y="23045"/>
                      <a:pt x="21674" y="22023"/>
                      <a:pt x="22034" y="20404"/>
                    </a:cubicBezTo>
                    <a:cubicBezTo>
                      <a:pt x="22130" y="19975"/>
                      <a:pt x="22130" y="19530"/>
                      <a:pt x="22034"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grpSp>
        <p:grpSp>
          <p:nvGrpSpPr>
            <p:cNvPr id="365" name="Group 364">
              <a:extLst>
                <a:ext uri="{FF2B5EF4-FFF2-40B4-BE49-F238E27FC236}">
                  <a16:creationId xmlns:a16="http://schemas.microsoft.com/office/drawing/2014/main" id="{82264E02-2B41-4B85-A1AE-5CE50E72BD69}"/>
                </a:ext>
              </a:extLst>
            </p:cNvPr>
            <p:cNvGrpSpPr/>
            <p:nvPr/>
          </p:nvGrpSpPr>
          <p:grpSpPr>
            <a:xfrm>
              <a:off x="5590895" y="2512967"/>
              <a:ext cx="1316346" cy="1347039"/>
              <a:chOff x="509609" y="2501392"/>
              <a:chExt cx="1316346" cy="1347039"/>
            </a:xfrm>
          </p:grpSpPr>
          <p:sp>
            <p:nvSpPr>
              <p:cNvPr id="386" name="Freeform: Shape 385">
                <a:extLst>
                  <a:ext uri="{FF2B5EF4-FFF2-40B4-BE49-F238E27FC236}">
                    <a16:creationId xmlns:a16="http://schemas.microsoft.com/office/drawing/2014/main" id="{62287D57-37CA-4AA1-8307-6268B462F9AC}"/>
                  </a:ext>
                </a:extLst>
              </p:cNvPr>
              <p:cNvSpPr/>
              <p:nvPr/>
            </p:nvSpPr>
            <p:spPr>
              <a:xfrm>
                <a:off x="1090948" y="2501392"/>
                <a:ext cx="142285" cy="142285"/>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387" name="Freeform: Shape 386">
                <a:extLst>
                  <a:ext uri="{FF2B5EF4-FFF2-40B4-BE49-F238E27FC236}">
                    <a16:creationId xmlns:a16="http://schemas.microsoft.com/office/drawing/2014/main" id="{5A3D2872-E61F-4DCA-A727-2930FA2DCEF0}"/>
                  </a:ext>
                </a:extLst>
              </p:cNvPr>
              <p:cNvSpPr/>
              <p:nvPr/>
            </p:nvSpPr>
            <p:spPr>
              <a:xfrm>
                <a:off x="885040" y="2537979"/>
                <a:ext cx="142285" cy="142285"/>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388" name="Freeform: Shape 387">
                <a:extLst>
                  <a:ext uri="{FF2B5EF4-FFF2-40B4-BE49-F238E27FC236}">
                    <a16:creationId xmlns:a16="http://schemas.microsoft.com/office/drawing/2014/main" id="{1B3FB0FE-78BC-43F9-856F-11C0970231DD}"/>
                  </a:ext>
                </a:extLst>
              </p:cNvPr>
              <p:cNvSpPr/>
              <p:nvPr/>
            </p:nvSpPr>
            <p:spPr>
              <a:xfrm>
                <a:off x="704133" y="2642660"/>
                <a:ext cx="142285" cy="142285"/>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389" name="Freeform: Shape 388">
                <a:extLst>
                  <a:ext uri="{FF2B5EF4-FFF2-40B4-BE49-F238E27FC236}">
                    <a16:creationId xmlns:a16="http://schemas.microsoft.com/office/drawing/2014/main" id="{DE16E8E8-885E-4D92-83F8-CE4CEE6C439F}"/>
                  </a:ext>
                </a:extLst>
              </p:cNvPr>
              <p:cNvSpPr/>
              <p:nvPr/>
            </p:nvSpPr>
            <p:spPr>
              <a:xfrm>
                <a:off x="569979" y="2803038"/>
                <a:ext cx="142285" cy="142285"/>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390" name="Freeform: Shape 389">
                <a:extLst>
                  <a:ext uri="{FF2B5EF4-FFF2-40B4-BE49-F238E27FC236}">
                    <a16:creationId xmlns:a16="http://schemas.microsoft.com/office/drawing/2014/main" id="{09EB2DCE-D1FB-4EC4-99B1-BEE1D60C4069}"/>
                  </a:ext>
                </a:extLst>
              </p:cNvPr>
              <p:cNvSpPr/>
              <p:nvPr/>
            </p:nvSpPr>
            <p:spPr>
              <a:xfrm>
                <a:off x="509609" y="3010775"/>
                <a:ext cx="121959" cy="121959"/>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391" name="Freeform: Shape 390">
                <a:extLst>
                  <a:ext uri="{FF2B5EF4-FFF2-40B4-BE49-F238E27FC236}">
                    <a16:creationId xmlns:a16="http://schemas.microsoft.com/office/drawing/2014/main" id="{6D5DCEDB-6F9B-4931-866D-393ED7A2A72B}"/>
                  </a:ext>
                </a:extLst>
              </p:cNvPr>
              <p:cNvSpPr/>
              <p:nvPr/>
            </p:nvSpPr>
            <p:spPr>
              <a:xfrm>
                <a:off x="919391" y="3703097"/>
                <a:ext cx="81306" cy="81306"/>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392" name="Freeform: Shape 391">
                <a:extLst>
                  <a:ext uri="{FF2B5EF4-FFF2-40B4-BE49-F238E27FC236}">
                    <a16:creationId xmlns:a16="http://schemas.microsoft.com/office/drawing/2014/main" id="{0CDC4EFD-69F1-49CF-82B4-87E55AF925AA}"/>
                  </a:ext>
                </a:extLst>
              </p:cNvPr>
              <p:cNvSpPr/>
              <p:nvPr/>
            </p:nvSpPr>
            <p:spPr>
              <a:xfrm>
                <a:off x="1092167" y="3706146"/>
                <a:ext cx="142285" cy="142285"/>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393" name="Freeform: Shape 392">
                <a:extLst>
                  <a:ext uri="{FF2B5EF4-FFF2-40B4-BE49-F238E27FC236}">
                    <a16:creationId xmlns:a16="http://schemas.microsoft.com/office/drawing/2014/main" id="{23279AB8-581B-41E9-A110-3917BCF2A5BA}"/>
                  </a:ext>
                </a:extLst>
              </p:cNvPr>
              <p:cNvSpPr/>
              <p:nvPr/>
            </p:nvSpPr>
            <p:spPr>
              <a:xfrm>
                <a:off x="1298075" y="3668948"/>
                <a:ext cx="142285" cy="142285"/>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394" name="Freeform: Shape 393">
                <a:extLst>
                  <a:ext uri="{FF2B5EF4-FFF2-40B4-BE49-F238E27FC236}">
                    <a16:creationId xmlns:a16="http://schemas.microsoft.com/office/drawing/2014/main" id="{3A970D95-6624-4DBE-B000-ED40381F599B}"/>
                  </a:ext>
                </a:extLst>
              </p:cNvPr>
              <p:cNvSpPr/>
              <p:nvPr/>
            </p:nvSpPr>
            <p:spPr>
              <a:xfrm>
                <a:off x="1478981" y="3564876"/>
                <a:ext cx="142285" cy="142285"/>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395" name="Freeform: Shape 394">
                <a:extLst>
                  <a:ext uri="{FF2B5EF4-FFF2-40B4-BE49-F238E27FC236}">
                    <a16:creationId xmlns:a16="http://schemas.microsoft.com/office/drawing/2014/main" id="{F96B0A27-EF3E-4B6C-9767-432AF182153B}"/>
                  </a:ext>
                </a:extLst>
              </p:cNvPr>
              <p:cNvSpPr/>
              <p:nvPr/>
            </p:nvSpPr>
            <p:spPr>
              <a:xfrm>
                <a:off x="1613340" y="3404500"/>
                <a:ext cx="142285" cy="142285"/>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396" name="Freeform: Shape 395">
                <a:extLst>
                  <a:ext uri="{FF2B5EF4-FFF2-40B4-BE49-F238E27FC236}">
                    <a16:creationId xmlns:a16="http://schemas.microsoft.com/office/drawing/2014/main" id="{CB106FB0-A6F1-4E5D-9458-4BDB9AC4531F}"/>
                  </a:ext>
                </a:extLst>
              </p:cNvPr>
              <p:cNvSpPr/>
              <p:nvPr/>
            </p:nvSpPr>
            <p:spPr>
              <a:xfrm>
                <a:off x="1696072" y="3218309"/>
                <a:ext cx="121959" cy="121959"/>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397" name="Freeform: Shape 396">
                <a:extLst>
                  <a:ext uri="{FF2B5EF4-FFF2-40B4-BE49-F238E27FC236}">
                    <a16:creationId xmlns:a16="http://schemas.microsoft.com/office/drawing/2014/main" id="{E0397A28-E81E-44D2-BAEB-4A9096C82180}"/>
                  </a:ext>
                </a:extLst>
              </p:cNvPr>
              <p:cNvSpPr/>
              <p:nvPr/>
            </p:nvSpPr>
            <p:spPr>
              <a:xfrm>
                <a:off x="1703996" y="3017280"/>
                <a:ext cx="121959" cy="121959"/>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398" name="Freeform: Shape 397">
                <a:extLst>
                  <a:ext uri="{FF2B5EF4-FFF2-40B4-BE49-F238E27FC236}">
                    <a16:creationId xmlns:a16="http://schemas.microsoft.com/office/drawing/2014/main" id="{EC8729FC-223B-4291-943C-DC0B68973BF8}"/>
                  </a:ext>
                </a:extLst>
              </p:cNvPr>
              <p:cNvSpPr/>
              <p:nvPr/>
            </p:nvSpPr>
            <p:spPr>
              <a:xfrm>
                <a:off x="1636714" y="2826413"/>
                <a:ext cx="101632" cy="101632"/>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399" name="Freeform: Shape 398">
                <a:extLst>
                  <a:ext uri="{FF2B5EF4-FFF2-40B4-BE49-F238E27FC236}">
                    <a16:creationId xmlns:a16="http://schemas.microsoft.com/office/drawing/2014/main" id="{83BFE8FB-779A-4512-AF6C-FBA50F6E6743}"/>
                  </a:ext>
                </a:extLst>
              </p:cNvPr>
              <p:cNvSpPr/>
              <p:nvPr/>
            </p:nvSpPr>
            <p:spPr>
              <a:xfrm>
                <a:off x="1509878" y="2673964"/>
                <a:ext cx="81306" cy="81306"/>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0" name="Freeform: Shape 399">
                <a:extLst>
                  <a:ext uri="{FF2B5EF4-FFF2-40B4-BE49-F238E27FC236}">
                    <a16:creationId xmlns:a16="http://schemas.microsoft.com/office/drawing/2014/main" id="{B2C2D672-D3F0-42E7-802B-EE9295908A97}"/>
                  </a:ext>
                </a:extLst>
              </p:cNvPr>
              <p:cNvSpPr/>
              <p:nvPr/>
            </p:nvSpPr>
            <p:spPr>
              <a:xfrm>
                <a:off x="1330191" y="2570907"/>
                <a:ext cx="81306" cy="81306"/>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mn-ea"/>
                  <a:cs typeface="+mn-cs"/>
                </a:endParaRPr>
              </a:p>
            </p:txBody>
          </p:sp>
        </p:grpSp>
        <p:grpSp>
          <p:nvGrpSpPr>
            <p:cNvPr id="366" name="Group 365">
              <a:extLst>
                <a:ext uri="{FF2B5EF4-FFF2-40B4-BE49-F238E27FC236}">
                  <a16:creationId xmlns:a16="http://schemas.microsoft.com/office/drawing/2014/main" id="{9DE602FD-63E8-4C51-8F3C-4C1CD3F63BC1}"/>
                </a:ext>
              </a:extLst>
            </p:cNvPr>
            <p:cNvGrpSpPr/>
            <p:nvPr/>
          </p:nvGrpSpPr>
          <p:grpSpPr>
            <a:xfrm rot="1159747">
              <a:off x="6833407" y="2190730"/>
              <a:ext cx="533927" cy="454805"/>
              <a:chOff x="2147888" y="2814638"/>
              <a:chExt cx="1447800" cy="1231900"/>
            </a:xfrm>
          </p:grpSpPr>
          <p:sp>
            <p:nvSpPr>
              <p:cNvPr id="378" name="Freeform 46">
                <a:extLst>
                  <a:ext uri="{FF2B5EF4-FFF2-40B4-BE49-F238E27FC236}">
                    <a16:creationId xmlns:a16="http://schemas.microsoft.com/office/drawing/2014/main" id="{C1CBFC53-2F6E-43C3-86D9-B8F847C2F78C}"/>
                  </a:ext>
                </a:extLst>
              </p:cNvPr>
              <p:cNvSpPr>
                <a:spLocks/>
              </p:cNvSpPr>
              <p:nvPr/>
            </p:nvSpPr>
            <p:spPr bwMode="auto">
              <a:xfrm>
                <a:off x="2147888" y="281463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47">
                <a:extLst>
                  <a:ext uri="{FF2B5EF4-FFF2-40B4-BE49-F238E27FC236}">
                    <a16:creationId xmlns:a16="http://schemas.microsoft.com/office/drawing/2014/main" id="{1CCEAC19-3661-4D6D-A837-AFD9038A3915}"/>
                  </a:ext>
                </a:extLst>
              </p:cNvPr>
              <p:cNvSpPr>
                <a:spLocks/>
              </p:cNvSpPr>
              <p:nvPr/>
            </p:nvSpPr>
            <p:spPr bwMode="auto">
              <a:xfrm>
                <a:off x="2147888" y="296545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6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6"/>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48">
                <a:extLst>
                  <a:ext uri="{FF2B5EF4-FFF2-40B4-BE49-F238E27FC236}">
                    <a16:creationId xmlns:a16="http://schemas.microsoft.com/office/drawing/2014/main" id="{B040ED39-EEE4-4CB4-A39F-D9A333A9FF8E}"/>
                  </a:ext>
                </a:extLst>
              </p:cNvPr>
              <p:cNvSpPr>
                <a:spLocks/>
              </p:cNvSpPr>
              <p:nvPr/>
            </p:nvSpPr>
            <p:spPr bwMode="auto">
              <a:xfrm>
                <a:off x="2147888" y="3116263"/>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49">
                <a:extLst>
                  <a:ext uri="{FF2B5EF4-FFF2-40B4-BE49-F238E27FC236}">
                    <a16:creationId xmlns:a16="http://schemas.microsoft.com/office/drawing/2014/main" id="{36220B7D-8DCF-48EA-9493-F819300615E1}"/>
                  </a:ext>
                </a:extLst>
              </p:cNvPr>
              <p:cNvSpPr>
                <a:spLocks/>
              </p:cNvSpPr>
              <p:nvPr/>
            </p:nvSpPr>
            <p:spPr bwMode="auto">
              <a:xfrm>
                <a:off x="2147888" y="3267075"/>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50">
                <a:extLst>
                  <a:ext uri="{FF2B5EF4-FFF2-40B4-BE49-F238E27FC236}">
                    <a16:creationId xmlns:a16="http://schemas.microsoft.com/office/drawing/2014/main" id="{2B6563BF-12A9-4F61-AA9B-49F7FA3796FA}"/>
                  </a:ext>
                </a:extLst>
              </p:cNvPr>
              <p:cNvSpPr>
                <a:spLocks/>
              </p:cNvSpPr>
              <p:nvPr/>
            </p:nvSpPr>
            <p:spPr bwMode="auto">
              <a:xfrm>
                <a:off x="2147888" y="3419475"/>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51">
                <a:extLst>
                  <a:ext uri="{FF2B5EF4-FFF2-40B4-BE49-F238E27FC236}">
                    <a16:creationId xmlns:a16="http://schemas.microsoft.com/office/drawing/2014/main" id="{EF6339B1-8D79-42F7-920C-FF72B00300CB}"/>
                  </a:ext>
                </a:extLst>
              </p:cNvPr>
              <p:cNvSpPr>
                <a:spLocks/>
              </p:cNvSpPr>
              <p:nvPr/>
            </p:nvSpPr>
            <p:spPr bwMode="auto">
              <a:xfrm>
                <a:off x="2147888" y="357028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52">
                <a:extLst>
                  <a:ext uri="{FF2B5EF4-FFF2-40B4-BE49-F238E27FC236}">
                    <a16:creationId xmlns:a16="http://schemas.microsoft.com/office/drawing/2014/main" id="{6C28F248-F74A-450F-A08D-702125D52CC6}"/>
                  </a:ext>
                </a:extLst>
              </p:cNvPr>
              <p:cNvSpPr>
                <a:spLocks/>
              </p:cNvSpPr>
              <p:nvPr/>
            </p:nvSpPr>
            <p:spPr bwMode="auto">
              <a:xfrm>
                <a:off x="2147888" y="372110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53">
                <a:extLst>
                  <a:ext uri="{FF2B5EF4-FFF2-40B4-BE49-F238E27FC236}">
                    <a16:creationId xmlns:a16="http://schemas.microsoft.com/office/drawing/2014/main" id="{32DE2787-6C49-4A74-81C7-B529CDAEB073}"/>
                  </a:ext>
                </a:extLst>
              </p:cNvPr>
              <p:cNvSpPr>
                <a:spLocks/>
              </p:cNvSpPr>
              <p:nvPr/>
            </p:nvSpPr>
            <p:spPr bwMode="auto">
              <a:xfrm>
                <a:off x="2147888" y="3871913"/>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67" name="Freeform: Shape 366">
              <a:extLst>
                <a:ext uri="{FF2B5EF4-FFF2-40B4-BE49-F238E27FC236}">
                  <a16:creationId xmlns:a16="http://schemas.microsoft.com/office/drawing/2014/main" id="{F7B25F8E-F151-46A9-AFC1-00150579C472}"/>
                </a:ext>
              </a:extLst>
            </p:cNvPr>
            <p:cNvSpPr>
              <a:spLocks/>
            </p:cNvSpPr>
            <p:nvPr/>
          </p:nvSpPr>
          <p:spPr bwMode="auto">
            <a:xfrm>
              <a:off x="5614686" y="1338725"/>
              <a:ext cx="1198878" cy="1216338"/>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68" name="Arc 367">
              <a:extLst>
                <a:ext uri="{FF2B5EF4-FFF2-40B4-BE49-F238E27FC236}">
                  <a16:creationId xmlns:a16="http://schemas.microsoft.com/office/drawing/2014/main" id="{C184C1DD-53A5-4EB7-B4C5-BFDB7DA3D891}"/>
                </a:ext>
              </a:extLst>
            </p:cNvPr>
            <p:cNvSpPr/>
            <p:nvPr/>
          </p:nvSpPr>
          <p:spPr>
            <a:xfrm flipH="1">
              <a:off x="5812807" y="1146403"/>
              <a:ext cx="2904434" cy="2904434"/>
            </a:xfrm>
            <a:prstGeom prst="arc">
              <a:avLst>
                <a:gd name="adj1" fmla="val 3701099"/>
                <a:gd name="adj2" fmla="val 9182751"/>
              </a:avLst>
            </a:prstGeom>
            <a:noFill/>
            <a:ln w="15875"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45D8DA82-C289-4C8D-931F-FBD0C925F4C8}"/>
                </a:ext>
              </a:extLst>
            </p:cNvPr>
            <p:cNvSpPr/>
            <p:nvPr/>
          </p:nvSpPr>
          <p:spPr>
            <a:xfrm>
              <a:off x="6517021" y="3829196"/>
              <a:ext cx="73026" cy="73024"/>
            </a:xfrm>
            <a:prstGeom prst="ellipse">
              <a:avLst/>
            </a:prstGeom>
            <a:solidFill>
              <a:schemeClr val="tx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Oval 369">
              <a:extLst>
                <a:ext uri="{FF2B5EF4-FFF2-40B4-BE49-F238E27FC236}">
                  <a16:creationId xmlns:a16="http://schemas.microsoft.com/office/drawing/2014/main" id="{7AFCDDB9-1885-4C26-89F3-E80DC6F7A0FA}"/>
                </a:ext>
              </a:extLst>
            </p:cNvPr>
            <p:cNvSpPr/>
            <p:nvPr/>
          </p:nvSpPr>
          <p:spPr>
            <a:xfrm>
              <a:off x="6536071" y="1293641"/>
              <a:ext cx="73026" cy="73024"/>
            </a:xfrm>
            <a:prstGeom prst="ellipse">
              <a:avLst/>
            </a:prstGeom>
            <a:solidFill>
              <a:schemeClr val="tx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1" name="Freeform: Shape 370">
              <a:extLst>
                <a:ext uri="{FF2B5EF4-FFF2-40B4-BE49-F238E27FC236}">
                  <a16:creationId xmlns:a16="http://schemas.microsoft.com/office/drawing/2014/main" id="{EC4D9DD1-0FA9-4127-8894-66C92F03DE00}"/>
                </a:ext>
              </a:extLst>
            </p:cNvPr>
            <p:cNvSpPr>
              <a:spLocks/>
            </p:cNvSpPr>
            <p:nvPr/>
          </p:nvSpPr>
          <p:spPr bwMode="auto">
            <a:xfrm>
              <a:off x="6706418" y="1675797"/>
              <a:ext cx="2035990" cy="2065624"/>
            </a:xfrm>
            <a:custGeom>
              <a:avLst/>
              <a:gdLst>
                <a:gd name="connsiteX0" fmla="*/ 578303 w 652975"/>
                <a:gd name="connsiteY0" fmla="*/ 527099 h 662481"/>
                <a:gd name="connsiteX1" fmla="*/ 584703 w 652975"/>
                <a:gd name="connsiteY1" fmla="*/ 527099 h 662481"/>
                <a:gd name="connsiteX2" fmla="*/ 584703 w 652975"/>
                <a:gd name="connsiteY2" fmla="*/ 533647 h 662481"/>
                <a:gd name="connsiteX3" fmla="*/ 527106 w 652975"/>
                <a:gd name="connsiteY3" fmla="*/ 592583 h 662481"/>
                <a:gd name="connsiteX4" fmla="*/ 520706 w 652975"/>
                <a:gd name="connsiteY4" fmla="*/ 592583 h 662481"/>
                <a:gd name="connsiteX5" fmla="*/ 520706 w 652975"/>
                <a:gd name="connsiteY5" fmla="*/ 586035 h 662481"/>
                <a:gd name="connsiteX6" fmla="*/ 578303 w 652975"/>
                <a:gd name="connsiteY6" fmla="*/ 527099 h 662481"/>
                <a:gd name="connsiteX7" fmla="*/ 627495 w 652975"/>
                <a:gd name="connsiteY7" fmla="*/ 433440 h 662481"/>
                <a:gd name="connsiteX8" fmla="*/ 633910 w 652975"/>
                <a:gd name="connsiteY8" fmla="*/ 433440 h 662481"/>
                <a:gd name="connsiteX9" fmla="*/ 633910 w 652975"/>
                <a:gd name="connsiteY9" fmla="*/ 440001 h 662481"/>
                <a:gd name="connsiteX10" fmla="*/ 435051 w 652975"/>
                <a:gd name="connsiteY10" fmla="*/ 643379 h 662481"/>
                <a:gd name="connsiteX11" fmla="*/ 428637 w 652975"/>
                <a:gd name="connsiteY11" fmla="*/ 643379 h 662481"/>
                <a:gd name="connsiteX12" fmla="*/ 428637 w 652975"/>
                <a:gd name="connsiteY12" fmla="*/ 636819 h 662481"/>
                <a:gd name="connsiteX13" fmla="*/ 627495 w 652975"/>
                <a:gd name="connsiteY13" fmla="*/ 433440 h 662481"/>
                <a:gd name="connsiteX14" fmla="*/ 641708 w 652975"/>
                <a:gd name="connsiteY14" fmla="*/ 374697 h 662481"/>
                <a:gd name="connsiteX15" fmla="*/ 648179 w 652975"/>
                <a:gd name="connsiteY15" fmla="*/ 374697 h 662481"/>
                <a:gd name="connsiteX16" fmla="*/ 648179 w 652975"/>
                <a:gd name="connsiteY16" fmla="*/ 383423 h 662481"/>
                <a:gd name="connsiteX17" fmla="*/ 378547 w 652975"/>
                <a:gd name="connsiteY17" fmla="*/ 656085 h 662481"/>
                <a:gd name="connsiteX18" fmla="*/ 369918 w 652975"/>
                <a:gd name="connsiteY18" fmla="*/ 656085 h 662481"/>
                <a:gd name="connsiteX19" fmla="*/ 369918 w 652975"/>
                <a:gd name="connsiteY19" fmla="*/ 649541 h 662481"/>
                <a:gd name="connsiteX20" fmla="*/ 641708 w 652975"/>
                <a:gd name="connsiteY20" fmla="*/ 374697 h 662481"/>
                <a:gd name="connsiteX21" fmla="*/ 644935 w 652975"/>
                <a:gd name="connsiteY21" fmla="*/ 328664 h 662481"/>
                <a:gd name="connsiteX22" fmla="*/ 651367 w 652975"/>
                <a:gd name="connsiteY22" fmla="*/ 328664 h 662481"/>
                <a:gd name="connsiteX23" fmla="*/ 651367 w 652975"/>
                <a:gd name="connsiteY23" fmla="*/ 335220 h 662481"/>
                <a:gd name="connsiteX24" fmla="*/ 331888 w 652975"/>
                <a:gd name="connsiteY24" fmla="*/ 660843 h 662481"/>
                <a:gd name="connsiteX25" fmla="*/ 325455 w 652975"/>
                <a:gd name="connsiteY25" fmla="*/ 660843 h 662481"/>
                <a:gd name="connsiteX26" fmla="*/ 325455 w 652975"/>
                <a:gd name="connsiteY26" fmla="*/ 654287 h 662481"/>
                <a:gd name="connsiteX27" fmla="*/ 644935 w 652975"/>
                <a:gd name="connsiteY27" fmla="*/ 328664 h 662481"/>
                <a:gd name="connsiteX28" fmla="*/ 643322 w 652975"/>
                <a:gd name="connsiteY28" fmla="*/ 287381 h 662481"/>
                <a:gd name="connsiteX29" fmla="*/ 649774 w 652975"/>
                <a:gd name="connsiteY29" fmla="*/ 287381 h 662481"/>
                <a:gd name="connsiteX30" fmla="*/ 649774 w 652975"/>
                <a:gd name="connsiteY30" fmla="*/ 293916 h 662481"/>
                <a:gd name="connsiteX31" fmla="*/ 290638 w 652975"/>
                <a:gd name="connsiteY31" fmla="*/ 657675 h 662481"/>
                <a:gd name="connsiteX32" fmla="*/ 284187 w 652975"/>
                <a:gd name="connsiteY32" fmla="*/ 657675 h 662481"/>
                <a:gd name="connsiteX33" fmla="*/ 284187 w 652975"/>
                <a:gd name="connsiteY33" fmla="*/ 651140 h 662481"/>
                <a:gd name="connsiteX34" fmla="*/ 643322 w 652975"/>
                <a:gd name="connsiteY34" fmla="*/ 287381 h 662481"/>
                <a:gd name="connsiteX35" fmla="*/ 636970 w 652975"/>
                <a:gd name="connsiteY35" fmla="*/ 250868 h 662481"/>
                <a:gd name="connsiteX36" fmla="*/ 643422 w 652975"/>
                <a:gd name="connsiteY36" fmla="*/ 250868 h 662481"/>
                <a:gd name="connsiteX37" fmla="*/ 643422 w 652975"/>
                <a:gd name="connsiteY37" fmla="*/ 257397 h 662481"/>
                <a:gd name="connsiteX38" fmla="*/ 254126 w 652975"/>
                <a:gd name="connsiteY38" fmla="*/ 651328 h 662481"/>
                <a:gd name="connsiteX39" fmla="*/ 247674 w 652975"/>
                <a:gd name="connsiteY39" fmla="*/ 651328 h 662481"/>
                <a:gd name="connsiteX40" fmla="*/ 247674 w 652975"/>
                <a:gd name="connsiteY40" fmla="*/ 644798 h 662481"/>
                <a:gd name="connsiteX41" fmla="*/ 636970 w 652975"/>
                <a:gd name="connsiteY41" fmla="*/ 250868 h 662481"/>
                <a:gd name="connsiteX42" fmla="*/ 625843 w 652975"/>
                <a:gd name="connsiteY42" fmla="*/ 217532 h 662481"/>
                <a:gd name="connsiteX43" fmla="*/ 632307 w 652975"/>
                <a:gd name="connsiteY43" fmla="*/ 217532 h 662481"/>
                <a:gd name="connsiteX44" fmla="*/ 632307 w 652975"/>
                <a:gd name="connsiteY44" fmla="*/ 224068 h 662481"/>
                <a:gd name="connsiteX45" fmla="*/ 220804 w 652975"/>
                <a:gd name="connsiteY45" fmla="*/ 640212 h 662481"/>
                <a:gd name="connsiteX46" fmla="*/ 214341 w 652975"/>
                <a:gd name="connsiteY46" fmla="*/ 640212 h 662481"/>
                <a:gd name="connsiteX47" fmla="*/ 214341 w 652975"/>
                <a:gd name="connsiteY47" fmla="*/ 633676 h 662481"/>
                <a:gd name="connsiteX48" fmla="*/ 625843 w 652975"/>
                <a:gd name="connsiteY48" fmla="*/ 217532 h 662481"/>
                <a:gd name="connsiteX49" fmla="*/ 613139 w 652975"/>
                <a:gd name="connsiteY49" fmla="*/ 187370 h 662481"/>
                <a:gd name="connsiteX50" fmla="*/ 619606 w 652975"/>
                <a:gd name="connsiteY50" fmla="*/ 187370 h 662481"/>
                <a:gd name="connsiteX51" fmla="*/ 619606 w 652975"/>
                <a:gd name="connsiteY51" fmla="*/ 193907 h 662481"/>
                <a:gd name="connsiteX52" fmla="*/ 190646 w 652975"/>
                <a:gd name="connsiteY52" fmla="*/ 627512 h 662481"/>
                <a:gd name="connsiteX53" fmla="*/ 184179 w 652975"/>
                <a:gd name="connsiteY53" fmla="*/ 627512 h 662481"/>
                <a:gd name="connsiteX54" fmla="*/ 184179 w 652975"/>
                <a:gd name="connsiteY54" fmla="*/ 620975 h 662481"/>
                <a:gd name="connsiteX55" fmla="*/ 613139 w 652975"/>
                <a:gd name="connsiteY55" fmla="*/ 187370 h 662481"/>
                <a:gd name="connsiteX56" fmla="*/ 598856 w 652975"/>
                <a:gd name="connsiteY56" fmla="*/ 158793 h 662481"/>
                <a:gd name="connsiteX57" fmla="*/ 605320 w 652975"/>
                <a:gd name="connsiteY57" fmla="*/ 158793 h 662481"/>
                <a:gd name="connsiteX58" fmla="*/ 605320 w 652975"/>
                <a:gd name="connsiteY58" fmla="*/ 165325 h 662481"/>
                <a:gd name="connsiteX59" fmla="*/ 163654 w 652975"/>
                <a:gd name="connsiteY59" fmla="*/ 611639 h 662481"/>
                <a:gd name="connsiteX60" fmla="*/ 157191 w 652975"/>
                <a:gd name="connsiteY60" fmla="*/ 611639 h 662481"/>
                <a:gd name="connsiteX61" fmla="*/ 157191 w 652975"/>
                <a:gd name="connsiteY61" fmla="*/ 605108 h 662481"/>
                <a:gd name="connsiteX62" fmla="*/ 598856 w 652975"/>
                <a:gd name="connsiteY62" fmla="*/ 158793 h 662481"/>
                <a:gd name="connsiteX63" fmla="*/ 581376 w 652975"/>
                <a:gd name="connsiteY63" fmla="*/ 133390 h 662481"/>
                <a:gd name="connsiteX64" fmla="*/ 587853 w 652975"/>
                <a:gd name="connsiteY64" fmla="*/ 133390 h 662481"/>
                <a:gd name="connsiteX65" fmla="*/ 587853 w 652975"/>
                <a:gd name="connsiteY65" fmla="*/ 139910 h 662481"/>
                <a:gd name="connsiteX66" fmla="*/ 136683 w 652975"/>
                <a:gd name="connsiteY66" fmla="*/ 594181 h 662481"/>
                <a:gd name="connsiteX67" fmla="*/ 130207 w 652975"/>
                <a:gd name="connsiteY67" fmla="*/ 594181 h 662481"/>
                <a:gd name="connsiteX68" fmla="*/ 130207 w 652975"/>
                <a:gd name="connsiteY68" fmla="*/ 587660 h 662481"/>
                <a:gd name="connsiteX69" fmla="*/ 581376 w 652975"/>
                <a:gd name="connsiteY69" fmla="*/ 133390 h 662481"/>
                <a:gd name="connsiteX70" fmla="*/ 560789 w 652975"/>
                <a:gd name="connsiteY70" fmla="*/ 109579 h 662481"/>
                <a:gd name="connsiteX71" fmla="*/ 567227 w 652975"/>
                <a:gd name="connsiteY71" fmla="*/ 109579 h 662481"/>
                <a:gd name="connsiteX72" fmla="*/ 567227 w 652975"/>
                <a:gd name="connsiteY72" fmla="*/ 116105 h 662481"/>
                <a:gd name="connsiteX73" fmla="*/ 114408 w 652975"/>
                <a:gd name="connsiteY73" fmla="*/ 575128 h 662481"/>
                <a:gd name="connsiteX74" fmla="*/ 107969 w 652975"/>
                <a:gd name="connsiteY74" fmla="*/ 575128 h 662481"/>
                <a:gd name="connsiteX75" fmla="*/ 107969 w 652975"/>
                <a:gd name="connsiteY75" fmla="*/ 568601 h 662481"/>
                <a:gd name="connsiteX76" fmla="*/ 560789 w 652975"/>
                <a:gd name="connsiteY76" fmla="*/ 109579 h 662481"/>
                <a:gd name="connsiteX77" fmla="*/ 540123 w 652975"/>
                <a:gd name="connsiteY77" fmla="*/ 87354 h 662481"/>
                <a:gd name="connsiteX78" fmla="*/ 546583 w 652975"/>
                <a:gd name="connsiteY78" fmla="*/ 87354 h 662481"/>
                <a:gd name="connsiteX79" fmla="*/ 546583 w 652975"/>
                <a:gd name="connsiteY79" fmla="*/ 93880 h 662481"/>
                <a:gd name="connsiteX80" fmla="*/ 92212 w 652975"/>
                <a:gd name="connsiteY80" fmla="*/ 552903 h 662481"/>
                <a:gd name="connsiteX81" fmla="*/ 85752 w 652975"/>
                <a:gd name="connsiteY81" fmla="*/ 552903 h 662481"/>
                <a:gd name="connsiteX82" fmla="*/ 85752 w 652975"/>
                <a:gd name="connsiteY82" fmla="*/ 546376 h 662481"/>
                <a:gd name="connsiteX83" fmla="*/ 540123 w 652975"/>
                <a:gd name="connsiteY83" fmla="*/ 87354 h 662481"/>
                <a:gd name="connsiteX84" fmla="*/ 127255 w 652975"/>
                <a:gd name="connsiteY84" fmla="*/ 69899 h 662481"/>
                <a:gd name="connsiteX85" fmla="*/ 133803 w 652975"/>
                <a:gd name="connsiteY85" fmla="*/ 69899 h 662481"/>
                <a:gd name="connsiteX86" fmla="*/ 133803 w 652975"/>
                <a:gd name="connsiteY86" fmla="*/ 76447 h 662481"/>
                <a:gd name="connsiteX87" fmla="*/ 74867 w 652975"/>
                <a:gd name="connsiteY87" fmla="*/ 135383 h 662481"/>
                <a:gd name="connsiteX88" fmla="*/ 68319 w 652975"/>
                <a:gd name="connsiteY88" fmla="*/ 135383 h 662481"/>
                <a:gd name="connsiteX89" fmla="*/ 68319 w 652975"/>
                <a:gd name="connsiteY89" fmla="*/ 128835 h 662481"/>
                <a:gd name="connsiteX90" fmla="*/ 127255 w 652975"/>
                <a:gd name="connsiteY90" fmla="*/ 69899 h 662481"/>
                <a:gd name="connsiteX91" fmla="*/ 516318 w 652975"/>
                <a:gd name="connsiteY91" fmla="*/ 68302 h 662481"/>
                <a:gd name="connsiteX92" fmla="*/ 522772 w 652975"/>
                <a:gd name="connsiteY92" fmla="*/ 68302 h 662481"/>
                <a:gd name="connsiteX93" fmla="*/ 522772 w 652975"/>
                <a:gd name="connsiteY93" fmla="*/ 74822 h 662481"/>
                <a:gd name="connsiteX94" fmla="*/ 73153 w 652975"/>
                <a:gd name="connsiteY94" fmla="*/ 529093 h 662481"/>
                <a:gd name="connsiteX95" fmla="*/ 66700 w 652975"/>
                <a:gd name="connsiteY95" fmla="*/ 529093 h 662481"/>
                <a:gd name="connsiteX96" fmla="*/ 66700 w 652975"/>
                <a:gd name="connsiteY96" fmla="*/ 522572 h 662481"/>
                <a:gd name="connsiteX97" fmla="*/ 516318 w 652975"/>
                <a:gd name="connsiteY97" fmla="*/ 68302 h 662481"/>
                <a:gd name="connsiteX98" fmla="*/ 490906 w 652975"/>
                <a:gd name="connsiteY98" fmla="*/ 50843 h 662481"/>
                <a:gd name="connsiteX99" fmla="*/ 497370 w 652975"/>
                <a:gd name="connsiteY99" fmla="*/ 50843 h 662481"/>
                <a:gd name="connsiteX100" fmla="*/ 497370 w 652975"/>
                <a:gd name="connsiteY100" fmla="*/ 57375 h 662481"/>
                <a:gd name="connsiteX101" fmla="*/ 55704 w 652975"/>
                <a:gd name="connsiteY101" fmla="*/ 503689 h 662481"/>
                <a:gd name="connsiteX102" fmla="*/ 49241 w 652975"/>
                <a:gd name="connsiteY102" fmla="*/ 503689 h 662481"/>
                <a:gd name="connsiteX103" fmla="*/ 49241 w 652975"/>
                <a:gd name="connsiteY103" fmla="*/ 497158 h 662481"/>
                <a:gd name="connsiteX104" fmla="*/ 490906 w 652975"/>
                <a:gd name="connsiteY104" fmla="*/ 50843 h 662481"/>
                <a:gd name="connsiteX105" fmla="*/ 462327 w 652975"/>
                <a:gd name="connsiteY105" fmla="*/ 34970 h 662481"/>
                <a:gd name="connsiteX106" fmla="*/ 468794 w 652975"/>
                <a:gd name="connsiteY106" fmla="*/ 34970 h 662481"/>
                <a:gd name="connsiteX107" fmla="*/ 468794 w 652975"/>
                <a:gd name="connsiteY107" fmla="*/ 41507 h 662481"/>
                <a:gd name="connsiteX108" fmla="*/ 39834 w 652975"/>
                <a:gd name="connsiteY108" fmla="*/ 475112 h 662481"/>
                <a:gd name="connsiteX109" fmla="*/ 33367 w 652975"/>
                <a:gd name="connsiteY109" fmla="*/ 475112 h 662481"/>
                <a:gd name="connsiteX110" fmla="*/ 33367 w 652975"/>
                <a:gd name="connsiteY110" fmla="*/ 468575 h 662481"/>
                <a:gd name="connsiteX111" fmla="*/ 462327 w 652975"/>
                <a:gd name="connsiteY111" fmla="*/ 34970 h 662481"/>
                <a:gd name="connsiteX112" fmla="*/ 432168 w 652975"/>
                <a:gd name="connsiteY112" fmla="*/ 22270 h 662481"/>
                <a:gd name="connsiteX113" fmla="*/ 438632 w 652975"/>
                <a:gd name="connsiteY113" fmla="*/ 22270 h 662481"/>
                <a:gd name="connsiteX114" fmla="*/ 438632 w 652975"/>
                <a:gd name="connsiteY114" fmla="*/ 28806 h 662481"/>
                <a:gd name="connsiteX115" fmla="*/ 27129 w 652975"/>
                <a:gd name="connsiteY115" fmla="*/ 444950 h 662481"/>
                <a:gd name="connsiteX116" fmla="*/ 20665 w 652975"/>
                <a:gd name="connsiteY116" fmla="*/ 444950 h 662481"/>
                <a:gd name="connsiteX117" fmla="*/ 20665 w 652975"/>
                <a:gd name="connsiteY117" fmla="*/ 438414 h 662481"/>
                <a:gd name="connsiteX118" fmla="*/ 432168 w 652975"/>
                <a:gd name="connsiteY118" fmla="*/ 22270 h 662481"/>
                <a:gd name="connsiteX119" fmla="*/ 219443 w 652975"/>
                <a:gd name="connsiteY119" fmla="*/ 19103 h 662481"/>
                <a:gd name="connsiteX120" fmla="*/ 225907 w 652975"/>
                <a:gd name="connsiteY120" fmla="*/ 19103 h 662481"/>
                <a:gd name="connsiteX121" fmla="*/ 225907 w 652975"/>
                <a:gd name="connsiteY121" fmla="*/ 25663 h 662481"/>
                <a:gd name="connsiteX122" fmla="*/ 25541 w 652975"/>
                <a:gd name="connsiteY122" fmla="*/ 229042 h 662481"/>
                <a:gd name="connsiteX123" fmla="*/ 19077 w 652975"/>
                <a:gd name="connsiteY123" fmla="*/ 229042 h 662481"/>
                <a:gd name="connsiteX124" fmla="*/ 19077 w 652975"/>
                <a:gd name="connsiteY124" fmla="*/ 222482 h 662481"/>
                <a:gd name="connsiteX125" fmla="*/ 219443 w 652975"/>
                <a:gd name="connsiteY125" fmla="*/ 19103 h 662481"/>
                <a:gd name="connsiteX126" fmla="*/ 400433 w 652975"/>
                <a:gd name="connsiteY126" fmla="*/ 11154 h 662481"/>
                <a:gd name="connsiteX127" fmla="*/ 406885 w 652975"/>
                <a:gd name="connsiteY127" fmla="*/ 11154 h 662481"/>
                <a:gd name="connsiteX128" fmla="*/ 406885 w 652975"/>
                <a:gd name="connsiteY128" fmla="*/ 17684 h 662481"/>
                <a:gd name="connsiteX129" fmla="*/ 17589 w 652975"/>
                <a:gd name="connsiteY129" fmla="*/ 411615 h 662481"/>
                <a:gd name="connsiteX130" fmla="*/ 11137 w 652975"/>
                <a:gd name="connsiteY130" fmla="*/ 411615 h 662481"/>
                <a:gd name="connsiteX131" fmla="*/ 11137 w 652975"/>
                <a:gd name="connsiteY131" fmla="*/ 405085 h 662481"/>
                <a:gd name="connsiteX132" fmla="*/ 400433 w 652975"/>
                <a:gd name="connsiteY132" fmla="*/ 11154 h 662481"/>
                <a:gd name="connsiteX133" fmla="*/ 274487 w 652975"/>
                <a:gd name="connsiteY133" fmla="*/ 6397 h 662481"/>
                <a:gd name="connsiteX134" fmla="*/ 283066 w 652975"/>
                <a:gd name="connsiteY134" fmla="*/ 6397 h 662481"/>
                <a:gd name="connsiteX135" fmla="*/ 283066 w 652975"/>
                <a:gd name="connsiteY135" fmla="*/ 12941 h 662481"/>
                <a:gd name="connsiteX136" fmla="*/ 12803 w 652975"/>
                <a:gd name="connsiteY136" fmla="*/ 287785 h 662481"/>
                <a:gd name="connsiteX137" fmla="*/ 6368 w 652975"/>
                <a:gd name="connsiteY137" fmla="*/ 287785 h 662481"/>
                <a:gd name="connsiteX138" fmla="*/ 6368 w 652975"/>
                <a:gd name="connsiteY138" fmla="*/ 279060 h 662481"/>
                <a:gd name="connsiteX139" fmla="*/ 274487 w 652975"/>
                <a:gd name="connsiteY139" fmla="*/ 6397 h 662481"/>
                <a:gd name="connsiteX140" fmla="*/ 363884 w 652975"/>
                <a:gd name="connsiteY140" fmla="*/ 4806 h 662481"/>
                <a:gd name="connsiteX141" fmla="*/ 370363 w 652975"/>
                <a:gd name="connsiteY141" fmla="*/ 4806 h 662481"/>
                <a:gd name="connsiteX142" fmla="*/ 370363 w 652975"/>
                <a:gd name="connsiteY142" fmla="*/ 11341 h 662481"/>
                <a:gd name="connsiteX143" fmla="*/ 9687 w 652975"/>
                <a:gd name="connsiteY143" fmla="*/ 375100 h 662481"/>
                <a:gd name="connsiteX144" fmla="*/ 3207 w 652975"/>
                <a:gd name="connsiteY144" fmla="*/ 375100 h 662481"/>
                <a:gd name="connsiteX145" fmla="*/ 3207 w 652975"/>
                <a:gd name="connsiteY145" fmla="*/ 368565 h 662481"/>
                <a:gd name="connsiteX146" fmla="*/ 363884 w 652975"/>
                <a:gd name="connsiteY146" fmla="*/ 4806 h 662481"/>
                <a:gd name="connsiteX147" fmla="*/ 322631 w 652975"/>
                <a:gd name="connsiteY147" fmla="*/ 1638 h 662481"/>
                <a:gd name="connsiteX148" fmla="*/ 329095 w 652975"/>
                <a:gd name="connsiteY148" fmla="*/ 1638 h 662481"/>
                <a:gd name="connsiteX149" fmla="*/ 329095 w 652975"/>
                <a:gd name="connsiteY149" fmla="*/ 8194 h 662481"/>
                <a:gd name="connsiteX150" fmla="*/ 8079 w 652975"/>
                <a:gd name="connsiteY150" fmla="*/ 333818 h 662481"/>
                <a:gd name="connsiteX151" fmla="*/ 1615 w 652975"/>
                <a:gd name="connsiteY151" fmla="*/ 333818 h 662481"/>
                <a:gd name="connsiteX152" fmla="*/ 1615 w 652975"/>
                <a:gd name="connsiteY152" fmla="*/ 327262 h 662481"/>
                <a:gd name="connsiteX153" fmla="*/ 322631 w 652975"/>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5"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95" y="433440"/>
                  </a:moveTo>
                  <a:cubicBezTo>
                    <a:pt x="629633" y="431253"/>
                    <a:pt x="631772" y="431253"/>
                    <a:pt x="633910" y="433440"/>
                  </a:cubicBezTo>
                  <a:cubicBezTo>
                    <a:pt x="636048" y="435627"/>
                    <a:pt x="636048" y="437814"/>
                    <a:pt x="633910" y="440001"/>
                  </a:cubicBezTo>
                  <a:cubicBezTo>
                    <a:pt x="633910" y="440001"/>
                    <a:pt x="633910" y="440001"/>
                    <a:pt x="435051" y="643379"/>
                  </a:cubicBezTo>
                  <a:cubicBezTo>
                    <a:pt x="432913" y="645566"/>
                    <a:pt x="430775" y="645566"/>
                    <a:pt x="428637" y="643379"/>
                  </a:cubicBezTo>
                  <a:cubicBezTo>
                    <a:pt x="426498" y="641192"/>
                    <a:pt x="426498" y="639006"/>
                    <a:pt x="428637" y="636819"/>
                  </a:cubicBezTo>
                  <a:cubicBezTo>
                    <a:pt x="428637" y="636819"/>
                    <a:pt x="428637" y="636819"/>
                    <a:pt x="627495" y="433440"/>
                  </a:cubicBezTo>
                  <a:close/>
                  <a:moveTo>
                    <a:pt x="641708" y="374697"/>
                  </a:moveTo>
                  <a:cubicBezTo>
                    <a:pt x="643865" y="372516"/>
                    <a:pt x="648179" y="372516"/>
                    <a:pt x="648179" y="374697"/>
                  </a:cubicBezTo>
                  <a:cubicBezTo>
                    <a:pt x="650336" y="376879"/>
                    <a:pt x="650336" y="381241"/>
                    <a:pt x="648179" y="383423"/>
                  </a:cubicBezTo>
                  <a:cubicBezTo>
                    <a:pt x="648179" y="383423"/>
                    <a:pt x="648179" y="383423"/>
                    <a:pt x="378547" y="656085"/>
                  </a:cubicBezTo>
                  <a:cubicBezTo>
                    <a:pt x="376389" y="658266"/>
                    <a:pt x="372075" y="658266"/>
                    <a:pt x="369918" y="656085"/>
                  </a:cubicBezTo>
                  <a:cubicBezTo>
                    <a:pt x="367761" y="656085"/>
                    <a:pt x="367761" y="651722"/>
                    <a:pt x="369918" y="649541"/>
                  </a:cubicBezTo>
                  <a:cubicBezTo>
                    <a:pt x="369918" y="649541"/>
                    <a:pt x="369918" y="649541"/>
                    <a:pt x="641708" y="374697"/>
                  </a:cubicBezTo>
                  <a:close/>
                  <a:moveTo>
                    <a:pt x="644935" y="328664"/>
                  </a:moveTo>
                  <a:cubicBezTo>
                    <a:pt x="647079" y="326478"/>
                    <a:pt x="649223" y="326478"/>
                    <a:pt x="651367" y="328664"/>
                  </a:cubicBezTo>
                  <a:cubicBezTo>
                    <a:pt x="653511" y="330849"/>
                    <a:pt x="653511" y="333034"/>
                    <a:pt x="651367" y="335220"/>
                  </a:cubicBezTo>
                  <a:cubicBezTo>
                    <a:pt x="651367" y="335220"/>
                    <a:pt x="651367" y="335220"/>
                    <a:pt x="331888" y="660843"/>
                  </a:cubicBezTo>
                  <a:cubicBezTo>
                    <a:pt x="329744" y="663028"/>
                    <a:pt x="327600" y="663028"/>
                    <a:pt x="325455" y="660843"/>
                  </a:cubicBezTo>
                  <a:cubicBezTo>
                    <a:pt x="323311" y="658657"/>
                    <a:pt x="323311" y="656472"/>
                    <a:pt x="325455" y="654287"/>
                  </a:cubicBezTo>
                  <a:cubicBezTo>
                    <a:pt x="325455" y="654287"/>
                    <a:pt x="325455" y="654287"/>
                    <a:pt x="644935" y="328664"/>
                  </a:cubicBezTo>
                  <a:close/>
                  <a:moveTo>
                    <a:pt x="643322" y="287381"/>
                  </a:moveTo>
                  <a:cubicBezTo>
                    <a:pt x="645473" y="285203"/>
                    <a:pt x="647623" y="285203"/>
                    <a:pt x="649774" y="287381"/>
                  </a:cubicBezTo>
                  <a:cubicBezTo>
                    <a:pt x="651924" y="289560"/>
                    <a:pt x="651924" y="291738"/>
                    <a:pt x="649774" y="293916"/>
                  </a:cubicBezTo>
                  <a:cubicBezTo>
                    <a:pt x="649774" y="293916"/>
                    <a:pt x="649774" y="293916"/>
                    <a:pt x="290638" y="657675"/>
                  </a:cubicBezTo>
                  <a:cubicBezTo>
                    <a:pt x="288488" y="659853"/>
                    <a:pt x="286337" y="659853"/>
                    <a:pt x="284187" y="657675"/>
                  </a:cubicBezTo>
                  <a:cubicBezTo>
                    <a:pt x="282036" y="655497"/>
                    <a:pt x="282036" y="653319"/>
                    <a:pt x="284187" y="651140"/>
                  </a:cubicBezTo>
                  <a:cubicBezTo>
                    <a:pt x="284187" y="651140"/>
                    <a:pt x="284187" y="651140"/>
                    <a:pt x="643322" y="287381"/>
                  </a:cubicBezTo>
                  <a:close/>
                  <a:moveTo>
                    <a:pt x="636970" y="250868"/>
                  </a:moveTo>
                  <a:cubicBezTo>
                    <a:pt x="639121" y="248691"/>
                    <a:pt x="641272" y="248691"/>
                    <a:pt x="643422" y="250868"/>
                  </a:cubicBezTo>
                  <a:cubicBezTo>
                    <a:pt x="645573" y="253044"/>
                    <a:pt x="645573" y="255220"/>
                    <a:pt x="643422" y="257397"/>
                  </a:cubicBezTo>
                  <a:cubicBezTo>
                    <a:pt x="643422" y="257397"/>
                    <a:pt x="643422" y="257397"/>
                    <a:pt x="254126" y="651328"/>
                  </a:cubicBezTo>
                  <a:cubicBezTo>
                    <a:pt x="251976" y="653504"/>
                    <a:pt x="249825" y="653504"/>
                    <a:pt x="247674" y="651328"/>
                  </a:cubicBezTo>
                  <a:cubicBezTo>
                    <a:pt x="245523" y="649151"/>
                    <a:pt x="245523" y="646975"/>
                    <a:pt x="247674" y="644798"/>
                  </a:cubicBezTo>
                  <a:cubicBezTo>
                    <a:pt x="247674" y="644798"/>
                    <a:pt x="247674" y="644798"/>
                    <a:pt x="636970"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8856" y="158793"/>
                  </a:moveTo>
                  <a:cubicBezTo>
                    <a:pt x="601011" y="156616"/>
                    <a:pt x="603165" y="156616"/>
                    <a:pt x="605320" y="158793"/>
                  </a:cubicBezTo>
                  <a:cubicBezTo>
                    <a:pt x="607474" y="160970"/>
                    <a:pt x="607474" y="163148"/>
                    <a:pt x="605320" y="165325"/>
                  </a:cubicBezTo>
                  <a:cubicBezTo>
                    <a:pt x="605320" y="165325"/>
                    <a:pt x="605320" y="165325"/>
                    <a:pt x="163654" y="611639"/>
                  </a:cubicBezTo>
                  <a:cubicBezTo>
                    <a:pt x="161500" y="613816"/>
                    <a:pt x="159345" y="613816"/>
                    <a:pt x="157191" y="611639"/>
                  </a:cubicBezTo>
                  <a:cubicBezTo>
                    <a:pt x="155036" y="609462"/>
                    <a:pt x="155036" y="607285"/>
                    <a:pt x="157191" y="605108"/>
                  </a:cubicBezTo>
                  <a:cubicBezTo>
                    <a:pt x="157191" y="605108"/>
                    <a:pt x="157191" y="605108"/>
                    <a:pt x="598856" y="158793"/>
                  </a:cubicBezTo>
                  <a:close/>
                  <a:moveTo>
                    <a:pt x="581376" y="133390"/>
                  </a:moveTo>
                  <a:cubicBezTo>
                    <a:pt x="583535" y="131216"/>
                    <a:pt x="585694" y="131216"/>
                    <a:pt x="587853" y="133390"/>
                  </a:cubicBezTo>
                  <a:cubicBezTo>
                    <a:pt x="590011" y="135563"/>
                    <a:pt x="590011" y="137737"/>
                    <a:pt x="587853" y="139910"/>
                  </a:cubicBezTo>
                  <a:cubicBezTo>
                    <a:pt x="587853" y="139910"/>
                    <a:pt x="587853" y="139910"/>
                    <a:pt x="136683" y="594181"/>
                  </a:cubicBezTo>
                  <a:cubicBezTo>
                    <a:pt x="134524" y="596354"/>
                    <a:pt x="132366" y="596354"/>
                    <a:pt x="130207" y="594181"/>
                  </a:cubicBezTo>
                  <a:cubicBezTo>
                    <a:pt x="128048" y="592007"/>
                    <a:pt x="128048" y="589834"/>
                    <a:pt x="130207" y="587660"/>
                  </a:cubicBezTo>
                  <a:cubicBezTo>
                    <a:pt x="130207" y="587660"/>
                    <a:pt x="130207" y="587660"/>
                    <a:pt x="581376" y="133390"/>
                  </a:cubicBezTo>
                  <a:close/>
                  <a:moveTo>
                    <a:pt x="560789" y="109579"/>
                  </a:moveTo>
                  <a:cubicBezTo>
                    <a:pt x="562935" y="107403"/>
                    <a:pt x="565081" y="107403"/>
                    <a:pt x="567227" y="109579"/>
                  </a:cubicBezTo>
                  <a:cubicBezTo>
                    <a:pt x="569373" y="111754"/>
                    <a:pt x="569373" y="113930"/>
                    <a:pt x="567227" y="116105"/>
                  </a:cubicBezTo>
                  <a:cubicBezTo>
                    <a:pt x="567227" y="116105"/>
                    <a:pt x="567227" y="116105"/>
                    <a:pt x="114408" y="575128"/>
                  </a:cubicBezTo>
                  <a:cubicBezTo>
                    <a:pt x="112261" y="577303"/>
                    <a:pt x="110115" y="577303"/>
                    <a:pt x="107969" y="575128"/>
                  </a:cubicBezTo>
                  <a:cubicBezTo>
                    <a:pt x="105823" y="572952"/>
                    <a:pt x="105823" y="570777"/>
                    <a:pt x="107969" y="568601"/>
                  </a:cubicBezTo>
                  <a:cubicBezTo>
                    <a:pt x="107969" y="568601"/>
                    <a:pt x="107969" y="568601"/>
                    <a:pt x="560789"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7255" y="69899"/>
                  </a:moveTo>
                  <a:cubicBezTo>
                    <a:pt x="129438" y="67716"/>
                    <a:pt x="131621" y="67716"/>
                    <a:pt x="133803" y="69899"/>
                  </a:cubicBezTo>
                  <a:cubicBezTo>
                    <a:pt x="135986" y="72082"/>
                    <a:pt x="135986" y="76447"/>
                    <a:pt x="133803" y="76447"/>
                  </a:cubicBezTo>
                  <a:cubicBezTo>
                    <a:pt x="133803" y="76447"/>
                    <a:pt x="133803" y="76447"/>
                    <a:pt x="74867" y="135383"/>
                  </a:cubicBezTo>
                  <a:cubicBezTo>
                    <a:pt x="74867" y="137566"/>
                    <a:pt x="70502" y="137566"/>
                    <a:pt x="68319" y="135383"/>
                  </a:cubicBezTo>
                  <a:cubicBezTo>
                    <a:pt x="66136" y="133201"/>
                    <a:pt x="66136" y="131018"/>
                    <a:pt x="68319" y="128835"/>
                  </a:cubicBezTo>
                  <a:cubicBezTo>
                    <a:pt x="68319" y="128835"/>
                    <a:pt x="68319" y="128835"/>
                    <a:pt x="127255" y="69899"/>
                  </a:cubicBezTo>
                  <a:close/>
                  <a:moveTo>
                    <a:pt x="516318" y="68302"/>
                  </a:moveTo>
                  <a:cubicBezTo>
                    <a:pt x="518469" y="66128"/>
                    <a:pt x="520621" y="66128"/>
                    <a:pt x="522772" y="68302"/>
                  </a:cubicBezTo>
                  <a:cubicBezTo>
                    <a:pt x="524923" y="70475"/>
                    <a:pt x="524923" y="72649"/>
                    <a:pt x="522772" y="74822"/>
                  </a:cubicBezTo>
                  <a:cubicBezTo>
                    <a:pt x="522772" y="74822"/>
                    <a:pt x="522772" y="74822"/>
                    <a:pt x="73153" y="529093"/>
                  </a:cubicBezTo>
                  <a:cubicBezTo>
                    <a:pt x="71002" y="531266"/>
                    <a:pt x="68851" y="531266"/>
                    <a:pt x="66700" y="529093"/>
                  </a:cubicBezTo>
                  <a:cubicBezTo>
                    <a:pt x="64548" y="526919"/>
                    <a:pt x="64548" y="524746"/>
                    <a:pt x="66700" y="522572"/>
                  </a:cubicBezTo>
                  <a:cubicBezTo>
                    <a:pt x="66700" y="522572"/>
                    <a:pt x="66700" y="522572"/>
                    <a:pt x="516318" y="68302"/>
                  </a:cubicBezTo>
                  <a:close/>
                  <a:moveTo>
                    <a:pt x="490906" y="50843"/>
                  </a:moveTo>
                  <a:cubicBezTo>
                    <a:pt x="493061" y="48666"/>
                    <a:pt x="495215" y="48666"/>
                    <a:pt x="497370" y="50843"/>
                  </a:cubicBezTo>
                  <a:cubicBezTo>
                    <a:pt x="499524" y="53020"/>
                    <a:pt x="499524" y="55198"/>
                    <a:pt x="497370" y="57375"/>
                  </a:cubicBezTo>
                  <a:cubicBezTo>
                    <a:pt x="497370" y="57375"/>
                    <a:pt x="497370" y="57375"/>
                    <a:pt x="55704" y="503689"/>
                  </a:cubicBezTo>
                  <a:cubicBezTo>
                    <a:pt x="53550" y="505866"/>
                    <a:pt x="51395" y="505866"/>
                    <a:pt x="49241" y="503689"/>
                  </a:cubicBezTo>
                  <a:cubicBezTo>
                    <a:pt x="47086" y="501512"/>
                    <a:pt x="47086" y="499335"/>
                    <a:pt x="49241" y="497158"/>
                  </a:cubicBezTo>
                  <a:cubicBezTo>
                    <a:pt x="49241" y="497158"/>
                    <a:pt x="49241" y="497158"/>
                    <a:pt x="490906"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4"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400433" y="11154"/>
                  </a:moveTo>
                  <a:cubicBezTo>
                    <a:pt x="402584" y="8978"/>
                    <a:pt x="404735" y="8978"/>
                    <a:pt x="406885" y="11154"/>
                  </a:cubicBezTo>
                  <a:cubicBezTo>
                    <a:pt x="409036" y="13331"/>
                    <a:pt x="409036" y="15507"/>
                    <a:pt x="406885" y="17684"/>
                  </a:cubicBezTo>
                  <a:cubicBezTo>
                    <a:pt x="406885" y="17684"/>
                    <a:pt x="406885" y="17684"/>
                    <a:pt x="17589" y="411615"/>
                  </a:cubicBezTo>
                  <a:cubicBezTo>
                    <a:pt x="15438" y="413791"/>
                    <a:pt x="13287" y="413791"/>
                    <a:pt x="11137" y="411615"/>
                  </a:cubicBezTo>
                  <a:cubicBezTo>
                    <a:pt x="8986" y="409438"/>
                    <a:pt x="8986" y="407262"/>
                    <a:pt x="11137" y="405085"/>
                  </a:cubicBezTo>
                  <a:cubicBezTo>
                    <a:pt x="11137" y="405085"/>
                    <a:pt x="11137" y="405085"/>
                    <a:pt x="400433"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3884" y="4806"/>
                  </a:moveTo>
                  <a:cubicBezTo>
                    <a:pt x="366044" y="2628"/>
                    <a:pt x="368204" y="2628"/>
                    <a:pt x="370363" y="4806"/>
                  </a:cubicBezTo>
                  <a:cubicBezTo>
                    <a:pt x="372523" y="6984"/>
                    <a:pt x="372523" y="9162"/>
                    <a:pt x="370363" y="11341"/>
                  </a:cubicBezTo>
                  <a:cubicBezTo>
                    <a:pt x="370363" y="11341"/>
                    <a:pt x="370363" y="11341"/>
                    <a:pt x="9687" y="375100"/>
                  </a:cubicBezTo>
                  <a:cubicBezTo>
                    <a:pt x="7527" y="377278"/>
                    <a:pt x="5367" y="377278"/>
                    <a:pt x="3207" y="375100"/>
                  </a:cubicBezTo>
                  <a:cubicBezTo>
                    <a:pt x="1048" y="372922"/>
                    <a:pt x="1048" y="370744"/>
                    <a:pt x="3207" y="368565"/>
                  </a:cubicBezTo>
                  <a:cubicBezTo>
                    <a:pt x="3207" y="368565"/>
                    <a:pt x="3207" y="368565"/>
                    <a:pt x="36388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tx1">
                <a:alpha val="5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372" name="Isosceles Triangle 49">
              <a:extLst>
                <a:ext uri="{FF2B5EF4-FFF2-40B4-BE49-F238E27FC236}">
                  <a16:creationId xmlns:a16="http://schemas.microsoft.com/office/drawing/2014/main" id="{5A1C4D54-E69D-4C5A-89CE-D68BA500FBD4}"/>
                </a:ext>
              </a:extLst>
            </p:cNvPr>
            <p:cNvSpPr/>
            <p:nvPr/>
          </p:nvSpPr>
          <p:spPr>
            <a:xfrm rot="16849066">
              <a:off x="7982671" y="2680089"/>
              <a:ext cx="359763" cy="313778"/>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ln>
              <a:solidFill>
                <a:schemeClr val="accent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373" name="Isosceles Triangle 49">
              <a:extLst>
                <a:ext uri="{FF2B5EF4-FFF2-40B4-BE49-F238E27FC236}">
                  <a16:creationId xmlns:a16="http://schemas.microsoft.com/office/drawing/2014/main" id="{544DA638-D788-46AC-B7FB-7DA0783CAAAE}"/>
                </a:ext>
              </a:extLst>
            </p:cNvPr>
            <p:cNvSpPr/>
            <p:nvPr/>
          </p:nvSpPr>
          <p:spPr>
            <a:xfrm rot="6590397">
              <a:off x="7822037" y="2418173"/>
              <a:ext cx="1050204" cy="91596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ln>
              <a:solidFill>
                <a:schemeClr val="accent1"/>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374" name="Isosceles Triangle 49">
              <a:extLst>
                <a:ext uri="{FF2B5EF4-FFF2-40B4-BE49-F238E27FC236}">
                  <a16:creationId xmlns:a16="http://schemas.microsoft.com/office/drawing/2014/main" id="{83AF2AB4-E824-4A33-AAE8-0814005ED98A}"/>
                </a:ext>
              </a:extLst>
            </p:cNvPr>
            <p:cNvSpPr/>
            <p:nvPr/>
          </p:nvSpPr>
          <p:spPr>
            <a:xfrm rot="6590397">
              <a:off x="8649162" y="2816074"/>
              <a:ext cx="202146" cy="176308"/>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ln>
              <a:solidFill>
                <a:schemeClr val="bg2"/>
              </a:solidFill>
              <a:miter lim="800000"/>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375" name="Oval 374">
              <a:extLst>
                <a:ext uri="{FF2B5EF4-FFF2-40B4-BE49-F238E27FC236}">
                  <a16:creationId xmlns:a16="http://schemas.microsoft.com/office/drawing/2014/main" id="{A85B8BDE-DF92-4B8E-AA89-4AAC27730B83}"/>
                </a:ext>
              </a:extLst>
            </p:cNvPr>
            <p:cNvSpPr/>
            <p:nvPr/>
          </p:nvSpPr>
          <p:spPr>
            <a:xfrm>
              <a:off x="8532511" y="3215786"/>
              <a:ext cx="73026" cy="73024"/>
            </a:xfrm>
            <a:prstGeom prst="ellipse">
              <a:avLst/>
            </a:prstGeom>
            <a:solidFill>
              <a:schemeClr val="tx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 name="Oval 375">
              <a:extLst>
                <a:ext uri="{FF2B5EF4-FFF2-40B4-BE49-F238E27FC236}">
                  <a16:creationId xmlns:a16="http://schemas.microsoft.com/office/drawing/2014/main" id="{F9C0F08C-CFC8-44B0-981F-80790C1EF5E3}"/>
                </a:ext>
              </a:extLst>
            </p:cNvPr>
            <p:cNvSpPr/>
            <p:nvPr/>
          </p:nvSpPr>
          <p:spPr>
            <a:xfrm>
              <a:off x="8683006" y="2596661"/>
              <a:ext cx="73026" cy="73024"/>
            </a:xfrm>
            <a:prstGeom prst="ellipse">
              <a:avLst/>
            </a:prstGeom>
            <a:solidFill>
              <a:schemeClr val="tx1"/>
            </a:solidFill>
            <a:ln w="158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7" name="Picture 376" descr="A picture containing person, holding, hand, dark&#10;&#10;Description automatically generated">
              <a:extLst>
                <a:ext uri="{FF2B5EF4-FFF2-40B4-BE49-F238E27FC236}">
                  <a16:creationId xmlns:a16="http://schemas.microsoft.com/office/drawing/2014/main" id="{52318B30-FFC5-4630-BB22-6C3D3A9903B0}"/>
                </a:ext>
              </a:extLst>
            </p:cNvPr>
            <p:cNvPicPr>
              <a:picLocks noChangeAspect="1"/>
            </p:cNvPicPr>
            <p:nvPr/>
          </p:nvPicPr>
          <p:blipFill rotWithShape="1">
            <a:blip r:embed="rId3" cstate="screen">
              <a:grayscl/>
              <a:extLst>
                <a:ext uri="{28A0092B-C50C-407E-A947-70E740481C1C}">
                  <a14:useLocalDpi xmlns:a14="http://schemas.microsoft.com/office/drawing/2010/main"/>
                </a:ext>
              </a:extLst>
            </a:blip>
            <a:srcRect/>
            <a:stretch/>
          </p:blipFill>
          <p:spPr>
            <a:xfrm>
              <a:off x="5941352" y="1281575"/>
              <a:ext cx="2449885" cy="2222407"/>
            </a:xfrm>
            <a:custGeom>
              <a:avLst/>
              <a:gdLst>
                <a:gd name="connsiteX0" fmla="*/ 1323892 w 2449885"/>
                <a:gd name="connsiteY0" fmla="*/ 0 h 2222407"/>
                <a:gd name="connsiteX1" fmla="*/ 2421684 w 2449885"/>
                <a:gd name="connsiteY1" fmla="*/ 583692 h 2222407"/>
                <a:gd name="connsiteX2" fmla="*/ 2449885 w 2449885"/>
                <a:gd name="connsiteY2" fmla="*/ 630112 h 2222407"/>
                <a:gd name="connsiteX3" fmla="*/ 2449885 w 2449885"/>
                <a:gd name="connsiteY3" fmla="*/ 1850517 h 2222407"/>
                <a:gd name="connsiteX4" fmla="*/ 2077995 w 2449885"/>
                <a:gd name="connsiteY4" fmla="*/ 2222407 h 2222407"/>
                <a:gd name="connsiteX5" fmla="*/ 353570 w 2449885"/>
                <a:gd name="connsiteY5" fmla="*/ 2222407 h 2222407"/>
                <a:gd name="connsiteX6" fmla="*/ 302313 w 2449885"/>
                <a:gd name="connsiteY6" fmla="*/ 2166010 h 2222407"/>
                <a:gd name="connsiteX7" fmla="*/ 0 w 2449885"/>
                <a:gd name="connsiteY7" fmla="*/ 1323892 h 2222407"/>
                <a:gd name="connsiteX8" fmla="*/ 1323892 w 2449885"/>
                <a:gd name="connsiteY8" fmla="*/ 0 h 222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9885" h="2222407">
                  <a:moveTo>
                    <a:pt x="1323892" y="0"/>
                  </a:moveTo>
                  <a:cubicBezTo>
                    <a:pt x="1780870" y="0"/>
                    <a:pt x="2183771" y="231534"/>
                    <a:pt x="2421684" y="583692"/>
                  </a:cubicBezTo>
                  <a:lnTo>
                    <a:pt x="2449885" y="630112"/>
                  </a:lnTo>
                  <a:lnTo>
                    <a:pt x="2449885" y="1850517"/>
                  </a:lnTo>
                  <a:cubicBezTo>
                    <a:pt x="2449885" y="2055906"/>
                    <a:pt x="2283384" y="2222407"/>
                    <a:pt x="2077995" y="2222407"/>
                  </a:cubicBezTo>
                  <a:lnTo>
                    <a:pt x="353570" y="2222407"/>
                  </a:lnTo>
                  <a:lnTo>
                    <a:pt x="302313" y="2166010"/>
                  </a:lnTo>
                  <a:cubicBezTo>
                    <a:pt x="113452" y="1937164"/>
                    <a:pt x="0" y="1643777"/>
                    <a:pt x="0" y="1323892"/>
                  </a:cubicBezTo>
                  <a:cubicBezTo>
                    <a:pt x="0" y="592727"/>
                    <a:pt x="592727" y="0"/>
                    <a:pt x="1323892" y="0"/>
                  </a:cubicBezTo>
                  <a:close/>
                </a:path>
              </a:pathLst>
            </a:custGeom>
          </p:spPr>
        </p:pic>
      </p:grpSp>
      <p:grpSp>
        <p:nvGrpSpPr>
          <p:cNvPr id="326" name="Group 325">
            <a:extLst>
              <a:ext uri="{FF2B5EF4-FFF2-40B4-BE49-F238E27FC236}">
                <a16:creationId xmlns:a16="http://schemas.microsoft.com/office/drawing/2014/main" id="{E5A0FB0A-0A19-4005-884C-A4577F36B6B6}"/>
              </a:ext>
            </a:extLst>
          </p:cNvPr>
          <p:cNvGrpSpPr/>
          <p:nvPr/>
        </p:nvGrpSpPr>
        <p:grpSpPr>
          <a:xfrm>
            <a:off x="425148" y="1586377"/>
            <a:ext cx="2226686" cy="1903038"/>
            <a:chOff x="4435926" y="840529"/>
            <a:chExt cx="3979872" cy="3401399"/>
          </a:xfrm>
        </p:grpSpPr>
        <p:grpSp>
          <p:nvGrpSpPr>
            <p:cNvPr id="327" name="Group 326">
              <a:extLst>
                <a:ext uri="{FF2B5EF4-FFF2-40B4-BE49-F238E27FC236}">
                  <a16:creationId xmlns:a16="http://schemas.microsoft.com/office/drawing/2014/main" id="{46CB71C0-42C3-4B44-AF78-0AF739FA0DA5}"/>
                </a:ext>
              </a:extLst>
            </p:cNvPr>
            <p:cNvGrpSpPr/>
            <p:nvPr/>
          </p:nvGrpSpPr>
          <p:grpSpPr>
            <a:xfrm>
              <a:off x="7298194" y="1162708"/>
              <a:ext cx="1117604" cy="951985"/>
              <a:chOff x="6445248" y="2814638"/>
              <a:chExt cx="1447804" cy="1231900"/>
            </a:xfrm>
          </p:grpSpPr>
          <p:sp>
            <p:nvSpPr>
              <p:cNvPr id="609" name="Freeform 62">
                <a:extLst>
                  <a:ext uri="{FF2B5EF4-FFF2-40B4-BE49-F238E27FC236}">
                    <a16:creationId xmlns:a16="http://schemas.microsoft.com/office/drawing/2014/main" id="{7AD7676B-DB71-4889-94E3-3FFB2B5F192D}"/>
                  </a:ext>
                </a:extLst>
              </p:cNvPr>
              <p:cNvSpPr>
                <a:spLocks/>
              </p:cNvSpPr>
              <p:nvPr/>
            </p:nvSpPr>
            <p:spPr bwMode="auto">
              <a:xfrm>
                <a:off x="6445250" y="2814638"/>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3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6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3"/>
                    </a:lnTo>
                    <a:lnTo>
                      <a:pt x="135" y="83"/>
                    </a:lnTo>
                    <a:lnTo>
                      <a:pt x="264" y="0"/>
                    </a:lnTo>
                    <a:lnTo>
                      <a:pt x="392" y="83"/>
                    </a:lnTo>
                    <a:lnTo>
                      <a:pt x="521" y="0"/>
                    </a:lnTo>
                    <a:lnTo>
                      <a:pt x="649" y="83"/>
                    </a:lnTo>
                    <a:lnTo>
                      <a:pt x="778" y="0"/>
                    </a:lnTo>
                    <a:lnTo>
                      <a:pt x="912" y="86"/>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63">
                <a:extLst>
                  <a:ext uri="{FF2B5EF4-FFF2-40B4-BE49-F238E27FC236}">
                    <a16:creationId xmlns:a16="http://schemas.microsoft.com/office/drawing/2014/main" id="{5AFCF24C-8E2A-4F6D-B398-3B6AC68F2C61}"/>
                  </a:ext>
                </a:extLst>
              </p:cNvPr>
              <p:cNvSpPr>
                <a:spLocks/>
              </p:cNvSpPr>
              <p:nvPr/>
            </p:nvSpPr>
            <p:spPr bwMode="auto">
              <a:xfrm>
                <a:off x="6445250" y="2965450"/>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4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7 h 109"/>
                  <a:gd name="T24" fmla="*/ 900 w 912"/>
                  <a:gd name="T25" fmla="*/ 106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4"/>
                    </a:lnTo>
                    <a:lnTo>
                      <a:pt x="135" y="83"/>
                    </a:lnTo>
                    <a:lnTo>
                      <a:pt x="264" y="0"/>
                    </a:lnTo>
                    <a:lnTo>
                      <a:pt x="392" y="83"/>
                    </a:lnTo>
                    <a:lnTo>
                      <a:pt x="521" y="0"/>
                    </a:lnTo>
                    <a:lnTo>
                      <a:pt x="649" y="83"/>
                    </a:lnTo>
                    <a:lnTo>
                      <a:pt x="778" y="0"/>
                    </a:lnTo>
                    <a:lnTo>
                      <a:pt x="912" y="87"/>
                    </a:lnTo>
                    <a:lnTo>
                      <a:pt x="900" y="106"/>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64">
                <a:extLst>
                  <a:ext uri="{FF2B5EF4-FFF2-40B4-BE49-F238E27FC236}">
                    <a16:creationId xmlns:a16="http://schemas.microsoft.com/office/drawing/2014/main" id="{AC3C87E9-0F05-44B8-84E8-A509F8BA4434}"/>
                  </a:ext>
                </a:extLst>
              </p:cNvPr>
              <p:cNvSpPr>
                <a:spLocks/>
              </p:cNvSpPr>
              <p:nvPr/>
            </p:nvSpPr>
            <p:spPr bwMode="auto">
              <a:xfrm>
                <a:off x="6445249" y="3116263"/>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4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7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4"/>
                    </a:lnTo>
                    <a:lnTo>
                      <a:pt x="135" y="83"/>
                    </a:lnTo>
                    <a:lnTo>
                      <a:pt x="264" y="0"/>
                    </a:lnTo>
                    <a:lnTo>
                      <a:pt x="392" y="83"/>
                    </a:lnTo>
                    <a:lnTo>
                      <a:pt x="521" y="0"/>
                    </a:lnTo>
                    <a:lnTo>
                      <a:pt x="649" y="83"/>
                    </a:lnTo>
                    <a:lnTo>
                      <a:pt x="778" y="0"/>
                    </a:lnTo>
                    <a:lnTo>
                      <a:pt x="912" y="87"/>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65">
                <a:extLst>
                  <a:ext uri="{FF2B5EF4-FFF2-40B4-BE49-F238E27FC236}">
                    <a16:creationId xmlns:a16="http://schemas.microsoft.com/office/drawing/2014/main" id="{83ABBA96-2788-4142-BD36-CF76110624AB}"/>
                  </a:ext>
                </a:extLst>
              </p:cNvPr>
              <p:cNvSpPr>
                <a:spLocks/>
              </p:cNvSpPr>
              <p:nvPr/>
            </p:nvSpPr>
            <p:spPr bwMode="auto">
              <a:xfrm>
                <a:off x="6445248" y="3267075"/>
                <a:ext cx="1447800" cy="174625"/>
              </a:xfrm>
              <a:custGeom>
                <a:avLst/>
                <a:gdLst>
                  <a:gd name="T0" fmla="*/ 392 w 912"/>
                  <a:gd name="T1" fmla="*/ 110 h 110"/>
                  <a:gd name="T2" fmla="*/ 264 w 912"/>
                  <a:gd name="T3" fmla="*/ 27 h 110"/>
                  <a:gd name="T4" fmla="*/ 135 w 912"/>
                  <a:gd name="T5" fmla="*/ 110 h 110"/>
                  <a:gd name="T6" fmla="*/ 0 w 912"/>
                  <a:gd name="T7" fmla="*/ 23 h 110"/>
                  <a:gd name="T8" fmla="*/ 12 w 912"/>
                  <a:gd name="T9" fmla="*/ 4 h 110"/>
                  <a:gd name="T10" fmla="*/ 135 w 912"/>
                  <a:gd name="T11" fmla="*/ 83 h 110"/>
                  <a:gd name="T12" fmla="*/ 264 w 912"/>
                  <a:gd name="T13" fmla="*/ 0 h 110"/>
                  <a:gd name="T14" fmla="*/ 392 w 912"/>
                  <a:gd name="T15" fmla="*/ 83 h 110"/>
                  <a:gd name="T16" fmla="*/ 521 w 912"/>
                  <a:gd name="T17" fmla="*/ 0 h 110"/>
                  <a:gd name="T18" fmla="*/ 649 w 912"/>
                  <a:gd name="T19" fmla="*/ 83 h 110"/>
                  <a:gd name="T20" fmla="*/ 778 w 912"/>
                  <a:gd name="T21" fmla="*/ 0 h 110"/>
                  <a:gd name="T22" fmla="*/ 912 w 912"/>
                  <a:gd name="T23" fmla="*/ 87 h 110"/>
                  <a:gd name="T24" fmla="*/ 900 w 912"/>
                  <a:gd name="T25" fmla="*/ 106 h 110"/>
                  <a:gd name="T26" fmla="*/ 778 w 912"/>
                  <a:gd name="T27" fmla="*/ 27 h 110"/>
                  <a:gd name="T28" fmla="*/ 649 w 912"/>
                  <a:gd name="T29" fmla="*/ 110 h 110"/>
                  <a:gd name="T30" fmla="*/ 521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4" y="27"/>
                    </a:lnTo>
                    <a:lnTo>
                      <a:pt x="135" y="110"/>
                    </a:lnTo>
                    <a:lnTo>
                      <a:pt x="0" y="23"/>
                    </a:lnTo>
                    <a:lnTo>
                      <a:pt x="12" y="4"/>
                    </a:lnTo>
                    <a:lnTo>
                      <a:pt x="135" y="83"/>
                    </a:lnTo>
                    <a:lnTo>
                      <a:pt x="264" y="0"/>
                    </a:lnTo>
                    <a:lnTo>
                      <a:pt x="392" y="83"/>
                    </a:lnTo>
                    <a:lnTo>
                      <a:pt x="521" y="0"/>
                    </a:lnTo>
                    <a:lnTo>
                      <a:pt x="649" y="83"/>
                    </a:lnTo>
                    <a:lnTo>
                      <a:pt x="778" y="0"/>
                    </a:lnTo>
                    <a:lnTo>
                      <a:pt x="912" y="87"/>
                    </a:lnTo>
                    <a:lnTo>
                      <a:pt x="900" y="106"/>
                    </a:lnTo>
                    <a:lnTo>
                      <a:pt x="778" y="27"/>
                    </a:lnTo>
                    <a:lnTo>
                      <a:pt x="649" y="110"/>
                    </a:lnTo>
                    <a:lnTo>
                      <a:pt x="521" y="27"/>
                    </a:lnTo>
                    <a:lnTo>
                      <a:pt x="392" y="110"/>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66">
                <a:extLst>
                  <a:ext uri="{FF2B5EF4-FFF2-40B4-BE49-F238E27FC236}">
                    <a16:creationId xmlns:a16="http://schemas.microsoft.com/office/drawing/2014/main" id="{27424C19-3A12-45BD-9E50-FBFDDBBB2AF7}"/>
                  </a:ext>
                </a:extLst>
              </p:cNvPr>
              <p:cNvSpPr>
                <a:spLocks/>
              </p:cNvSpPr>
              <p:nvPr/>
            </p:nvSpPr>
            <p:spPr bwMode="auto">
              <a:xfrm>
                <a:off x="6445250" y="3419475"/>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3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6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3"/>
                    </a:lnTo>
                    <a:lnTo>
                      <a:pt x="135" y="83"/>
                    </a:lnTo>
                    <a:lnTo>
                      <a:pt x="264" y="0"/>
                    </a:lnTo>
                    <a:lnTo>
                      <a:pt x="392" y="83"/>
                    </a:lnTo>
                    <a:lnTo>
                      <a:pt x="521" y="0"/>
                    </a:lnTo>
                    <a:lnTo>
                      <a:pt x="649" y="83"/>
                    </a:lnTo>
                    <a:lnTo>
                      <a:pt x="778" y="0"/>
                    </a:lnTo>
                    <a:lnTo>
                      <a:pt x="912" y="86"/>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67">
                <a:extLst>
                  <a:ext uri="{FF2B5EF4-FFF2-40B4-BE49-F238E27FC236}">
                    <a16:creationId xmlns:a16="http://schemas.microsoft.com/office/drawing/2014/main" id="{6B902086-7D65-4228-8139-76DA23F072E2}"/>
                  </a:ext>
                </a:extLst>
              </p:cNvPr>
              <p:cNvSpPr>
                <a:spLocks/>
              </p:cNvSpPr>
              <p:nvPr/>
            </p:nvSpPr>
            <p:spPr bwMode="auto">
              <a:xfrm>
                <a:off x="6445250" y="3570288"/>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4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7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4"/>
                    </a:lnTo>
                    <a:lnTo>
                      <a:pt x="135" y="83"/>
                    </a:lnTo>
                    <a:lnTo>
                      <a:pt x="264" y="0"/>
                    </a:lnTo>
                    <a:lnTo>
                      <a:pt x="392" y="83"/>
                    </a:lnTo>
                    <a:lnTo>
                      <a:pt x="521" y="0"/>
                    </a:lnTo>
                    <a:lnTo>
                      <a:pt x="649" y="83"/>
                    </a:lnTo>
                    <a:lnTo>
                      <a:pt x="778" y="0"/>
                    </a:lnTo>
                    <a:lnTo>
                      <a:pt x="912" y="87"/>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68">
                <a:extLst>
                  <a:ext uri="{FF2B5EF4-FFF2-40B4-BE49-F238E27FC236}">
                    <a16:creationId xmlns:a16="http://schemas.microsoft.com/office/drawing/2014/main" id="{8B9FE478-37CE-4B9D-8556-2A79DAE97F66}"/>
                  </a:ext>
                </a:extLst>
              </p:cNvPr>
              <p:cNvSpPr>
                <a:spLocks/>
              </p:cNvSpPr>
              <p:nvPr/>
            </p:nvSpPr>
            <p:spPr bwMode="auto">
              <a:xfrm>
                <a:off x="6445250" y="3721100"/>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4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7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4"/>
                    </a:lnTo>
                    <a:lnTo>
                      <a:pt x="135" y="83"/>
                    </a:lnTo>
                    <a:lnTo>
                      <a:pt x="264" y="0"/>
                    </a:lnTo>
                    <a:lnTo>
                      <a:pt x="392" y="83"/>
                    </a:lnTo>
                    <a:lnTo>
                      <a:pt x="521" y="0"/>
                    </a:lnTo>
                    <a:lnTo>
                      <a:pt x="649" y="83"/>
                    </a:lnTo>
                    <a:lnTo>
                      <a:pt x="778" y="0"/>
                    </a:lnTo>
                    <a:lnTo>
                      <a:pt x="912" y="87"/>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69">
                <a:extLst>
                  <a:ext uri="{FF2B5EF4-FFF2-40B4-BE49-F238E27FC236}">
                    <a16:creationId xmlns:a16="http://schemas.microsoft.com/office/drawing/2014/main" id="{2FDFA586-F0C6-4962-A58F-042A1C0F2029}"/>
                  </a:ext>
                </a:extLst>
              </p:cNvPr>
              <p:cNvSpPr>
                <a:spLocks/>
              </p:cNvSpPr>
              <p:nvPr/>
            </p:nvSpPr>
            <p:spPr bwMode="auto">
              <a:xfrm>
                <a:off x="6445252" y="3871913"/>
                <a:ext cx="1447800" cy="174625"/>
              </a:xfrm>
              <a:custGeom>
                <a:avLst/>
                <a:gdLst>
                  <a:gd name="T0" fmla="*/ 392 w 912"/>
                  <a:gd name="T1" fmla="*/ 110 h 110"/>
                  <a:gd name="T2" fmla="*/ 264 w 912"/>
                  <a:gd name="T3" fmla="*/ 27 h 110"/>
                  <a:gd name="T4" fmla="*/ 135 w 912"/>
                  <a:gd name="T5" fmla="*/ 110 h 110"/>
                  <a:gd name="T6" fmla="*/ 0 w 912"/>
                  <a:gd name="T7" fmla="*/ 23 h 110"/>
                  <a:gd name="T8" fmla="*/ 12 w 912"/>
                  <a:gd name="T9" fmla="*/ 4 h 110"/>
                  <a:gd name="T10" fmla="*/ 135 w 912"/>
                  <a:gd name="T11" fmla="*/ 83 h 110"/>
                  <a:gd name="T12" fmla="*/ 264 w 912"/>
                  <a:gd name="T13" fmla="*/ 0 h 110"/>
                  <a:gd name="T14" fmla="*/ 392 w 912"/>
                  <a:gd name="T15" fmla="*/ 83 h 110"/>
                  <a:gd name="T16" fmla="*/ 521 w 912"/>
                  <a:gd name="T17" fmla="*/ 0 h 110"/>
                  <a:gd name="T18" fmla="*/ 649 w 912"/>
                  <a:gd name="T19" fmla="*/ 83 h 110"/>
                  <a:gd name="T20" fmla="*/ 778 w 912"/>
                  <a:gd name="T21" fmla="*/ 0 h 110"/>
                  <a:gd name="T22" fmla="*/ 912 w 912"/>
                  <a:gd name="T23" fmla="*/ 87 h 110"/>
                  <a:gd name="T24" fmla="*/ 900 w 912"/>
                  <a:gd name="T25" fmla="*/ 106 h 110"/>
                  <a:gd name="T26" fmla="*/ 778 w 912"/>
                  <a:gd name="T27" fmla="*/ 27 h 110"/>
                  <a:gd name="T28" fmla="*/ 649 w 912"/>
                  <a:gd name="T29" fmla="*/ 110 h 110"/>
                  <a:gd name="T30" fmla="*/ 521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4" y="27"/>
                    </a:lnTo>
                    <a:lnTo>
                      <a:pt x="135" y="110"/>
                    </a:lnTo>
                    <a:lnTo>
                      <a:pt x="0" y="23"/>
                    </a:lnTo>
                    <a:lnTo>
                      <a:pt x="12" y="4"/>
                    </a:lnTo>
                    <a:lnTo>
                      <a:pt x="135" y="83"/>
                    </a:lnTo>
                    <a:lnTo>
                      <a:pt x="264" y="0"/>
                    </a:lnTo>
                    <a:lnTo>
                      <a:pt x="392" y="83"/>
                    </a:lnTo>
                    <a:lnTo>
                      <a:pt x="521" y="0"/>
                    </a:lnTo>
                    <a:lnTo>
                      <a:pt x="649" y="83"/>
                    </a:lnTo>
                    <a:lnTo>
                      <a:pt x="778" y="0"/>
                    </a:lnTo>
                    <a:lnTo>
                      <a:pt x="912" y="87"/>
                    </a:lnTo>
                    <a:lnTo>
                      <a:pt x="900" y="106"/>
                    </a:lnTo>
                    <a:lnTo>
                      <a:pt x="778" y="27"/>
                    </a:lnTo>
                    <a:lnTo>
                      <a:pt x="649" y="110"/>
                    </a:lnTo>
                    <a:lnTo>
                      <a:pt x="521" y="27"/>
                    </a:lnTo>
                    <a:lnTo>
                      <a:pt x="392" y="110"/>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28" name="Oval 327">
              <a:extLst>
                <a:ext uri="{FF2B5EF4-FFF2-40B4-BE49-F238E27FC236}">
                  <a16:creationId xmlns:a16="http://schemas.microsoft.com/office/drawing/2014/main" id="{8505410E-0F92-46A6-93EF-A3AB49077695}"/>
                </a:ext>
              </a:extLst>
            </p:cNvPr>
            <p:cNvSpPr/>
            <p:nvPr/>
          </p:nvSpPr>
          <p:spPr>
            <a:xfrm>
              <a:off x="6238429" y="1050652"/>
              <a:ext cx="1431281" cy="1431281"/>
            </a:xfrm>
            <a:prstGeom prst="ellipse">
              <a:avLst/>
            </a:pr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a:p>
          </p:txBody>
        </p:sp>
        <p:sp>
          <p:nvSpPr>
            <p:cNvPr id="329" name="Freeform: Shape 328">
              <a:extLst>
                <a:ext uri="{FF2B5EF4-FFF2-40B4-BE49-F238E27FC236}">
                  <a16:creationId xmlns:a16="http://schemas.microsoft.com/office/drawing/2014/main" id="{E0C69194-1437-4B24-BBD9-54EF448104D7}"/>
                </a:ext>
              </a:extLst>
            </p:cNvPr>
            <p:cNvSpPr/>
            <p:nvPr/>
          </p:nvSpPr>
          <p:spPr>
            <a:xfrm>
              <a:off x="8056191" y="2308886"/>
              <a:ext cx="258133" cy="258132"/>
            </a:xfrm>
            <a:custGeom>
              <a:avLst/>
              <a:gdLst>
                <a:gd name="connsiteX0" fmla="*/ 225625 w 451250"/>
                <a:gd name="connsiteY0" fmla="*/ 451250 h 451249"/>
                <a:gd name="connsiteX1" fmla="*/ 0 w 451250"/>
                <a:gd name="connsiteY1" fmla="*/ 225625 h 451249"/>
                <a:gd name="connsiteX2" fmla="*/ 225625 w 451250"/>
                <a:gd name="connsiteY2" fmla="*/ 0 h 451249"/>
                <a:gd name="connsiteX3" fmla="*/ 451250 w 451250"/>
                <a:gd name="connsiteY3" fmla="*/ 225625 h 451249"/>
                <a:gd name="connsiteX4" fmla="*/ 225625 w 451250"/>
                <a:gd name="connsiteY4" fmla="*/ 451250 h 451249"/>
                <a:gd name="connsiteX5" fmla="*/ 225625 w 451250"/>
                <a:gd name="connsiteY5" fmla="*/ 36884 h 451249"/>
                <a:gd name="connsiteX6" fmla="*/ 36884 w 451250"/>
                <a:gd name="connsiteY6" fmla="*/ 225625 h 451249"/>
                <a:gd name="connsiteX7" fmla="*/ 225625 w 451250"/>
                <a:gd name="connsiteY7" fmla="*/ 414366 h 451249"/>
                <a:gd name="connsiteX8" fmla="*/ 414366 w 451250"/>
                <a:gd name="connsiteY8" fmla="*/ 225625 h 451249"/>
                <a:gd name="connsiteX9" fmla="*/ 225625 w 451250"/>
                <a:gd name="connsiteY9" fmla="*/ 36884 h 45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1250" h="451249">
                  <a:moveTo>
                    <a:pt x="225625" y="451250"/>
                  </a:moveTo>
                  <a:cubicBezTo>
                    <a:pt x="101220" y="451250"/>
                    <a:pt x="0" y="350030"/>
                    <a:pt x="0" y="225625"/>
                  </a:cubicBezTo>
                  <a:cubicBezTo>
                    <a:pt x="0" y="101220"/>
                    <a:pt x="101220" y="0"/>
                    <a:pt x="225625" y="0"/>
                  </a:cubicBezTo>
                  <a:cubicBezTo>
                    <a:pt x="350030" y="0"/>
                    <a:pt x="451250" y="101220"/>
                    <a:pt x="451250" y="225625"/>
                  </a:cubicBezTo>
                  <a:cubicBezTo>
                    <a:pt x="451250" y="350030"/>
                    <a:pt x="350030" y="451250"/>
                    <a:pt x="225625" y="451250"/>
                  </a:cubicBezTo>
                  <a:close/>
                  <a:moveTo>
                    <a:pt x="225625" y="36884"/>
                  </a:moveTo>
                  <a:cubicBezTo>
                    <a:pt x="121559" y="36884"/>
                    <a:pt x="36884" y="121559"/>
                    <a:pt x="36884" y="225625"/>
                  </a:cubicBezTo>
                  <a:cubicBezTo>
                    <a:pt x="36884" y="329691"/>
                    <a:pt x="121559" y="414366"/>
                    <a:pt x="225625" y="414366"/>
                  </a:cubicBezTo>
                  <a:cubicBezTo>
                    <a:pt x="329691" y="414366"/>
                    <a:pt x="414366" y="329691"/>
                    <a:pt x="414366" y="225625"/>
                  </a:cubicBezTo>
                  <a:cubicBezTo>
                    <a:pt x="414366" y="121559"/>
                    <a:pt x="329691" y="36884"/>
                    <a:pt x="225625" y="36884"/>
                  </a:cubicBezTo>
                  <a:close/>
                </a:path>
              </a:pathLst>
            </a:custGeom>
            <a:solidFill>
              <a:schemeClr val="accent1"/>
            </a:solidFill>
            <a:ln w="5266"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FFFFFF"/>
                </a:solidFill>
                <a:effectLst/>
                <a:uLnTx/>
                <a:uFillTx/>
                <a:latin typeface="CiscoSansTT ExtraLight"/>
                <a:ea typeface="+mn-ea"/>
                <a:cs typeface="+mn-cs"/>
              </a:endParaRPr>
            </a:p>
          </p:txBody>
        </p:sp>
        <p:grpSp>
          <p:nvGrpSpPr>
            <p:cNvPr id="330" name="Group 329">
              <a:extLst>
                <a:ext uri="{FF2B5EF4-FFF2-40B4-BE49-F238E27FC236}">
                  <a16:creationId xmlns:a16="http://schemas.microsoft.com/office/drawing/2014/main" id="{ABCBA9A2-7CA0-4406-A360-48C532D6260D}"/>
                </a:ext>
              </a:extLst>
            </p:cNvPr>
            <p:cNvGrpSpPr/>
            <p:nvPr/>
          </p:nvGrpSpPr>
          <p:grpSpPr>
            <a:xfrm>
              <a:off x="5249052" y="2647677"/>
              <a:ext cx="1314451" cy="1141412"/>
              <a:chOff x="639763" y="2862263"/>
              <a:chExt cx="1314451" cy="1141412"/>
            </a:xfrm>
          </p:grpSpPr>
          <p:sp>
            <p:nvSpPr>
              <p:cNvPr id="348" name="Oval 170">
                <a:extLst>
                  <a:ext uri="{FF2B5EF4-FFF2-40B4-BE49-F238E27FC236}">
                    <a16:creationId xmlns:a16="http://schemas.microsoft.com/office/drawing/2014/main" id="{DA7CED63-9569-4E29-91A5-D61DD1003D88}"/>
                  </a:ext>
                </a:extLst>
              </p:cNvPr>
              <p:cNvSpPr>
                <a:spLocks noChangeArrowheads="1"/>
              </p:cNvSpPr>
              <p:nvPr/>
            </p:nvSpPr>
            <p:spPr bwMode="auto">
              <a:xfrm>
                <a:off x="639763" y="3646488"/>
                <a:ext cx="74613" cy="77788"/>
              </a:xfrm>
              <a:prstGeom prst="ellipse">
                <a:avLst/>
              </a:pr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Oval 171">
                <a:extLst>
                  <a:ext uri="{FF2B5EF4-FFF2-40B4-BE49-F238E27FC236}">
                    <a16:creationId xmlns:a16="http://schemas.microsoft.com/office/drawing/2014/main" id="{7C452A4C-E999-4929-9D3C-AB052B39D38A}"/>
                  </a:ext>
                </a:extLst>
              </p:cNvPr>
              <p:cNvSpPr>
                <a:spLocks noChangeArrowheads="1"/>
              </p:cNvSpPr>
              <p:nvPr/>
            </p:nvSpPr>
            <p:spPr bwMode="auto">
              <a:xfrm>
                <a:off x="862013" y="3646488"/>
                <a:ext cx="73025" cy="77788"/>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Oval 172">
                <a:extLst>
                  <a:ext uri="{FF2B5EF4-FFF2-40B4-BE49-F238E27FC236}">
                    <a16:creationId xmlns:a16="http://schemas.microsoft.com/office/drawing/2014/main" id="{CF062DBC-794B-4AA9-B6BD-7D74208AA01F}"/>
                  </a:ext>
                </a:extLst>
              </p:cNvPr>
              <p:cNvSpPr>
                <a:spLocks noChangeArrowheads="1"/>
              </p:cNvSpPr>
              <p:nvPr/>
            </p:nvSpPr>
            <p:spPr bwMode="auto">
              <a:xfrm>
                <a:off x="1344613" y="3646488"/>
                <a:ext cx="74613" cy="7778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Oval 173">
                <a:extLst>
                  <a:ext uri="{FF2B5EF4-FFF2-40B4-BE49-F238E27FC236}">
                    <a16:creationId xmlns:a16="http://schemas.microsoft.com/office/drawing/2014/main" id="{91F2F186-2119-498A-AF92-3C24809604CF}"/>
                  </a:ext>
                </a:extLst>
              </p:cNvPr>
              <p:cNvSpPr>
                <a:spLocks noChangeArrowheads="1"/>
              </p:cNvSpPr>
              <p:nvPr/>
            </p:nvSpPr>
            <p:spPr bwMode="auto">
              <a:xfrm>
                <a:off x="1344613" y="3398838"/>
                <a:ext cx="74613" cy="74613"/>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Oval 174">
                <a:extLst>
                  <a:ext uri="{FF2B5EF4-FFF2-40B4-BE49-F238E27FC236}">
                    <a16:creationId xmlns:a16="http://schemas.microsoft.com/office/drawing/2014/main" id="{02D5BBF5-48AD-460C-A66F-7EEBB21AE59A}"/>
                  </a:ext>
                </a:extLst>
              </p:cNvPr>
              <p:cNvSpPr>
                <a:spLocks noChangeArrowheads="1"/>
              </p:cNvSpPr>
              <p:nvPr/>
            </p:nvSpPr>
            <p:spPr bwMode="auto">
              <a:xfrm>
                <a:off x="1585913" y="3138488"/>
                <a:ext cx="73025" cy="77788"/>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Oval 175">
                <a:extLst>
                  <a:ext uri="{FF2B5EF4-FFF2-40B4-BE49-F238E27FC236}">
                    <a16:creationId xmlns:a16="http://schemas.microsoft.com/office/drawing/2014/main" id="{292C9013-4385-4066-89AF-38672E83C11C}"/>
                  </a:ext>
                </a:extLst>
              </p:cNvPr>
              <p:cNvSpPr>
                <a:spLocks noChangeArrowheads="1"/>
              </p:cNvSpPr>
              <p:nvPr/>
            </p:nvSpPr>
            <p:spPr bwMode="auto">
              <a:xfrm>
                <a:off x="1585913" y="2890838"/>
                <a:ext cx="73025" cy="74613"/>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Oval 176">
                <a:extLst>
                  <a:ext uri="{FF2B5EF4-FFF2-40B4-BE49-F238E27FC236}">
                    <a16:creationId xmlns:a16="http://schemas.microsoft.com/office/drawing/2014/main" id="{9D444F6A-8116-4EFC-8DE5-7215E9CF38DC}"/>
                  </a:ext>
                </a:extLst>
              </p:cNvPr>
              <p:cNvSpPr>
                <a:spLocks noChangeArrowheads="1"/>
              </p:cNvSpPr>
              <p:nvPr/>
            </p:nvSpPr>
            <p:spPr bwMode="auto">
              <a:xfrm>
                <a:off x="1851026" y="3144838"/>
                <a:ext cx="74613" cy="79375"/>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Oval 177">
                <a:extLst>
                  <a:ext uri="{FF2B5EF4-FFF2-40B4-BE49-F238E27FC236}">
                    <a16:creationId xmlns:a16="http://schemas.microsoft.com/office/drawing/2014/main" id="{AD13BD3F-743F-405B-AB3A-E73D5FAF323F}"/>
                  </a:ext>
                </a:extLst>
              </p:cNvPr>
              <p:cNvSpPr>
                <a:spLocks noChangeArrowheads="1"/>
              </p:cNvSpPr>
              <p:nvPr/>
            </p:nvSpPr>
            <p:spPr bwMode="auto">
              <a:xfrm>
                <a:off x="639763" y="3900488"/>
                <a:ext cx="74613" cy="74613"/>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Oval 178">
                <a:extLst>
                  <a:ext uri="{FF2B5EF4-FFF2-40B4-BE49-F238E27FC236}">
                    <a16:creationId xmlns:a16="http://schemas.microsoft.com/office/drawing/2014/main" id="{C4C3B746-B0ED-4F30-B7A4-F3812E01DAFC}"/>
                  </a:ext>
                </a:extLst>
              </p:cNvPr>
              <p:cNvSpPr>
                <a:spLocks noChangeArrowheads="1"/>
              </p:cNvSpPr>
              <p:nvPr/>
            </p:nvSpPr>
            <p:spPr bwMode="auto">
              <a:xfrm>
                <a:off x="1344613" y="3900488"/>
                <a:ext cx="74613" cy="74613"/>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Oval 179">
                <a:extLst>
                  <a:ext uri="{FF2B5EF4-FFF2-40B4-BE49-F238E27FC236}">
                    <a16:creationId xmlns:a16="http://schemas.microsoft.com/office/drawing/2014/main" id="{12371DF4-7EAF-4B90-AD05-866C34055606}"/>
                  </a:ext>
                </a:extLst>
              </p:cNvPr>
              <p:cNvSpPr>
                <a:spLocks noChangeArrowheads="1"/>
              </p:cNvSpPr>
              <p:nvPr/>
            </p:nvSpPr>
            <p:spPr bwMode="auto">
              <a:xfrm>
                <a:off x="1585913" y="3900488"/>
                <a:ext cx="73025" cy="74613"/>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180">
                <a:extLst>
                  <a:ext uri="{FF2B5EF4-FFF2-40B4-BE49-F238E27FC236}">
                    <a16:creationId xmlns:a16="http://schemas.microsoft.com/office/drawing/2014/main" id="{D0BDA300-3020-43B3-82C8-BAE46B60FA71}"/>
                  </a:ext>
                </a:extLst>
              </p:cNvPr>
              <p:cNvSpPr>
                <a:spLocks noEditPoints="1"/>
              </p:cNvSpPr>
              <p:nvPr/>
            </p:nvSpPr>
            <p:spPr bwMode="auto">
              <a:xfrm>
                <a:off x="1822451" y="3870325"/>
                <a:ext cx="131763"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181">
                <a:extLst>
                  <a:ext uri="{FF2B5EF4-FFF2-40B4-BE49-F238E27FC236}">
                    <a16:creationId xmlns:a16="http://schemas.microsoft.com/office/drawing/2014/main" id="{72B6C8D8-14DA-4061-8A12-EC85910DB531}"/>
                  </a:ext>
                </a:extLst>
              </p:cNvPr>
              <p:cNvSpPr>
                <a:spLocks noEditPoints="1"/>
              </p:cNvSpPr>
              <p:nvPr/>
            </p:nvSpPr>
            <p:spPr bwMode="auto">
              <a:xfrm>
                <a:off x="1555751"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182">
                <a:extLst>
                  <a:ext uri="{FF2B5EF4-FFF2-40B4-BE49-F238E27FC236}">
                    <a16:creationId xmlns:a16="http://schemas.microsoft.com/office/drawing/2014/main" id="{EA62C2F8-DE16-4375-BFD6-1EC3F70C3989}"/>
                  </a:ext>
                </a:extLst>
              </p:cNvPr>
              <p:cNvSpPr>
                <a:spLocks noEditPoints="1"/>
              </p:cNvSpPr>
              <p:nvPr/>
            </p:nvSpPr>
            <p:spPr bwMode="auto">
              <a:xfrm>
                <a:off x="1555751" y="3368675"/>
                <a:ext cx="133350" cy="134938"/>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183">
                <a:extLst>
                  <a:ext uri="{FF2B5EF4-FFF2-40B4-BE49-F238E27FC236}">
                    <a16:creationId xmlns:a16="http://schemas.microsoft.com/office/drawing/2014/main" id="{098A1A11-901A-4AE4-9B93-F6789A762B55}"/>
                  </a:ext>
                </a:extLst>
              </p:cNvPr>
              <p:cNvSpPr>
                <a:spLocks noEditPoints="1"/>
              </p:cNvSpPr>
              <p:nvPr/>
            </p:nvSpPr>
            <p:spPr bwMode="auto">
              <a:xfrm>
                <a:off x="1822451" y="3619500"/>
                <a:ext cx="131763"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184">
                <a:extLst>
                  <a:ext uri="{FF2B5EF4-FFF2-40B4-BE49-F238E27FC236}">
                    <a16:creationId xmlns:a16="http://schemas.microsoft.com/office/drawing/2014/main" id="{89A69B07-0830-48F4-983D-C7D555065216}"/>
                  </a:ext>
                </a:extLst>
              </p:cNvPr>
              <p:cNvSpPr>
                <a:spLocks noEditPoints="1"/>
              </p:cNvSpPr>
              <p:nvPr/>
            </p:nvSpPr>
            <p:spPr bwMode="auto">
              <a:xfrm>
                <a:off x="1071563"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185">
                <a:extLst>
                  <a:ext uri="{FF2B5EF4-FFF2-40B4-BE49-F238E27FC236}">
                    <a16:creationId xmlns:a16="http://schemas.microsoft.com/office/drawing/2014/main" id="{773AD845-D7AB-4BCD-8673-1F1F4B09C464}"/>
                  </a:ext>
                </a:extLst>
              </p:cNvPr>
              <p:cNvSpPr>
                <a:spLocks noEditPoints="1"/>
              </p:cNvSpPr>
              <p:nvPr/>
            </p:nvSpPr>
            <p:spPr bwMode="auto">
              <a:xfrm>
                <a:off x="1316038" y="3119438"/>
                <a:ext cx="133350" cy="1301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186">
                <a:extLst>
                  <a:ext uri="{FF2B5EF4-FFF2-40B4-BE49-F238E27FC236}">
                    <a16:creationId xmlns:a16="http://schemas.microsoft.com/office/drawing/2014/main" id="{B4EEFCC9-2699-4BBA-B83F-3FA9C0BE2155}"/>
                  </a:ext>
                </a:extLst>
              </p:cNvPr>
              <p:cNvSpPr>
                <a:spLocks noEditPoints="1"/>
              </p:cNvSpPr>
              <p:nvPr/>
            </p:nvSpPr>
            <p:spPr bwMode="auto">
              <a:xfrm>
                <a:off x="1316038"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187">
                <a:extLst>
                  <a:ext uri="{FF2B5EF4-FFF2-40B4-BE49-F238E27FC236}">
                    <a16:creationId xmlns:a16="http://schemas.microsoft.com/office/drawing/2014/main" id="{00341C3B-9DE7-4D96-8652-B2EE01CDE2FE}"/>
                  </a:ext>
                </a:extLst>
              </p:cNvPr>
              <p:cNvSpPr>
                <a:spLocks noEditPoints="1"/>
              </p:cNvSpPr>
              <p:nvPr/>
            </p:nvSpPr>
            <p:spPr bwMode="auto">
              <a:xfrm>
                <a:off x="1822451" y="2862263"/>
                <a:ext cx="131763"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188">
                <a:extLst>
                  <a:ext uri="{FF2B5EF4-FFF2-40B4-BE49-F238E27FC236}">
                    <a16:creationId xmlns:a16="http://schemas.microsoft.com/office/drawing/2014/main" id="{E80509CB-1F0C-4F41-B6CA-3A26AFA4C70F}"/>
                  </a:ext>
                </a:extLst>
              </p:cNvPr>
              <p:cNvSpPr>
                <a:spLocks noEditPoints="1"/>
              </p:cNvSpPr>
              <p:nvPr/>
            </p:nvSpPr>
            <p:spPr bwMode="auto">
              <a:xfrm>
                <a:off x="1071563" y="3870325"/>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1" name="Freeform: Shape 330">
              <a:extLst>
                <a:ext uri="{FF2B5EF4-FFF2-40B4-BE49-F238E27FC236}">
                  <a16:creationId xmlns:a16="http://schemas.microsoft.com/office/drawing/2014/main" id="{A8472F59-D5B4-41FB-9CCB-4BD19AEAB080}"/>
                </a:ext>
              </a:extLst>
            </p:cNvPr>
            <p:cNvSpPr>
              <a:spLocks/>
            </p:cNvSpPr>
            <p:nvPr/>
          </p:nvSpPr>
          <p:spPr bwMode="auto">
            <a:xfrm>
              <a:off x="4435926" y="1783487"/>
              <a:ext cx="1647357" cy="1671336"/>
            </a:xfrm>
            <a:custGeom>
              <a:avLst/>
              <a:gdLst>
                <a:gd name="connsiteX0" fmla="*/ 578303 w 652975"/>
                <a:gd name="connsiteY0" fmla="*/ 527099 h 662481"/>
                <a:gd name="connsiteX1" fmla="*/ 584703 w 652975"/>
                <a:gd name="connsiteY1" fmla="*/ 527099 h 662481"/>
                <a:gd name="connsiteX2" fmla="*/ 584703 w 652975"/>
                <a:gd name="connsiteY2" fmla="*/ 533647 h 662481"/>
                <a:gd name="connsiteX3" fmla="*/ 527106 w 652975"/>
                <a:gd name="connsiteY3" fmla="*/ 592583 h 662481"/>
                <a:gd name="connsiteX4" fmla="*/ 520706 w 652975"/>
                <a:gd name="connsiteY4" fmla="*/ 592583 h 662481"/>
                <a:gd name="connsiteX5" fmla="*/ 520706 w 652975"/>
                <a:gd name="connsiteY5" fmla="*/ 586035 h 662481"/>
                <a:gd name="connsiteX6" fmla="*/ 578303 w 652975"/>
                <a:gd name="connsiteY6" fmla="*/ 527099 h 662481"/>
                <a:gd name="connsiteX7" fmla="*/ 627495 w 652975"/>
                <a:gd name="connsiteY7" fmla="*/ 433440 h 662481"/>
                <a:gd name="connsiteX8" fmla="*/ 633910 w 652975"/>
                <a:gd name="connsiteY8" fmla="*/ 433440 h 662481"/>
                <a:gd name="connsiteX9" fmla="*/ 633910 w 652975"/>
                <a:gd name="connsiteY9" fmla="*/ 440001 h 662481"/>
                <a:gd name="connsiteX10" fmla="*/ 435051 w 652975"/>
                <a:gd name="connsiteY10" fmla="*/ 643379 h 662481"/>
                <a:gd name="connsiteX11" fmla="*/ 428637 w 652975"/>
                <a:gd name="connsiteY11" fmla="*/ 643379 h 662481"/>
                <a:gd name="connsiteX12" fmla="*/ 428637 w 652975"/>
                <a:gd name="connsiteY12" fmla="*/ 636819 h 662481"/>
                <a:gd name="connsiteX13" fmla="*/ 627495 w 652975"/>
                <a:gd name="connsiteY13" fmla="*/ 433440 h 662481"/>
                <a:gd name="connsiteX14" fmla="*/ 641708 w 652975"/>
                <a:gd name="connsiteY14" fmla="*/ 374697 h 662481"/>
                <a:gd name="connsiteX15" fmla="*/ 648179 w 652975"/>
                <a:gd name="connsiteY15" fmla="*/ 374697 h 662481"/>
                <a:gd name="connsiteX16" fmla="*/ 648179 w 652975"/>
                <a:gd name="connsiteY16" fmla="*/ 383423 h 662481"/>
                <a:gd name="connsiteX17" fmla="*/ 378547 w 652975"/>
                <a:gd name="connsiteY17" fmla="*/ 656085 h 662481"/>
                <a:gd name="connsiteX18" fmla="*/ 369918 w 652975"/>
                <a:gd name="connsiteY18" fmla="*/ 656085 h 662481"/>
                <a:gd name="connsiteX19" fmla="*/ 369918 w 652975"/>
                <a:gd name="connsiteY19" fmla="*/ 649541 h 662481"/>
                <a:gd name="connsiteX20" fmla="*/ 641708 w 652975"/>
                <a:gd name="connsiteY20" fmla="*/ 374697 h 662481"/>
                <a:gd name="connsiteX21" fmla="*/ 644935 w 652975"/>
                <a:gd name="connsiteY21" fmla="*/ 328664 h 662481"/>
                <a:gd name="connsiteX22" fmla="*/ 651367 w 652975"/>
                <a:gd name="connsiteY22" fmla="*/ 328664 h 662481"/>
                <a:gd name="connsiteX23" fmla="*/ 651367 w 652975"/>
                <a:gd name="connsiteY23" fmla="*/ 335220 h 662481"/>
                <a:gd name="connsiteX24" fmla="*/ 331888 w 652975"/>
                <a:gd name="connsiteY24" fmla="*/ 660843 h 662481"/>
                <a:gd name="connsiteX25" fmla="*/ 325455 w 652975"/>
                <a:gd name="connsiteY25" fmla="*/ 660843 h 662481"/>
                <a:gd name="connsiteX26" fmla="*/ 325455 w 652975"/>
                <a:gd name="connsiteY26" fmla="*/ 654287 h 662481"/>
                <a:gd name="connsiteX27" fmla="*/ 644935 w 652975"/>
                <a:gd name="connsiteY27" fmla="*/ 328664 h 662481"/>
                <a:gd name="connsiteX28" fmla="*/ 643322 w 652975"/>
                <a:gd name="connsiteY28" fmla="*/ 287381 h 662481"/>
                <a:gd name="connsiteX29" fmla="*/ 649774 w 652975"/>
                <a:gd name="connsiteY29" fmla="*/ 287381 h 662481"/>
                <a:gd name="connsiteX30" fmla="*/ 649774 w 652975"/>
                <a:gd name="connsiteY30" fmla="*/ 293916 h 662481"/>
                <a:gd name="connsiteX31" fmla="*/ 290638 w 652975"/>
                <a:gd name="connsiteY31" fmla="*/ 657675 h 662481"/>
                <a:gd name="connsiteX32" fmla="*/ 284187 w 652975"/>
                <a:gd name="connsiteY32" fmla="*/ 657675 h 662481"/>
                <a:gd name="connsiteX33" fmla="*/ 284187 w 652975"/>
                <a:gd name="connsiteY33" fmla="*/ 651140 h 662481"/>
                <a:gd name="connsiteX34" fmla="*/ 643322 w 652975"/>
                <a:gd name="connsiteY34" fmla="*/ 287381 h 662481"/>
                <a:gd name="connsiteX35" fmla="*/ 636970 w 652975"/>
                <a:gd name="connsiteY35" fmla="*/ 250868 h 662481"/>
                <a:gd name="connsiteX36" fmla="*/ 643422 w 652975"/>
                <a:gd name="connsiteY36" fmla="*/ 250868 h 662481"/>
                <a:gd name="connsiteX37" fmla="*/ 643422 w 652975"/>
                <a:gd name="connsiteY37" fmla="*/ 257397 h 662481"/>
                <a:gd name="connsiteX38" fmla="*/ 254126 w 652975"/>
                <a:gd name="connsiteY38" fmla="*/ 651328 h 662481"/>
                <a:gd name="connsiteX39" fmla="*/ 247674 w 652975"/>
                <a:gd name="connsiteY39" fmla="*/ 651328 h 662481"/>
                <a:gd name="connsiteX40" fmla="*/ 247674 w 652975"/>
                <a:gd name="connsiteY40" fmla="*/ 644798 h 662481"/>
                <a:gd name="connsiteX41" fmla="*/ 636970 w 652975"/>
                <a:gd name="connsiteY41" fmla="*/ 250868 h 662481"/>
                <a:gd name="connsiteX42" fmla="*/ 625843 w 652975"/>
                <a:gd name="connsiteY42" fmla="*/ 217532 h 662481"/>
                <a:gd name="connsiteX43" fmla="*/ 632307 w 652975"/>
                <a:gd name="connsiteY43" fmla="*/ 217532 h 662481"/>
                <a:gd name="connsiteX44" fmla="*/ 632307 w 652975"/>
                <a:gd name="connsiteY44" fmla="*/ 224068 h 662481"/>
                <a:gd name="connsiteX45" fmla="*/ 220804 w 652975"/>
                <a:gd name="connsiteY45" fmla="*/ 640212 h 662481"/>
                <a:gd name="connsiteX46" fmla="*/ 214341 w 652975"/>
                <a:gd name="connsiteY46" fmla="*/ 640212 h 662481"/>
                <a:gd name="connsiteX47" fmla="*/ 214341 w 652975"/>
                <a:gd name="connsiteY47" fmla="*/ 633676 h 662481"/>
                <a:gd name="connsiteX48" fmla="*/ 625843 w 652975"/>
                <a:gd name="connsiteY48" fmla="*/ 217532 h 662481"/>
                <a:gd name="connsiteX49" fmla="*/ 613139 w 652975"/>
                <a:gd name="connsiteY49" fmla="*/ 187370 h 662481"/>
                <a:gd name="connsiteX50" fmla="*/ 619606 w 652975"/>
                <a:gd name="connsiteY50" fmla="*/ 187370 h 662481"/>
                <a:gd name="connsiteX51" fmla="*/ 619606 w 652975"/>
                <a:gd name="connsiteY51" fmla="*/ 193907 h 662481"/>
                <a:gd name="connsiteX52" fmla="*/ 190646 w 652975"/>
                <a:gd name="connsiteY52" fmla="*/ 627512 h 662481"/>
                <a:gd name="connsiteX53" fmla="*/ 184179 w 652975"/>
                <a:gd name="connsiteY53" fmla="*/ 627512 h 662481"/>
                <a:gd name="connsiteX54" fmla="*/ 184179 w 652975"/>
                <a:gd name="connsiteY54" fmla="*/ 620975 h 662481"/>
                <a:gd name="connsiteX55" fmla="*/ 613139 w 652975"/>
                <a:gd name="connsiteY55" fmla="*/ 187370 h 662481"/>
                <a:gd name="connsiteX56" fmla="*/ 598856 w 652975"/>
                <a:gd name="connsiteY56" fmla="*/ 158793 h 662481"/>
                <a:gd name="connsiteX57" fmla="*/ 605320 w 652975"/>
                <a:gd name="connsiteY57" fmla="*/ 158793 h 662481"/>
                <a:gd name="connsiteX58" fmla="*/ 605320 w 652975"/>
                <a:gd name="connsiteY58" fmla="*/ 165325 h 662481"/>
                <a:gd name="connsiteX59" fmla="*/ 163654 w 652975"/>
                <a:gd name="connsiteY59" fmla="*/ 611639 h 662481"/>
                <a:gd name="connsiteX60" fmla="*/ 157191 w 652975"/>
                <a:gd name="connsiteY60" fmla="*/ 611639 h 662481"/>
                <a:gd name="connsiteX61" fmla="*/ 157191 w 652975"/>
                <a:gd name="connsiteY61" fmla="*/ 605108 h 662481"/>
                <a:gd name="connsiteX62" fmla="*/ 598856 w 652975"/>
                <a:gd name="connsiteY62" fmla="*/ 158793 h 662481"/>
                <a:gd name="connsiteX63" fmla="*/ 581376 w 652975"/>
                <a:gd name="connsiteY63" fmla="*/ 133390 h 662481"/>
                <a:gd name="connsiteX64" fmla="*/ 587853 w 652975"/>
                <a:gd name="connsiteY64" fmla="*/ 133390 h 662481"/>
                <a:gd name="connsiteX65" fmla="*/ 587853 w 652975"/>
                <a:gd name="connsiteY65" fmla="*/ 139910 h 662481"/>
                <a:gd name="connsiteX66" fmla="*/ 136683 w 652975"/>
                <a:gd name="connsiteY66" fmla="*/ 594181 h 662481"/>
                <a:gd name="connsiteX67" fmla="*/ 130207 w 652975"/>
                <a:gd name="connsiteY67" fmla="*/ 594181 h 662481"/>
                <a:gd name="connsiteX68" fmla="*/ 130207 w 652975"/>
                <a:gd name="connsiteY68" fmla="*/ 587660 h 662481"/>
                <a:gd name="connsiteX69" fmla="*/ 581376 w 652975"/>
                <a:gd name="connsiteY69" fmla="*/ 133390 h 662481"/>
                <a:gd name="connsiteX70" fmla="*/ 560789 w 652975"/>
                <a:gd name="connsiteY70" fmla="*/ 109579 h 662481"/>
                <a:gd name="connsiteX71" fmla="*/ 567227 w 652975"/>
                <a:gd name="connsiteY71" fmla="*/ 109579 h 662481"/>
                <a:gd name="connsiteX72" fmla="*/ 567227 w 652975"/>
                <a:gd name="connsiteY72" fmla="*/ 116105 h 662481"/>
                <a:gd name="connsiteX73" fmla="*/ 114408 w 652975"/>
                <a:gd name="connsiteY73" fmla="*/ 575128 h 662481"/>
                <a:gd name="connsiteX74" fmla="*/ 107969 w 652975"/>
                <a:gd name="connsiteY74" fmla="*/ 575128 h 662481"/>
                <a:gd name="connsiteX75" fmla="*/ 107969 w 652975"/>
                <a:gd name="connsiteY75" fmla="*/ 568601 h 662481"/>
                <a:gd name="connsiteX76" fmla="*/ 560789 w 652975"/>
                <a:gd name="connsiteY76" fmla="*/ 109579 h 662481"/>
                <a:gd name="connsiteX77" fmla="*/ 540123 w 652975"/>
                <a:gd name="connsiteY77" fmla="*/ 87354 h 662481"/>
                <a:gd name="connsiteX78" fmla="*/ 546583 w 652975"/>
                <a:gd name="connsiteY78" fmla="*/ 87354 h 662481"/>
                <a:gd name="connsiteX79" fmla="*/ 546583 w 652975"/>
                <a:gd name="connsiteY79" fmla="*/ 93880 h 662481"/>
                <a:gd name="connsiteX80" fmla="*/ 92212 w 652975"/>
                <a:gd name="connsiteY80" fmla="*/ 552903 h 662481"/>
                <a:gd name="connsiteX81" fmla="*/ 85752 w 652975"/>
                <a:gd name="connsiteY81" fmla="*/ 552903 h 662481"/>
                <a:gd name="connsiteX82" fmla="*/ 85752 w 652975"/>
                <a:gd name="connsiteY82" fmla="*/ 546376 h 662481"/>
                <a:gd name="connsiteX83" fmla="*/ 540123 w 652975"/>
                <a:gd name="connsiteY83" fmla="*/ 87354 h 662481"/>
                <a:gd name="connsiteX84" fmla="*/ 127255 w 652975"/>
                <a:gd name="connsiteY84" fmla="*/ 69899 h 662481"/>
                <a:gd name="connsiteX85" fmla="*/ 133803 w 652975"/>
                <a:gd name="connsiteY85" fmla="*/ 69899 h 662481"/>
                <a:gd name="connsiteX86" fmla="*/ 133803 w 652975"/>
                <a:gd name="connsiteY86" fmla="*/ 76447 h 662481"/>
                <a:gd name="connsiteX87" fmla="*/ 74867 w 652975"/>
                <a:gd name="connsiteY87" fmla="*/ 135383 h 662481"/>
                <a:gd name="connsiteX88" fmla="*/ 68319 w 652975"/>
                <a:gd name="connsiteY88" fmla="*/ 135383 h 662481"/>
                <a:gd name="connsiteX89" fmla="*/ 68319 w 652975"/>
                <a:gd name="connsiteY89" fmla="*/ 128835 h 662481"/>
                <a:gd name="connsiteX90" fmla="*/ 127255 w 652975"/>
                <a:gd name="connsiteY90" fmla="*/ 69899 h 662481"/>
                <a:gd name="connsiteX91" fmla="*/ 516318 w 652975"/>
                <a:gd name="connsiteY91" fmla="*/ 68302 h 662481"/>
                <a:gd name="connsiteX92" fmla="*/ 522772 w 652975"/>
                <a:gd name="connsiteY92" fmla="*/ 68302 h 662481"/>
                <a:gd name="connsiteX93" fmla="*/ 522772 w 652975"/>
                <a:gd name="connsiteY93" fmla="*/ 74822 h 662481"/>
                <a:gd name="connsiteX94" fmla="*/ 73153 w 652975"/>
                <a:gd name="connsiteY94" fmla="*/ 529093 h 662481"/>
                <a:gd name="connsiteX95" fmla="*/ 66700 w 652975"/>
                <a:gd name="connsiteY95" fmla="*/ 529093 h 662481"/>
                <a:gd name="connsiteX96" fmla="*/ 66700 w 652975"/>
                <a:gd name="connsiteY96" fmla="*/ 522572 h 662481"/>
                <a:gd name="connsiteX97" fmla="*/ 516318 w 652975"/>
                <a:gd name="connsiteY97" fmla="*/ 68302 h 662481"/>
                <a:gd name="connsiteX98" fmla="*/ 490906 w 652975"/>
                <a:gd name="connsiteY98" fmla="*/ 50843 h 662481"/>
                <a:gd name="connsiteX99" fmla="*/ 497370 w 652975"/>
                <a:gd name="connsiteY99" fmla="*/ 50843 h 662481"/>
                <a:gd name="connsiteX100" fmla="*/ 497370 w 652975"/>
                <a:gd name="connsiteY100" fmla="*/ 57375 h 662481"/>
                <a:gd name="connsiteX101" fmla="*/ 55704 w 652975"/>
                <a:gd name="connsiteY101" fmla="*/ 503689 h 662481"/>
                <a:gd name="connsiteX102" fmla="*/ 49241 w 652975"/>
                <a:gd name="connsiteY102" fmla="*/ 503689 h 662481"/>
                <a:gd name="connsiteX103" fmla="*/ 49241 w 652975"/>
                <a:gd name="connsiteY103" fmla="*/ 497158 h 662481"/>
                <a:gd name="connsiteX104" fmla="*/ 490906 w 652975"/>
                <a:gd name="connsiteY104" fmla="*/ 50843 h 662481"/>
                <a:gd name="connsiteX105" fmla="*/ 462327 w 652975"/>
                <a:gd name="connsiteY105" fmla="*/ 34970 h 662481"/>
                <a:gd name="connsiteX106" fmla="*/ 468794 w 652975"/>
                <a:gd name="connsiteY106" fmla="*/ 34970 h 662481"/>
                <a:gd name="connsiteX107" fmla="*/ 468794 w 652975"/>
                <a:gd name="connsiteY107" fmla="*/ 41507 h 662481"/>
                <a:gd name="connsiteX108" fmla="*/ 39834 w 652975"/>
                <a:gd name="connsiteY108" fmla="*/ 475112 h 662481"/>
                <a:gd name="connsiteX109" fmla="*/ 33367 w 652975"/>
                <a:gd name="connsiteY109" fmla="*/ 475112 h 662481"/>
                <a:gd name="connsiteX110" fmla="*/ 33367 w 652975"/>
                <a:gd name="connsiteY110" fmla="*/ 468575 h 662481"/>
                <a:gd name="connsiteX111" fmla="*/ 462327 w 652975"/>
                <a:gd name="connsiteY111" fmla="*/ 34970 h 662481"/>
                <a:gd name="connsiteX112" fmla="*/ 432168 w 652975"/>
                <a:gd name="connsiteY112" fmla="*/ 22270 h 662481"/>
                <a:gd name="connsiteX113" fmla="*/ 438632 w 652975"/>
                <a:gd name="connsiteY113" fmla="*/ 22270 h 662481"/>
                <a:gd name="connsiteX114" fmla="*/ 438632 w 652975"/>
                <a:gd name="connsiteY114" fmla="*/ 28806 h 662481"/>
                <a:gd name="connsiteX115" fmla="*/ 27129 w 652975"/>
                <a:gd name="connsiteY115" fmla="*/ 444950 h 662481"/>
                <a:gd name="connsiteX116" fmla="*/ 20665 w 652975"/>
                <a:gd name="connsiteY116" fmla="*/ 444950 h 662481"/>
                <a:gd name="connsiteX117" fmla="*/ 20665 w 652975"/>
                <a:gd name="connsiteY117" fmla="*/ 438414 h 662481"/>
                <a:gd name="connsiteX118" fmla="*/ 432168 w 652975"/>
                <a:gd name="connsiteY118" fmla="*/ 22270 h 662481"/>
                <a:gd name="connsiteX119" fmla="*/ 219443 w 652975"/>
                <a:gd name="connsiteY119" fmla="*/ 19103 h 662481"/>
                <a:gd name="connsiteX120" fmla="*/ 225907 w 652975"/>
                <a:gd name="connsiteY120" fmla="*/ 19103 h 662481"/>
                <a:gd name="connsiteX121" fmla="*/ 225907 w 652975"/>
                <a:gd name="connsiteY121" fmla="*/ 25663 h 662481"/>
                <a:gd name="connsiteX122" fmla="*/ 25541 w 652975"/>
                <a:gd name="connsiteY122" fmla="*/ 229042 h 662481"/>
                <a:gd name="connsiteX123" fmla="*/ 19077 w 652975"/>
                <a:gd name="connsiteY123" fmla="*/ 229042 h 662481"/>
                <a:gd name="connsiteX124" fmla="*/ 19077 w 652975"/>
                <a:gd name="connsiteY124" fmla="*/ 222482 h 662481"/>
                <a:gd name="connsiteX125" fmla="*/ 219443 w 652975"/>
                <a:gd name="connsiteY125" fmla="*/ 19103 h 662481"/>
                <a:gd name="connsiteX126" fmla="*/ 400433 w 652975"/>
                <a:gd name="connsiteY126" fmla="*/ 11154 h 662481"/>
                <a:gd name="connsiteX127" fmla="*/ 406885 w 652975"/>
                <a:gd name="connsiteY127" fmla="*/ 11154 h 662481"/>
                <a:gd name="connsiteX128" fmla="*/ 406885 w 652975"/>
                <a:gd name="connsiteY128" fmla="*/ 17684 h 662481"/>
                <a:gd name="connsiteX129" fmla="*/ 17589 w 652975"/>
                <a:gd name="connsiteY129" fmla="*/ 411615 h 662481"/>
                <a:gd name="connsiteX130" fmla="*/ 11137 w 652975"/>
                <a:gd name="connsiteY130" fmla="*/ 411615 h 662481"/>
                <a:gd name="connsiteX131" fmla="*/ 11137 w 652975"/>
                <a:gd name="connsiteY131" fmla="*/ 405085 h 662481"/>
                <a:gd name="connsiteX132" fmla="*/ 400433 w 652975"/>
                <a:gd name="connsiteY132" fmla="*/ 11154 h 662481"/>
                <a:gd name="connsiteX133" fmla="*/ 274487 w 652975"/>
                <a:gd name="connsiteY133" fmla="*/ 6397 h 662481"/>
                <a:gd name="connsiteX134" fmla="*/ 283066 w 652975"/>
                <a:gd name="connsiteY134" fmla="*/ 6397 h 662481"/>
                <a:gd name="connsiteX135" fmla="*/ 283066 w 652975"/>
                <a:gd name="connsiteY135" fmla="*/ 12941 h 662481"/>
                <a:gd name="connsiteX136" fmla="*/ 12803 w 652975"/>
                <a:gd name="connsiteY136" fmla="*/ 287785 h 662481"/>
                <a:gd name="connsiteX137" fmla="*/ 6368 w 652975"/>
                <a:gd name="connsiteY137" fmla="*/ 287785 h 662481"/>
                <a:gd name="connsiteX138" fmla="*/ 6368 w 652975"/>
                <a:gd name="connsiteY138" fmla="*/ 279060 h 662481"/>
                <a:gd name="connsiteX139" fmla="*/ 274487 w 652975"/>
                <a:gd name="connsiteY139" fmla="*/ 6397 h 662481"/>
                <a:gd name="connsiteX140" fmla="*/ 363884 w 652975"/>
                <a:gd name="connsiteY140" fmla="*/ 4806 h 662481"/>
                <a:gd name="connsiteX141" fmla="*/ 370363 w 652975"/>
                <a:gd name="connsiteY141" fmla="*/ 4806 h 662481"/>
                <a:gd name="connsiteX142" fmla="*/ 370363 w 652975"/>
                <a:gd name="connsiteY142" fmla="*/ 11341 h 662481"/>
                <a:gd name="connsiteX143" fmla="*/ 9687 w 652975"/>
                <a:gd name="connsiteY143" fmla="*/ 375100 h 662481"/>
                <a:gd name="connsiteX144" fmla="*/ 3207 w 652975"/>
                <a:gd name="connsiteY144" fmla="*/ 375100 h 662481"/>
                <a:gd name="connsiteX145" fmla="*/ 3207 w 652975"/>
                <a:gd name="connsiteY145" fmla="*/ 368565 h 662481"/>
                <a:gd name="connsiteX146" fmla="*/ 363884 w 652975"/>
                <a:gd name="connsiteY146" fmla="*/ 4806 h 662481"/>
                <a:gd name="connsiteX147" fmla="*/ 322631 w 652975"/>
                <a:gd name="connsiteY147" fmla="*/ 1638 h 662481"/>
                <a:gd name="connsiteX148" fmla="*/ 329095 w 652975"/>
                <a:gd name="connsiteY148" fmla="*/ 1638 h 662481"/>
                <a:gd name="connsiteX149" fmla="*/ 329095 w 652975"/>
                <a:gd name="connsiteY149" fmla="*/ 8194 h 662481"/>
                <a:gd name="connsiteX150" fmla="*/ 8079 w 652975"/>
                <a:gd name="connsiteY150" fmla="*/ 333818 h 662481"/>
                <a:gd name="connsiteX151" fmla="*/ 1615 w 652975"/>
                <a:gd name="connsiteY151" fmla="*/ 333818 h 662481"/>
                <a:gd name="connsiteX152" fmla="*/ 1615 w 652975"/>
                <a:gd name="connsiteY152" fmla="*/ 327262 h 662481"/>
                <a:gd name="connsiteX153" fmla="*/ 322631 w 652975"/>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5"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95" y="433440"/>
                  </a:moveTo>
                  <a:cubicBezTo>
                    <a:pt x="629633" y="431253"/>
                    <a:pt x="631772" y="431253"/>
                    <a:pt x="633910" y="433440"/>
                  </a:cubicBezTo>
                  <a:cubicBezTo>
                    <a:pt x="636048" y="435627"/>
                    <a:pt x="636048" y="437814"/>
                    <a:pt x="633910" y="440001"/>
                  </a:cubicBezTo>
                  <a:cubicBezTo>
                    <a:pt x="633910" y="440001"/>
                    <a:pt x="633910" y="440001"/>
                    <a:pt x="435051" y="643379"/>
                  </a:cubicBezTo>
                  <a:cubicBezTo>
                    <a:pt x="432913" y="645566"/>
                    <a:pt x="430775" y="645566"/>
                    <a:pt x="428637" y="643379"/>
                  </a:cubicBezTo>
                  <a:cubicBezTo>
                    <a:pt x="426498" y="641192"/>
                    <a:pt x="426498" y="639006"/>
                    <a:pt x="428637" y="636819"/>
                  </a:cubicBezTo>
                  <a:cubicBezTo>
                    <a:pt x="428637" y="636819"/>
                    <a:pt x="428637" y="636819"/>
                    <a:pt x="627495" y="433440"/>
                  </a:cubicBezTo>
                  <a:close/>
                  <a:moveTo>
                    <a:pt x="641708" y="374697"/>
                  </a:moveTo>
                  <a:cubicBezTo>
                    <a:pt x="643865" y="372516"/>
                    <a:pt x="648179" y="372516"/>
                    <a:pt x="648179" y="374697"/>
                  </a:cubicBezTo>
                  <a:cubicBezTo>
                    <a:pt x="650336" y="376879"/>
                    <a:pt x="650336" y="381241"/>
                    <a:pt x="648179" y="383423"/>
                  </a:cubicBezTo>
                  <a:cubicBezTo>
                    <a:pt x="648179" y="383423"/>
                    <a:pt x="648179" y="383423"/>
                    <a:pt x="378547" y="656085"/>
                  </a:cubicBezTo>
                  <a:cubicBezTo>
                    <a:pt x="376389" y="658266"/>
                    <a:pt x="372075" y="658266"/>
                    <a:pt x="369918" y="656085"/>
                  </a:cubicBezTo>
                  <a:cubicBezTo>
                    <a:pt x="367761" y="656085"/>
                    <a:pt x="367761" y="651722"/>
                    <a:pt x="369918" y="649541"/>
                  </a:cubicBezTo>
                  <a:cubicBezTo>
                    <a:pt x="369918" y="649541"/>
                    <a:pt x="369918" y="649541"/>
                    <a:pt x="641708" y="374697"/>
                  </a:cubicBezTo>
                  <a:close/>
                  <a:moveTo>
                    <a:pt x="644935" y="328664"/>
                  </a:moveTo>
                  <a:cubicBezTo>
                    <a:pt x="647079" y="326478"/>
                    <a:pt x="649223" y="326478"/>
                    <a:pt x="651367" y="328664"/>
                  </a:cubicBezTo>
                  <a:cubicBezTo>
                    <a:pt x="653511" y="330849"/>
                    <a:pt x="653511" y="333034"/>
                    <a:pt x="651367" y="335220"/>
                  </a:cubicBezTo>
                  <a:cubicBezTo>
                    <a:pt x="651367" y="335220"/>
                    <a:pt x="651367" y="335220"/>
                    <a:pt x="331888" y="660843"/>
                  </a:cubicBezTo>
                  <a:cubicBezTo>
                    <a:pt x="329744" y="663028"/>
                    <a:pt x="327600" y="663028"/>
                    <a:pt x="325455" y="660843"/>
                  </a:cubicBezTo>
                  <a:cubicBezTo>
                    <a:pt x="323311" y="658657"/>
                    <a:pt x="323311" y="656472"/>
                    <a:pt x="325455" y="654287"/>
                  </a:cubicBezTo>
                  <a:cubicBezTo>
                    <a:pt x="325455" y="654287"/>
                    <a:pt x="325455" y="654287"/>
                    <a:pt x="644935" y="328664"/>
                  </a:cubicBezTo>
                  <a:close/>
                  <a:moveTo>
                    <a:pt x="643322" y="287381"/>
                  </a:moveTo>
                  <a:cubicBezTo>
                    <a:pt x="645473" y="285203"/>
                    <a:pt x="647623" y="285203"/>
                    <a:pt x="649774" y="287381"/>
                  </a:cubicBezTo>
                  <a:cubicBezTo>
                    <a:pt x="651924" y="289560"/>
                    <a:pt x="651924" y="291738"/>
                    <a:pt x="649774" y="293916"/>
                  </a:cubicBezTo>
                  <a:cubicBezTo>
                    <a:pt x="649774" y="293916"/>
                    <a:pt x="649774" y="293916"/>
                    <a:pt x="290638" y="657675"/>
                  </a:cubicBezTo>
                  <a:cubicBezTo>
                    <a:pt x="288488" y="659853"/>
                    <a:pt x="286337" y="659853"/>
                    <a:pt x="284187" y="657675"/>
                  </a:cubicBezTo>
                  <a:cubicBezTo>
                    <a:pt x="282036" y="655497"/>
                    <a:pt x="282036" y="653319"/>
                    <a:pt x="284187" y="651140"/>
                  </a:cubicBezTo>
                  <a:cubicBezTo>
                    <a:pt x="284187" y="651140"/>
                    <a:pt x="284187" y="651140"/>
                    <a:pt x="643322" y="287381"/>
                  </a:cubicBezTo>
                  <a:close/>
                  <a:moveTo>
                    <a:pt x="636970" y="250868"/>
                  </a:moveTo>
                  <a:cubicBezTo>
                    <a:pt x="639121" y="248691"/>
                    <a:pt x="641272" y="248691"/>
                    <a:pt x="643422" y="250868"/>
                  </a:cubicBezTo>
                  <a:cubicBezTo>
                    <a:pt x="645573" y="253044"/>
                    <a:pt x="645573" y="255220"/>
                    <a:pt x="643422" y="257397"/>
                  </a:cubicBezTo>
                  <a:cubicBezTo>
                    <a:pt x="643422" y="257397"/>
                    <a:pt x="643422" y="257397"/>
                    <a:pt x="254126" y="651328"/>
                  </a:cubicBezTo>
                  <a:cubicBezTo>
                    <a:pt x="251976" y="653504"/>
                    <a:pt x="249825" y="653504"/>
                    <a:pt x="247674" y="651328"/>
                  </a:cubicBezTo>
                  <a:cubicBezTo>
                    <a:pt x="245523" y="649151"/>
                    <a:pt x="245523" y="646975"/>
                    <a:pt x="247674" y="644798"/>
                  </a:cubicBezTo>
                  <a:cubicBezTo>
                    <a:pt x="247674" y="644798"/>
                    <a:pt x="247674" y="644798"/>
                    <a:pt x="636970"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8856" y="158793"/>
                  </a:moveTo>
                  <a:cubicBezTo>
                    <a:pt x="601011" y="156616"/>
                    <a:pt x="603165" y="156616"/>
                    <a:pt x="605320" y="158793"/>
                  </a:cubicBezTo>
                  <a:cubicBezTo>
                    <a:pt x="607474" y="160970"/>
                    <a:pt x="607474" y="163148"/>
                    <a:pt x="605320" y="165325"/>
                  </a:cubicBezTo>
                  <a:cubicBezTo>
                    <a:pt x="605320" y="165325"/>
                    <a:pt x="605320" y="165325"/>
                    <a:pt x="163654" y="611639"/>
                  </a:cubicBezTo>
                  <a:cubicBezTo>
                    <a:pt x="161500" y="613816"/>
                    <a:pt x="159345" y="613816"/>
                    <a:pt x="157191" y="611639"/>
                  </a:cubicBezTo>
                  <a:cubicBezTo>
                    <a:pt x="155036" y="609462"/>
                    <a:pt x="155036" y="607285"/>
                    <a:pt x="157191" y="605108"/>
                  </a:cubicBezTo>
                  <a:cubicBezTo>
                    <a:pt x="157191" y="605108"/>
                    <a:pt x="157191" y="605108"/>
                    <a:pt x="598856" y="158793"/>
                  </a:cubicBezTo>
                  <a:close/>
                  <a:moveTo>
                    <a:pt x="581376" y="133390"/>
                  </a:moveTo>
                  <a:cubicBezTo>
                    <a:pt x="583535" y="131216"/>
                    <a:pt x="585694" y="131216"/>
                    <a:pt x="587853" y="133390"/>
                  </a:cubicBezTo>
                  <a:cubicBezTo>
                    <a:pt x="590011" y="135563"/>
                    <a:pt x="590011" y="137737"/>
                    <a:pt x="587853" y="139910"/>
                  </a:cubicBezTo>
                  <a:cubicBezTo>
                    <a:pt x="587853" y="139910"/>
                    <a:pt x="587853" y="139910"/>
                    <a:pt x="136683" y="594181"/>
                  </a:cubicBezTo>
                  <a:cubicBezTo>
                    <a:pt x="134524" y="596354"/>
                    <a:pt x="132366" y="596354"/>
                    <a:pt x="130207" y="594181"/>
                  </a:cubicBezTo>
                  <a:cubicBezTo>
                    <a:pt x="128048" y="592007"/>
                    <a:pt x="128048" y="589834"/>
                    <a:pt x="130207" y="587660"/>
                  </a:cubicBezTo>
                  <a:cubicBezTo>
                    <a:pt x="130207" y="587660"/>
                    <a:pt x="130207" y="587660"/>
                    <a:pt x="581376" y="133390"/>
                  </a:cubicBezTo>
                  <a:close/>
                  <a:moveTo>
                    <a:pt x="560789" y="109579"/>
                  </a:moveTo>
                  <a:cubicBezTo>
                    <a:pt x="562935" y="107403"/>
                    <a:pt x="565081" y="107403"/>
                    <a:pt x="567227" y="109579"/>
                  </a:cubicBezTo>
                  <a:cubicBezTo>
                    <a:pt x="569373" y="111754"/>
                    <a:pt x="569373" y="113930"/>
                    <a:pt x="567227" y="116105"/>
                  </a:cubicBezTo>
                  <a:cubicBezTo>
                    <a:pt x="567227" y="116105"/>
                    <a:pt x="567227" y="116105"/>
                    <a:pt x="114408" y="575128"/>
                  </a:cubicBezTo>
                  <a:cubicBezTo>
                    <a:pt x="112261" y="577303"/>
                    <a:pt x="110115" y="577303"/>
                    <a:pt x="107969" y="575128"/>
                  </a:cubicBezTo>
                  <a:cubicBezTo>
                    <a:pt x="105823" y="572952"/>
                    <a:pt x="105823" y="570777"/>
                    <a:pt x="107969" y="568601"/>
                  </a:cubicBezTo>
                  <a:cubicBezTo>
                    <a:pt x="107969" y="568601"/>
                    <a:pt x="107969" y="568601"/>
                    <a:pt x="560789"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7255" y="69899"/>
                  </a:moveTo>
                  <a:cubicBezTo>
                    <a:pt x="129438" y="67716"/>
                    <a:pt x="131621" y="67716"/>
                    <a:pt x="133803" y="69899"/>
                  </a:cubicBezTo>
                  <a:cubicBezTo>
                    <a:pt x="135986" y="72082"/>
                    <a:pt x="135986" y="76447"/>
                    <a:pt x="133803" y="76447"/>
                  </a:cubicBezTo>
                  <a:cubicBezTo>
                    <a:pt x="133803" y="76447"/>
                    <a:pt x="133803" y="76447"/>
                    <a:pt x="74867" y="135383"/>
                  </a:cubicBezTo>
                  <a:cubicBezTo>
                    <a:pt x="74867" y="137566"/>
                    <a:pt x="70502" y="137566"/>
                    <a:pt x="68319" y="135383"/>
                  </a:cubicBezTo>
                  <a:cubicBezTo>
                    <a:pt x="66136" y="133201"/>
                    <a:pt x="66136" y="131018"/>
                    <a:pt x="68319" y="128835"/>
                  </a:cubicBezTo>
                  <a:cubicBezTo>
                    <a:pt x="68319" y="128835"/>
                    <a:pt x="68319" y="128835"/>
                    <a:pt x="127255" y="69899"/>
                  </a:cubicBezTo>
                  <a:close/>
                  <a:moveTo>
                    <a:pt x="516318" y="68302"/>
                  </a:moveTo>
                  <a:cubicBezTo>
                    <a:pt x="518469" y="66128"/>
                    <a:pt x="520621" y="66128"/>
                    <a:pt x="522772" y="68302"/>
                  </a:cubicBezTo>
                  <a:cubicBezTo>
                    <a:pt x="524923" y="70475"/>
                    <a:pt x="524923" y="72649"/>
                    <a:pt x="522772" y="74822"/>
                  </a:cubicBezTo>
                  <a:cubicBezTo>
                    <a:pt x="522772" y="74822"/>
                    <a:pt x="522772" y="74822"/>
                    <a:pt x="73153" y="529093"/>
                  </a:cubicBezTo>
                  <a:cubicBezTo>
                    <a:pt x="71002" y="531266"/>
                    <a:pt x="68851" y="531266"/>
                    <a:pt x="66700" y="529093"/>
                  </a:cubicBezTo>
                  <a:cubicBezTo>
                    <a:pt x="64548" y="526919"/>
                    <a:pt x="64548" y="524746"/>
                    <a:pt x="66700" y="522572"/>
                  </a:cubicBezTo>
                  <a:cubicBezTo>
                    <a:pt x="66700" y="522572"/>
                    <a:pt x="66700" y="522572"/>
                    <a:pt x="516318" y="68302"/>
                  </a:cubicBezTo>
                  <a:close/>
                  <a:moveTo>
                    <a:pt x="490906" y="50843"/>
                  </a:moveTo>
                  <a:cubicBezTo>
                    <a:pt x="493061" y="48666"/>
                    <a:pt x="495215" y="48666"/>
                    <a:pt x="497370" y="50843"/>
                  </a:cubicBezTo>
                  <a:cubicBezTo>
                    <a:pt x="499524" y="53020"/>
                    <a:pt x="499524" y="55198"/>
                    <a:pt x="497370" y="57375"/>
                  </a:cubicBezTo>
                  <a:cubicBezTo>
                    <a:pt x="497370" y="57375"/>
                    <a:pt x="497370" y="57375"/>
                    <a:pt x="55704" y="503689"/>
                  </a:cubicBezTo>
                  <a:cubicBezTo>
                    <a:pt x="53550" y="505866"/>
                    <a:pt x="51395" y="505866"/>
                    <a:pt x="49241" y="503689"/>
                  </a:cubicBezTo>
                  <a:cubicBezTo>
                    <a:pt x="47086" y="501512"/>
                    <a:pt x="47086" y="499335"/>
                    <a:pt x="49241" y="497158"/>
                  </a:cubicBezTo>
                  <a:cubicBezTo>
                    <a:pt x="49241" y="497158"/>
                    <a:pt x="49241" y="497158"/>
                    <a:pt x="490906"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4"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400433" y="11154"/>
                  </a:moveTo>
                  <a:cubicBezTo>
                    <a:pt x="402584" y="8978"/>
                    <a:pt x="404735" y="8978"/>
                    <a:pt x="406885" y="11154"/>
                  </a:cubicBezTo>
                  <a:cubicBezTo>
                    <a:pt x="409036" y="13331"/>
                    <a:pt x="409036" y="15507"/>
                    <a:pt x="406885" y="17684"/>
                  </a:cubicBezTo>
                  <a:cubicBezTo>
                    <a:pt x="406885" y="17684"/>
                    <a:pt x="406885" y="17684"/>
                    <a:pt x="17589" y="411615"/>
                  </a:cubicBezTo>
                  <a:cubicBezTo>
                    <a:pt x="15438" y="413791"/>
                    <a:pt x="13287" y="413791"/>
                    <a:pt x="11137" y="411615"/>
                  </a:cubicBezTo>
                  <a:cubicBezTo>
                    <a:pt x="8986" y="409438"/>
                    <a:pt x="8986" y="407262"/>
                    <a:pt x="11137" y="405085"/>
                  </a:cubicBezTo>
                  <a:cubicBezTo>
                    <a:pt x="11137" y="405085"/>
                    <a:pt x="11137" y="405085"/>
                    <a:pt x="400433"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3884" y="4806"/>
                  </a:moveTo>
                  <a:cubicBezTo>
                    <a:pt x="366044" y="2628"/>
                    <a:pt x="368204" y="2628"/>
                    <a:pt x="370363" y="4806"/>
                  </a:cubicBezTo>
                  <a:cubicBezTo>
                    <a:pt x="372523" y="6984"/>
                    <a:pt x="372523" y="9162"/>
                    <a:pt x="370363" y="11341"/>
                  </a:cubicBezTo>
                  <a:cubicBezTo>
                    <a:pt x="370363" y="11341"/>
                    <a:pt x="370363" y="11341"/>
                    <a:pt x="9687" y="375100"/>
                  </a:cubicBezTo>
                  <a:cubicBezTo>
                    <a:pt x="7527" y="377278"/>
                    <a:pt x="5367" y="377278"/>
                    <a:pt x="3207" y="375100"/>
                  </a:cubicBezTo>
                  <a:cubicBezTo>
                    <a:pt x="1048" y="372922"/>
                    <a:pt x="1048" y="370744"/>
                    <a:pt x="3207" y="368565"/>
                  </a:cubicBezTo>
                  <a:cubicBezTo>
                    <a:pt x="3207" y="368565"/>
                    <a:pt x="3207" y="368565"/>
                    <a:pt x="36388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a:p>
          </p:txBody>
        </p:sp>
        <p:pic>
          <p:nvPicPr>
            <p:cNvPr id="332" name="Picture 331" descr="A picture containing food&#10;&#10;Description automatically generated">
              <a:extLst>
                <a:ext uri="{FF2B5EF4-FFF2-40B4-BE49-F238E27FC236}">
                  <a16:creationId xmlns:a16="http://schemas.microsoft.com/office/drawing/2014/main" id="{A3A736EF-8DE4-483D-8ED6-3F66766FD6C7}"/>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saturation sat="0"/>
                      </a14:imgEffect>
                      <a14:imgEffect>
                        <a14:brightnessContrast bright="-6000"/>
                      </a14:imgEffect>
                    </a14:imgLayer>
                  </a14:imgProps>
                </a:ext>
                <a:ext uri="{28A0092B-C50C-407E-A947-70E740481C1C}">
                  <a14:useLocalDpi xmlns:a14="http://schemas.microsoft.com/office/drawing/2010/main"/>
                </a:ext>
              </a:extLst>
            </a:blip>
            <a:srcRect/>
            <a:stretch/>
          </p:blipFill>
          <p:spPr>
            <a:xfrm>
              <a:off x="4934163" y="911098"/>
              <a:ext cx="2633203" cy="2746282"/>
            </a:xfrm>
            <a:custGeom>
              <a:avLst/>
              <a:gdLst>
                <a:gd name="connsiteX0" fmla="*/ 1412522 w 2633203"/>
                <a:gd name="connsiteY0" fmla="*/ 0 h 2746282"/>
                <a:gd name="connsiteX1" fmla="*/ 1847991 w 2633203"/>
                <a:gd name="connsiteY1" fmla="*/ 0 h 2746282"/>
                <a:gd name="connsiteX2" fmla="*/ 1958810 w 2633203"/>
                <a:gd name="connsiteY2" fmla="*/ 16913 h 2746282"/>
                <a:gd name="connsiteX3" fmla="*/ 2541748 w 2633203"/>
                <a:gd name="connsiteY3" fmla="*/ 262214 h 2746282"/>
                <a:gd name="connsiteX4" fmla="*/ 2633203 w 2633203"/>
                <a:gd name="connsiteY4" fmla="*/ 330603 h 2746282"/>
                <a:gd name="connsiteX5" fmla="*/ 2633203 w 2633203"/>
                <a:gd name="connsiteY5" fmla="*/ 2746282 h 2746282"/>
                <a:gd name="connsiteX6" fmla="*/ 458831 w 2633203"/>
                <a:gd name="connsiteY6" fmla="*/ 2746282 h 2746282"/>
                <a:gd name="connsiteX7" fmla="*/ 372271 w 2633203"/>
                <a:gd name="connsiteY7" fmla="*/ 2651043 h 2746282"/>
                <a:gd name="connsiteX8" fmla="*/ 0 w 2633203"/>
                <a:gd name="connsiteY8" fmla="*/ 1614048 h 2746282"/>
                <a:gd name="connsiteX9" fmla="*/ 1301703 w 2633203"/>
                <a:gd name="connsiteY9" fmla="*/ 16913 h 2746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3203" h="2746282">
                  <a:moveTo>
                    <a:pt x="1412522" y="0"/>
                  </a:moveTo>
                  <a:lnTo>
                    <a:pt x="1847991" y="0"/>
                  </a:lnTo>
                  <a:lnTo>
                    <a:pt x="1958810" y="16913"/>
                  </a:lnTo>
                  <a:cubicBezTo>
                    <a:pt x="2171061" y="60346"/>
                    <a:pt x="2368288" y="145027"/>
                    <a:pt x="2541748" y="262214"/>
                  </a:cubicBezTo>
                  <a:lnTo>
                    <a:pt x="2633203" y="330603"/>
                  </a:lnTo>
                  <a:lnTo>
                    <a:pt x="2633203" y="2746282"/>
                  </a:lnTo>
                  <a:lnTo>
                    <a:pt x="458831" y="2746282"/>
                  </a:lnTo>
                  <a:lnTo>
                    <a:pt x="372271" y="2651043"/>
                  </a:lnTo>
                  <a:cubicBezTo>
                    <a:pt x="139706" y="2369238"/>
                    <a:pt x="0" y="2007958"/>
                    <a:pt x="0" y="1614048"/>
                  </a:cubicBezTo>
                  <a:cubicBezTo>
                    <a:pt x="0" y="826228"/>
                    <a:pt x="558822" y="168928"/>
                    <a:pt x="1301703" y="16913"/>
                  </a:cubicBezTo>
                  <a:close/>
                </a:path>
              </a:pathLst>
            </a:custGeom>
          </p:spPr>
        </p:pic>
        <p:sp>
          <p:nvSpPr>
            <p:cNvPr id="333" name="Arc 332">
              <a:extLst>
                <a:ext uri="{FF2B5EF4-FFF2-40B4-BE49-F238E27FC236}">
                  <a16:creationId xmlns:a16="http://schemas.microsoft.com/office/drawing/2014/main" id="{45055F8F-47A3-4B7C-8316-1B2F269075FB}"/>
                </a:ext>
              </a:extLst>
            </p:cNvPr>
            <p:cNvSpPr/>
            <p:nvPr/>
          </p:nvSpPr>
          <p:spPr>
            <a:xfrm>
              <a:off x="4934163" y="901573"/>
              <a:ext cx="3260511" cy="3260511"/>
            </a:xfrm>
            <a:prstGeom prst="arc">
              <a:avLst>
                <a:gd name="adj1" fmla="val 64536"/>
                <a:gd name="adj2" fmla="val 15721895"/>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a:p>
          </p:txBody>
        </p:sp>
        <p:pic>
          <p:nvPicPr>
            <p:cNvPr id="334" name="Picture 333" descr="A picture containing food&#10;&#10;Description automatically generated">
              <a:extLst>
                <a:ext uri="{FF2B5EF4-FFF2-40B4-BE49-F238E27FC236}">
                  <a16:creationId xmlns:a16="http://schemas.microsoft.com/office/drawing/2014/main" id="{5A436A37-675B-413C-9288-8B7131DBDE54}"/>
                </a:ext>
              </a:extLst>
            </p:cNvPr>
            <p:cNvPicPr>
              <a:picLocks noChangeAspect="1"/>
            </p:cNvPicPr>
            <p:nvPr/>
          </p:nvPicPr>
          <p:blipFill rotWithShape="1">
            <a:blip r:embed="rId6" cstate="screen">
              <a:duotone>
                <a:prstClr val="black"/>
                <a:schemeClr val="accent4">
                  <a:tint val="45000"/>
                  <a:satMod val="400000"/>
                </a:schemeClr>
              </a:duotone>
              <a:extLst>
                <a:ext uri="{BEBA8EAE-BF5A-486C-A8C5-ECC9F3942E4B}">
                  <a14:imgProps xmlns:a14="http://schemas.microsoft.com/office/drawing/2010/main">
                    <a14:imgLayer r:embed="rId7">
                      <a14:imgEffect>
                        <a14:brightnessContrast bright="-3000" contrast="10000"/>
                      </a14:imgEffect>
                    </a14:imgLayer>
                  </a14:imgProps>
                </a:ext>
                <a:ext uri="{28A0092B-C50C-407E-A947-70E740481C1C}">
                  <a14:useLocalDpi xmlns:a14="http://schemas.microsoft.com/office/drawing/2010/main"/>
                </a:ext>
              </a:extLst>
            </a:blip>
            <a:srcRect/>
            <a:stretch/>
          </p:blipFill>
          <p:spPr>
            <a:xfrm>
              <a:off x="6310965" y="1132556"/>
              <a:ext cx="1256401" cy="1328539"/>
            </a:xfrm>
            <a:custGeom>
              <a:avLst/>
              <a:gdLst>
                <a:gd name="connsiteX0" fmla="*/ 902154 w 1706336"/>
                <a:gd name="connsiteY0" fmla="*/ 0 h 1804308"/>
                <a:gd name="connsiteX1" fmla="*/ 1695423 w 1706336"/>
                <a:gd name="connsiteY1" fmla="*/ 472134 h 1804308"/>
                <a:gd name="connsiteX2" fmla="*/ 1706336 w 1706336"/>
                <a:gd name="connsiteY2" fmla="*/ 494788 h 1804308"/>
                <a:gd name="connsiteX3" fmla="*/ 1706336 w 1706336"/>
                <a:gd name="connsiteY3" fmla="*/ 1309520 h 1804308"/>
                <a:gd name="connsiteX4" fmla="*/ 1695423 w 1706336"/>
                <a:gd name="connsiteY4" fmla="*/ 1332174 h 1804308"/>
                <a:gd name="connsiteX5" fmla="*/ 902154 w 1706336"/>
                <a:gd name="connsiteY5" fmla="*/ 1804308 h 1804308"/>
                <a:gd name="connsiteX6" fmla="*/ 0 w 1706336"/>
                <a:gd name="connsiteY6" fmla="*/ 902154 h 1804308"/>
                <a:gd name="connsiteX7" fmla="*/ 902154 w 1706336"/>
                <a:gd name="connsiteY7" fmla="*/ 0 h 180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6336" h="1804308">
                  <a:moveTo>
                    <a:pt x="902154" y="0"/>
                  </a:moveTo>
                  <a:cubicBezTo>
                    <a:pt x="1244698" y="0"/>
                    <a:pt x="1542653" y="190910"/>
                    <a:pt x="1695423" y="472134"/>
                  </a:cubicBezTo>
                  <a:lnTo>
                    <a:pt x="1706336" y="494788"/>
                  </a:lnTo>
                  <a:lnTo>
                    <a:pt x="1706336" y="1309520"/>
                  </a:lnTo>
                  <a:lnTo>
                    <a:pt x="1695423" y="1332174"/>
                  </a:lnTo>
                  <a:cubicBezTo>
                    <a:pt x="1542653" y="1613399"/>
                    <a:pt x="1244698" y="1804308"/>
                    <a:pt x="902154" y="1804308"/>
                  </a:cubicBezTo>
                  <a:cubicBezTo>
                    <a:pt x="403908" y="1804308"/>
                    <a:pt x="0" y="1400400"/>
                    <a:pt x="0" y="902154"/>
                  </a:cubicBezTo>
                  <a:cubicBezTo>
                    <a:pt x="0" y="403908"/>
                    <a:pt x="403908" y="0"/>
                    <a:pt x="902154" y="0"/>
                  </a:cubicBezTo>
                  <a:close/>
                </a:path>
              </a:pathLst>
            </a:custGeom>
          </p:spPr>
        </p:pic>
        <p:grpSp>
          <p:nvGrpSpPr>
            <p:cNvPr id="335" name="Group 334">
              <a:extLst>
                <a:ext uri="{FF2B5EF4-FFF2-40B4-BE49-F238E27FC236}">
                  <a16:creationId xmlns:a16="http://schemas.microsoft.com/office/drawing/2014/main" id="{99305A7D-64CC-4552-B46D-65724B1C890B}"/>
                </a:ext>
              </a:extLst>
            </p:cNvPr>
            <p:cNvGrpSpPr/>
            <p:nvPr/>
          </p:nvGrpSpPr>
          <p:grpSpPr>
            <a:xfrm>
              <a:off x="7569722" y="3336268"/>
              <a:ext cx="147488" cy="905660"/>
              <a:chOff x="7569722" y="3336268"/>
              <a:chExt cx="147488" cy="905660"/>
            </a:xfrm>
          </p:grpSpPr>
          <p:sp>
            <p:nvSpPr>
              <p:cNvPr id="345" name="Freeform: Shape 344">
                <a:extLst>
                  <a:ext uri="{FF2B5EF4-FFF2-40B4-BE49-F238E27FC236}">
                    <a16:creationId xmlns:a16="http://schemas.microsoft.com/office/drawing/2014/main" id="{F4D21FEF-9110-4D33-9C61-9AA9F331162D}"/>
                  </a:ext>
                </a:extLst>
              </p:cNvPr>
              <p:cNvSpPr/>
              <p:nvPr/>
            </p:nvSpPr>
            <p:spPr>
              <a:xfrm rot="5400000">
                <a:off x="7568628" y="4093347"/>
                <a:ext cx="149675" cy="147488"/>
              </a:xfrm>
              <a:custGeom>
                <a:avLst/>
                <a:gdLst>
                  <a:gd name="connsiteX0" fmla="*/ 74838 w 149675"/>
                  <a:gd name="connsiteY0" fmla="*/ 0 h 147488"/>
                  <a:gd name="connsiteX1" fmla="*/ 149676 w 149675"/>
                  <a:gd name="connsiteY1" fmla="*/ 73744 h 147488"/>
                  <a:gd name="connsiteX2" fmla="*/ 74838 w 149675"/>
                  <a:gd name="connsiteY2" fmla="*/ 147489 h 147488"/>
                  <a:gd name="connsiteX3" fmla="*/ 0 w 149675"/>
                  <a:gd name="connsiteY3" fmla="*/ 73744 h 147488"/>
                  <a:gd name="connsiteX4" fmla="*/ 74838 w 149675"/>
                  <a:gd name="connsiteY4" fmla="*/ 0 h 147488"/>
                  <a:gd name="connsiteX5" fmla="*/ 74838 w 149675"/>
                  <a:gd name="connsiteY5" fmla="*/ 0 h 14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675" h="147488">
                    <a:moveTo>
                      <a:pt x="74838" y="0"/>
                    </a:moveTo>
                    <a:cubicBezTo>
                      <a:pt x="116156" y="0"/>
                      <a:pt x="149676" y="32997"/>
                      <a:pt x="149676" y="73744"/>
                    </a:cubicBezTo>
                    <a:cubicBezTo>
                      <a:pt x="149676" y="114492"/>
                      <a:pt x="116156" y="147489"/>
                      <a:pt x="74838" y="147489"/>
                    </a:cubicBezTo>
                    <a:cubicBezTo>
                      <a:pt x="33520" y="147489"/>
                      <a:pt x="0" y="114444"/>
                      <a:pt x="0" y="73744"/>
                    </a:cubicBezTo>
                    <a:cubicBezTo>
                      <a:pt x="0" y="33045"/>
                      <a:pt x="33520" y="0"/>
                      <a:pt x="74838" y="0"/>
                    </a:cubicBezTo>
                    <a:lnTo>
                      <a:pt x="74838" y="0"/>
                    </a:lnTo>
                    <a:close/>
                  </a:path>
                </a:pathLst>
              </a:custGeom>
              <a:solidFill>
                <a:srgbClr val="6ABF4A"/>
              </a:solidFill>
              <a:ln w="4749" cap="flat">
                <a:noFill/>
                <a:prstDash val="solid"/>
                <a:miter/>
              </a:ln>
            </p:spPr>
            <p:txBody>
              <a:bodyPr rtlCol="0" anchor="ctr"/>
              <a:lstStyle/>
              <a:p>
                <a:endParaRPr lang="en-IN"/>
              </a:p>
            </p:txBody>
          </p:sp>
          <p:sp>
            <p:nvSpPr>
              <p:cNvPr id="346" name="Freeform: Shape 345">
                <a:extLst>
                  <a:ext uri="{FF2B5EF4-FFF2-40B4-BE49-F238E27FC236}">
                    <a16:creationId xmlns:a16="http://schemas.microsoft.com/office/drawing/2014/main" id="{15C67D26-2DBA-40A3-B02A-CE863D525A83}"/>
                  </a:ext>
                </a:extLst>
              </p:cNvPr>
              <p:cNvSpPr/>
              <p:nvPr/>
            </p:nvSpPr>
            <p:spPr>
              <a:xfrm rot="5400000">
                <a:off x="7210794" y="3728525"/>
                <a:ext cx="865342" cy="80828"/>
              </a:xfrm>
              <a:custGeom>
                <a:avLst/>
                <a:gdLst>
                  <a:gd name="connsiteX0" fmla="*/ 40414 w 865342"/>
                  <a:gd name="connsiteY0" fmla="*/ 0 h 80828"/>
                  <a:gd name="connsiteX1" fmla="*/ 824928 w 865342"/>
                  <a:gd name="connsiteY1" fmla="*/ 0 h 80828"/>
                  <a:gd name="connsiteX2" fmla="*/ 865343 w 865342"/>
                  <a:gd name="connsiteY2" fmla="*/ 40414 h 80828"/>
                  <a:gd name="connsiteX3" fmla="*/ 824928 w 865342"/>
                  <a:gd name="connsiteY3" fmla="*/ 80829 h 80828"/>
                  <a:gd name="connsiteX4" fmla="*/ 40414 w 865342"/>
                  <a:gd name="connsiteY4" fmla="*/ 80829 h 80828"/>
                  <a:gd name="connsiteX5" fmla="*/ 0 w 865342"/>
                  <a:gd name="connsiteY5" fmla="*/ 40414 h 80828"/>
                  <a:gd name="connsiteX6" fmla="*/ 40414 w 865342"/>
                  <a:gd name="connsiteY6" fmla="*/ 0 h 80828"/>
                  <a:gd name="connsiteX7" fmla="*/ 40414 w 865342"/>
                  <a:gd name="connsiteY7" fmla="*/ 0 h 8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5342" h="80828">
                    <a:moveTo>
                      <a:pt x="40414" y="0"/>
                    </a:moveTo>
                    <a:lnTo>
                      <a:pt x="824928" y="0"/>
                    </a:lnTo>
                    <a:cubicBezTo>
                      <a:pt x="847275" y="0"/>
                      <a:pt x="865343" y="18115"/>
                      <a:pt x="865343" y="40414"/>
                    </a:cubicBezTo>
                    <a:cubicBezTo>
                      <a:pt x="865343" y="62761"/>
                      <a:pt x="847275" y="80829"/>
                      <a:pt x="824928" y="80829"/>
                    </a:cubicBezTo>
                    <a:lnTo>
                      <a:pt x="40414" y="80829"/>
                    </a:lnTo>
                    <a:cubicBezTo>
                      <a:pt x="18068" y="80829"/>
                      <a:pt x="0" y="62714"/>
                      <a:pt x="0" y="40414"/>
                    </a:cubicBezTo>
                    <a:cubicBezTo>
                      <a:pt x="0" y="18115"/>
                      <a:pt x="18115" y="0"/>
                      <a:pt x="40414" y="0"/>
                    </a:cubicBezTo>
                    <a:lnTo>
                      <a:pt x="40414" y="0"/>
                    </a:lnTo>
                    <a:close/>
                  </a:path>
                </a:pathLst>
              </a:custGeom>
              <a:solidFill>
                <a:srgbClr val="0BBCEA"/>
              </a:solidFill>
              <a:ln w="4749" cap="flat">
                <a:noFill/>
                <a:prstDash val="solid"/>
                <a:miter/>
              </a:ln>
            </p:spPr>
            <p:txBody>
              <a:bodyPr rtlCol="0" anchor="ctr"/>
              <a:lstStyle/>
              <a:p>
                <a:endParaRPr lang="en-IN"/>
              </a:p>
            </p:txBody>
          </p:sp>
          <p:sp>
            <p:nvSpPr>
              <p:cNvPr id="347" name="Freeform: Shape 346">
                <a:extLst>
                  <a:ext uri="{FF2B5EF4-FFF2-40B4-BE49-F238E27FC236}">
                    <a16:creationId xmlns:a16="http://schemas.microsoft.com/office/drawing/2014/main" id="{A50A9881-6CF4-40FA-B796-D7ABCC2DA9AF}"/>
                  </a:ext>
                </a:extLst>
              </p:cNvPr>
              <p:cNvSpPr/>
              <p:nvPr/>
            </p:nvSpPr>
            <p:spPr>
              <a:xfrm rot="5400000">
                <a:off x="7588787" y="4106519"/>
                <a:ext cx="109358" cy="80829"/>
              </a:xfrm>
              <a:custGeom>
                <a:avLst/>
                <a:gdLst>
                  <a:gd name="connsiteX0" fmla="*/ 0 w 109358"/>
                  <a:gd name="connsiteY0" fmla="*/ 40413 h 80829"/>
                  <a:gd name="connsiteX1" fmla="*/ 5883 w 109358"/>
                  <a:gd name="connsiteY1" fmla="*/ 11721 h 80829"/>
                  <a:gd name="connsiteX2" fmla="*/ 13904 w 109358"/>
                  <a:gd name="connsiteY2" fmla="*/ 0 h 80829"/>
                  <a:gd name="connsiteX3" fmla="*/ 68943 w 109358"/>
                  <a:gd name="connsiteY3" fmla="*/ 0 h 80829"/>
                  <a:gd name="connsiteX4" fmla="*/ 109358 w 109358"/>
                  <a:gd name="connsiteY4" fmla="*/ 40414 h 80829"/>
                  <a:gd name="connsiteX5" fmla="*/ 68943 w 109358"/>
                  <a:gd name="connsiteY5" fmla="*/ 80829 h 80829"/>
                  <a:gd name="connsiteX6" fmla="*/ 13905 w 109358"/>
                  <a:gd name="connsiteY6" fmla="*/ 80829 h 80829"/>
                  <a:gd name="connsiteX7" fmla="*/ 5883 w 109358"/>
                  <a:gd name="connsiteY7" fmla="*/ 69106 h 80829"/>
                  <a:gd name="connsiteX8" fmla="*/ 0 w 109358"/>
                  <a:gd name="connsiteY8" fmla="*/ 40413 h 80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358" h="80829">
                    <a:moveTo>
                      <a:pt x="0" y="40413"/>
                    </a:moveTo>
                    <a:cubicBezTo>
                      <a:pt x="0" y="30239"/>
                      <a:pt x="2095" y="20542"/>
                      <a:pt x="5883" y="11721"/>
                    </a:cubicBezTo>
                    <a:lnTo>
                      <a:pt x="13904" y="0"/>
                    </a:lnTo>
                    <a:lnTo>
                      <a:pt x="68943" y="0"/>
                    </a:lnTo>
                    <a:cubicBezTo>
                      <a:pt x="91290" y="0"/>
                      <a:pt x="109358" y="18115"/>
                      <a:pt x="109358" y="40414"/>
                    </a:cubicBezTo>
                    <a:cubicBezTo>
                      <a:pt x="109358" y="62761"/>
                      <a:pt x="91290" y="80829"/>
                      <a:pt x="68943" y="80829"/>
                    </a:cubicBezTo>
                    <a:lnTo>
                      <a:pt x="13905" y="80829"/>
                    </a:lnTo>
                    <a:lnTo>
                      <a:pt x="5883" y="69106"/>
                    </a:lnTo>
                    <a:cubicBezTo>
                      <a:pt x="2095" y="60285"/>
                      <a:pt x="0" y="50588"/>
                      <a:pt x="0" y="40413"/>
                    </a:cubicBezTo>
                    <a:close/>
                  </a:path>
                </a:pathLst>
              </a:custGeom>
              <a:solidFill>
                <a:schemeClr val="accent2">
                  <a:lumMod val="50000"/>
                </a:schemeClr>
              </a:solidFill>
              <a:ln w="4749" cap="flat">
                <a:noFill/>
                <a:prstDash val="solid"/>
                <a:miter/>
              </a:ln>
            </p:spPr>
            <p:txBody>
              <a:bodyPr wrap="square" rtlCol="0" anchor="ctr">
                <a:noAutofit/>
              </a:bodyPr>
              <a:lstStyle/>
              <a:p>
                <a:endParaRPr lang="en-IN"/>
              </a:p>
            </p:txBody>
          </p:sp>
        </p:grpSp>
        <p:sp>
          <p:nvSpPr>
            <p:cNvPr id="336" name="Oval 335">
              <a:extLst>
                <a:ext uri="{FF2B5EF4-FFF2-40B4-BE49-F238E27FC236}">
                  <a16:creationId xmlns:a16="http://schemas.microsoft.com/office/drawing/2014/main" id="{59D088C4-C903-40AE-A03A-CCF7462B25BF}"/>
                </a:ext>
              </a:extLst>
            </p:cNvPr>
            <p:cNvSpPr/>
            <p:nvPr/>
          </p:nvSpPr>
          <p:spPr>
            <a:xfrm>
              <a:off x="6310965" y="1132556"/>
              <a:ext cx="1328538" cy="1328538"/>
            </a:xfrm>
            <a:prstGeom prst="ellipse">
              <a:avLst/>
            </a:prstGeom>
            <a:no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IN"/>
            </a:p>
          </p:txBody>
        </p:sp>
        <p:grpSp>
          <p:nvGrpSpPr>
            <p:cNvPr id="337" name="Group 336">
              <a:extLst>
                <a:ext uri="{FF2B5EF4-FFF2-40B4-BE49-F238E27FC236}">
                  <a16:creationId xmlns:a16="http://schemas.microsoft.com/office/drawing/2014/main" id="{CA92F5FD-17CC-47C9-B60C-2BDFED4065E2}"/>
                </a:ext>
              </a:extLst>
            </p:cNvPr>
            <p:cNvGrpSpPr/>
            <p:nvPr/>
          </p:nvGrpSpPr>
          <p:grpSpPr>
            <a:xfrm>
              <a:off x="6543551" y="1958195"/>
              <a:ext cx="257535" cy="82554"/>
              <a:chOff x="1943827" y="4419366"/>
              <a:chExt cx="257535" cy="82554"/>
            </a:xfrm>
          </p:grpSpPr>
          <p:sp>
            <p:nvSpPr>
              <p:cNvPr id="343" name="Freeform: Shape 342">
                <a:extLst>
                  <a:ext uri="{FF2B5EF4-FFF2-40B4-BE49-F238E27FC236}">
                    <a16:creationId xmlns:a16="http://schemas.microsoft.com/office/drawing/2014/main" id="{95EB9591-0A3A-4B24-88B9-6C03FCDF0A3B}"/>
                  </a:ext>
                </a:extLst>
              </p:cNvPr>
              <p:cNvSpPr/>
              <p:nvPr/>
            </p:nvSpPr>
            <p:spPr>
              <a:xfrm>
                <a:off x="1949837" y="4419366"/>
                <a:ext cx="128767" cy="14307"/>
              </a:xfrm>
              <a:custGeom>
                <a:avLst/>
                <a:gdLst>
                  <a:gd name="connsiteX0" fmla="*/ 122508 w 128767"/>
                  <a:gd name="connsiteY0" fmla="*/ 8048 h 14307"/>
                  <a:gd name="connsiteX1" fmla="*/ 8048 w 128767"/>
                  <a:gd name="connsiteY1" fmla="*/ 8048 h 14307"/>
                </a:gdLst>
                <a:ahLst/>
                <a:cxnLst>
                  <a:cxn ang="0">
                    <a:pos x="connsiteX0" y="connsiteY0"/>
                  </a:cxn>
                  <a:cxn ang="0">
                    <a:pos x="connsiteX1" y="connsiteY1"/>
                  </a:cxn>
                </a:cxnLst>
                <a:rect l="l" t="t" r="r" b="b"/>
                <a:pathLst>
                  <a:path w="128767" h="14307">
                    <a:moveTo>
                      <a:pt x="122508" y="8048"/>
                    </a:moveTo>
                    <a:lnTo>
                      <a:pt x="8048" y="8048"/>
                    </a:lnTo>
                  </a:path>
                </a:pathLst>
              </a:custGeom>
              <a:ln w="7144" cap="flat">
                <a:solidFill>
                  <a:schemeClr val="accent4"/>
                </a:solidFill>
                <a:prstDash val="solid"/>
                <a:miter/>
              </a:ln>
            </p:spPr>
            <p:txBody>
              <a:bodyPr rtlCol="0" anchor="ctr"/>
              <a:lstStyle/>
              <a:p>
                <a:endParaRPr lang="en-US"/>
              </a:p>
            </p:txBody>
          </p:sp>
          <p:sp>
            <p:nvSpPr>
              <p:cNvPr id="344" name="Freeform: Shape 343">
                <a:extLst>
                  <a:ext uri="{FF2B5EF4-FFF2-40B4-BE49-F238E27FC236}">
                    <a16:creationId xmlns:a16="http://schemas.microsoft.com/office/drawing/2014/main" id="{F2F39760-4516-4C63-A631-B41698ED1825}"/>
                  </a:ext>
                </a:extLst>
              </p:cNvPr>
              <p:cNvSpPr/>
              <p:nvPr/>
            </p:nvSpPr>
            <p:spPr>
              <a:xfrm>
                <a:off x="1943827" y="4487613"/>
                <a:ext cx="257535" cy="14307"/>
              </a:xfrm>
              <a:custGeom>
                <a:avLst/>
                <a:gdLst>
                  <a:gd name="connsiteX0" fmla="*/ 256426 w 257534"/>
                  <a:gd name="connsiteY0" fmla="*/ 8048 h 14307"/>
                  <a:gd name="connsiteX1" fmla="*/ 8048 w 257534"/>
                  <a:gd name="connsiteY1" fmla="*/ 8048 h 14307"/>
                </a:gdLst>
                <a:ahLst/>
                <a:cxnLst>
                  <a:cxn ang="0">
                    <a:pos x="connsiteX0" y="connsiteY0"/>
                  </a:cxn>
                  <a:cxn ang="0">
                    <a:pos x="connsiteX1" y="connsiteY1"/>
                  </a:cxn>
                </a:cxnLst>
                <a:rect l="l" t="t" r="r" b="b"/>
                <a:pathLst>
                  <a:path w="257534" h="14307">
                    <a:moveTo>
                      <a:pt x="256426" y="8048"/>
                    </a:moveTo>
                    <a:lnTo>
                      <a:pt x="8048" y="8048"/>
                    </a:lnTo>
                  </a:path>
                </a:pathLst>
              </a:custGeom>
              <a:ln w="7144" cap="flat">
                <a:solidFill>
                  <a:schemeClr val="accent4"/>
                </a:solidFill>
                <a:prstDash val="solid"/>
                <a:miter/>
              </a:ln>
            </p:spPr>
            <p:txBody>
              <a:bodyPr rtlCol="0" anchor="ctr"/>
              <a:lstStyle/>
              <a:p>
                <a:endParaRPr lang="en-US"/>
              </a:p>
            </p:txBody>
          </p:sp>
        </p:grpSp>
        <p:grpSp>
          <p:nvGrpSpPr>
            <p:cNvPr id="338" name="Group 337">
              <a:extLst>
                <a:ext uri="{FF2B5EF4-FFF2-40B4-BE49-F238E27FC236}">
                  <a16:creationId xmlns:a16="http://schemas.microsoft.com/office/drawing/2014/main" id="{F56EDA02-EE9B-43BD-9E54-335A13F3010E}"/>
                </a:ext>
              </a:extLst>
            </p:cNvPr>
            <p:cNvGrpSpPr/>
            <p:nvPr/>
          </p:nvGrpSpPr>
          <p:grpSpPr>
            <a:xfrm>
              <a:off x="6276873" y="2211611"/>
              <a:ext cx="743594" cy="66675"/>
              <a:chOff x="5317328" y="3563267"/>
              <a:chExt cx="743594" cy="66675"/>
            </a:xfrm>
          </p:grpSpPr>
          <p:cxnSp>
            <p:nvCxnSpPr>
              <p:cNvPr id="340" name="Straight Connector 339">
                <a:extLst>
                  <a:ext uri="{FF2B5EF4-FFF2-40B4-BE49-F238E27FC236}">
                    <a16:creationId xmlns:a16="http://schemas.microsoft.com/office/drawing/2014/main" id="{B7288601-AD72-45F6-B83E-7E7567A83551}"/>
                  </a:ext>
                </a:extLst>
              </p:cNvPr>
              <p:cNvCxnSpPr/>
              <p:nvPr/>
            </p:nvCxnSpPr>
            <p:spPr>
              <a:xfrm>
                <a:off x="5372927" y="3563267"/>
                <a:ext cx="687995" cy="0"/>
              </a:xfrm>
              <a:prstGeom prst="line">
                <a:avLst/>
              </a:prstGeom>
              <a:noFill/>
              <a:ln w="9525" cap="flat" cmpd="sng" algn="ctr">
                <a:solidFill>
                  <a:schemeClr val="accent4"/>
                </a:solidFill>
                <a:prstDash val="solid"/>
              </a:ln>
              <a:effectLst/>
            </p:spPr>
          </p:cxnSp>
          <p:cxnSp>
            <p:nvCxnSpPr>
              <p:cNvPr id="341" name="Straight Connector 340">
                <a:extLst>
                  <a:ext uri="{FF2B5EF4-FFF2-40B4-BE49-F238E27FC236}">
                    <a16:creationId xmlns:a16="http://schemas.microsoft.com/office/drawing/2014/main" id="{7D4AE4CD-3B46-4525-A6E2-2968FB4C05D3}"/>
                  </a:ext>
                </a:extLst>
              </p:cNvPr>
              <p:cNvCxnSpPr/>
              <p:nvPr/>
            </p:nvCxnSpPr>
            <p:spPr>
              <a:xfrm>
                <a:off x="5345127" y="3596604"/>
                <a:ext cx="687995" cy="0"/>
              </a:xfrm>
              <a:prstGeom prst="line">
                <a:avLst/>
              </a:prstGeom>
              <a:noFill/>
              <a:ln w="9525" cap="flat" cmpd="sng" algn="ctr">
                <a:solidFill>
                  <a:schemeClr val="accent4"/>
                </a:solidFill>
                <a:prstDash val="solid"/>
              </a:ln>
              <a:effectLst/>
            </p:spPr>
          </p:cxnSp>
          <p:cxnSp>
            <p:nvCxnSpPr>
              <p:cNvPr id="342" name="Straight Connector 341">
                <a:extLst>
                  <a:ext uri="{FF2B5EF4-FFF2-40B4-BE49-F238E27FC236}">
                    <a16:creationId xmlns:a16="http://schemas.microsoft.com/office/drawing/2014/main" id="{A8E63796-B293-456F-9E51-C100DE9B7CC2}"/>
                  </a:ext>
                </a:extLst>
              </p:cNvPr>
              <p:cNvCxnSpPr/>
              <p:nvPr/>
            </p:nvCxnSpPr>
            <p:spPr>
              <a:xfrm>
                <a:off x="5317328" y="3629942"/>
                <a:ext cx="687995" cy="0"/>
              </a:xfrm>
              <a:prstGeom prst="line">
                <a:avLst/>
              </a:prstGeom>
              <a:noFill/>
              <a:ln w="9525" cap="flat" cmpd="sng" algn="ctr">
                <a:solidFill>
                  <a:schemeClr val="accent4"/>
                </a:solidFill>
                <a:prstDash val="solid"/>
              </a:ln>
              <a:effectLst/>
            </p:spPr>
          </p:cxnSp>
        </p:grpSp>
        <p:sp>
          <p:nvSpPr>
            <p:cNvPr id="339" name="Oval 338">
              <a:extLst>
                <a:ext uri="{FF2B5EF4-FFF2-40B4-BE49-F238E27FC236}">
                  <a16:creationId xmlns:a16="http://schemas.microsoft.com/office/drawing/2014/main" id="{34D60427-B551-4B78-ADB2-1B4E0D53AF85}"/>
                </a:ext>
              </a:extLst>
            </p:cNvPr>
            <p:cNvSpPr/>
            <p:nvPr/>
          </p:nvSpPr>
          <p:spPr>
            <a:xfrm>
              <a:off x="6283271" y="840529"/>
              <a:ext cx="122609" cy="122609"/>
            </a:xfrm>
            <a:prstGeom prst="ellipse">
              <a:avLst/>
            </a:prstGeom>
            <a:solidFill>
              <a:schemeClr val="accent1"/>
            </a:solidFill>
            <a:ln w="5266"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FFFFFF"/>
                </a:solidFill>
                <a:effectLst/>
                <a:uLnTx/>
                <a:uFillTx/>
                <a:latin typeface="CiscoSansTT ExtraLight"/>
                <a:ea typeface="+mn-ea"/>
                <a:cs typeface="+mn-cs"/>
              </a:endParaRPr>
            </a:p>
          </p:txBody>
        </p:sp>
      </p:grpSp>
      <p:pic>
        <p:nvPicPr>
          <p:cNvPr id="6" name="Picture 5">
            <a:extLst>
              <a:ext uri="{FF2B5EF4-FFF2-40B4-BE49-F238E27FC236}">
                <a16:creationId xmlns:a16="http://schemas.microsoft.com/office/drawing/2014/main" id="{8DD1236B-6222-44C2-A502-A43FA534766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984530" y="1740648"/>
            <a:ext cx="3064525" cy="1756538"/>
          </a:xfrm>
          <a:prstGeom prst="rect">
            <a:avLst/>
          </a:prstGeom>
        </p:spPr>
      </p:pic>
    </p:spTree>
    <p:extLst>
      <p:ext uri="{BB962C8B-B14F-4D97-AF65-F5344CB8AC3E}">
        <p14:creationId xmlns:p14="http://schemas.microsoft.com/office/powerpoint/2010/main" val="1789055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0"/>
  <p:tag name="SECTOMILLISECCONVERTED" val="1"/>
  <p:tag name="MMPROD_UIDATA" val="&lt;database version=&quot;11.0&quot;&gt;&lt;object type=&quot;1&quot; unique_id=&quot;10001&quot;&gt;&lt;object type=&quot;2&quot; unique_id=&quot;10002&quot;&gt;&lt;object type=&quot;3&quot; unique_id=&quot;184152&quot;&gt;&lt;property id=&quot;20148&quot; value=&quot;5&quot;/&gt;&lt;property id=&quot;20300&quot; value=&quot;Slide 1 - &amp;quot;Please read&amp;quot;&quot;/&gt;&lt;property id=&quot;20307&quot; value=&quot;283&quot;/&gt;&lt;/object&gt;&lt;object type=&quot;3&quot; unique_id=&quot;184153&quot;&gt;&lt;property id=&quot;20148&quot; value=&quot;5&quot;/&gt;&lt;property id=&quot;20300&quot; value=&quot;Slide 5 - &amp;quot;Presentation Title Goes Here&amp;quot;&quot;/&gt;&lt;property id=&quot;20307&quot; value=&quot;257&quot;/&gt;&lt;/object&gt;&lt;object type=&quot;3&quot; unique_id=&quot;184154&quot;&gt;&lt;property id=&quot;20148&quot; value=&quot;5&quot;/&gt;&lt;property id=&quot;20300&quot; value=&quot;Slide 6 - &amp;quot;Use this slide for transitions&amp;quot;&quot;/&gt;&lt;property id=&quot;20307&quot; value=&quot;258&quot;/&gt;&lt;/object&gt;&lt;object type=&quot;3&quot; unique_id=&quot;184155&quot;&gt;&lt;property id=&quot;20148&quot; value=&quot;5&quot;/&gt;&lt;property id=&quot;20300&quot; value=&quot;Slide 7 - &amp;quot;Use this slide for transitions&amp;quot;&quot;/&gt;&lt;property id=&quot;20307&quot; value=&quot;259&quot;/&gt;&lt;/object&gt;&lt;object type=&quot;3&quot; unique_id=&quot;184156&quot;&gt;&lt;property id=&quot;20148&quot; value=&quot;5&quot;/&gt;&lt;property id=&quot;20300&quot; value=&quot;Slide 8 - &amp;quot;“Design is the silent  ambassador of your brand.”&amp;quot;&quot;/&gt;&lt;property id=&quot;20307&quot; value=&quot;260&quot;/&gt;&lt;/object&gt;&lt;object type=&quot;3&quot; unique_id=&quot;184157&quot;&gt;&lt;property id=&quot;20148&quot; value=&quot;5&quot;/&gt;&lt;property id=&quot;20300&quot; value=&quot;Slide 9 - &amp;quot;“Design is the silent  ambassador of your brand.”&amp;quot;&quot;/&gt;&lt;property id=&quot;20307&quot; value=&quot;261&quot;/&gt;&lt;/object&gt;&lt;object type=&quot;3&quot; unique_id=&quot;184158&quot;&gt;&lt;property id=&quot;20148&quot; value=&quot;5&quot;/&gt;&lt;property id=&quot;20300&quot; value=&quot;Slide 10 - &amp;quot;This is a sample headline&amp;quot;&quot;/&gt;&lt;property id=&quot;20307&quot; value=&quot;262&quot;/&gt;&lt;/object&gt;&lt;object type=&quot;3&quot; unique_id=&quot;184159&quot;&gt;&lt;property id=&quot;20148&quot; value=&quot;5&quot;/&gt;&lt;property id=&quot;20300&quot; value=&quot;Slide 11 - &amp;quot;This is a sample headline&amp;quot;&quot;/&gt;&lt;property id=&quot;20307&quot; value=&quot;263&quot;/&gt;&lt;/object&gt;&lt;object type=&quot;3&quot; unique_id=&quot;184160&quot;&gt;&lt;property id=&quot;20148&quot; value=&quot;5&quot;/&gt;&lt;property id=&quot;20300&quot; value=&quot;Slide 12 - &amp;quot;This is a sample headline&amp;quot;&quot;/&gt;&lt;property id=&quot;20307&quot; value=&quot;264&quot;/&gt;&lt;/object&gt;&lt;object type=&quot;3&quot; unique_id=&quot;184161&quot;&gt;&lt;property id=&quot;20148&quot; value=&quot;5&quot;/&gt;&lt;property id=&quot;20300&quot; value=&quot;Slide 13 - &amp;quot;Two-column layout&amp;quot;&quot;/&gt;&lt;property id=&quot;20307&quot; value=&quot;265&quot;/&gt;&lt;/object&gt;&lt;object type=&quot;3&quot; unique_id=&quot;184162&quot;&gt;&lt;property id=&quot;20148&quot; value=&quot;5&quot;/&gt;&lt;property id=&quot;20300&quot; value=&quot;Slide 14 - &amp;quot;This is a sample headline&amp;quot;&quot;/&gt;&lt;property id=&quot;20307&quot; value=&quot;266&quot;/&gt;&lt;/object&gt;&lt;object type=&quot;3&quot; unique_id=&quot;184163&quot;&gt;&lt;property id=&quot;20148&quot; value=&quot;5&quot;/&gt;&lt;property id=&quot;20300&quot; value=&quot;Slide 15 - &amp;quot;This is a sample headline&amp;quot;&quot;/&gt;&lt;property id=&quot;20307&quot; value=&quot;267&quot;/&gt;&lt;/object&gt;&lt;object type=&quot;3&quot; unique_id=&quot;184164&quot;&gt;&lt;property id=&quot;20148&quot; value=&quot;5&quot;/&gt;&lt;property id=&quot;20300&quot; value=&quot;Slide 16 - &amp;quot;This is a sample headline&amp;quot;&quot;/&gt;&lt;property id=&quot;20307&quot; value=&quot;268&quot;/&gt;&lt;/object&gt;&lt;object type=&quot;3&quot; unique_id=&quot;184165&quot;&gt;&lt;property id=&quot;20148&quot; value=&quot;5&quot;/&gt;&lt;property id=&quot;20300&quot; value=&quot;Slide 17 - &amp;quot;Bar charts&amp;quot;&quot;/&gt;&lt;property id=&quot;20307&quot; value=&quot;269&quot;/&gt;&lt;/object&gt;&lt;object type=&quot;3&quot; unique_id=&quot;184166&quot;&gt;&lt;property id=&quot;20148&quot; value=&quot;5&quot;/&gt;&lt;property id=&quot;20300&quot; value=&quot;Slide 18 - &amp;quot;Line charts&amp;quot;&quot;/&gt;&lt;property id=&quot;20307&quot; value=&quot;270&quot;/&gt;&lt;/object&gt;&lt;object type=&quot;3&quot; unique_id=&quot;184167&quot;&gt;&lt;property id=&quot;20148&quot; value=&quot;5&quot;/&gt;&lt;property id=&quot;20300&quot; value=&quot;Slide 19 - &amp;quot;This is a sample headline&amp;quot;&quot;/&gt;&lt;property id=&quot;20307&quot; value=&quot;271&quot;/&gt;&lt;/object&gt;&lt;object type=&quot;3&quot; unique_id=&quot;184168&quot;&gt;&lt;property id=&quot;20148&quot; value=&quot;5&quot;/&gt;&lt;property id=&quot;20300&quot; value=&quot;Slide 20 - &amp;quot;Slide title&amp;quot;&quot;/&gt;&lt;property id=&quot;20307&quot; value=&quot;272&quot;/&gt;&lt;/object&gt;&lt;object type=&quot;3&quot; unique_id=&quot;184169&quot;&gt;&lt;property id=&quot;20148&quot; value=&quot;5&quot;/&gt;&lt;property id=&quot;20300&quot; value=&quot;Slide 21 - &amp;quot;Use this layout when pairing words with a picture.&amp;quot;&quot;/&gt;&lt;property id=&quot;20307&quot; value=&quot;273&quot;/&gt;&lt;/object&gt;&lt;object type=&quot;3&quot; unique_id=&quot;184170&quot;&gt;&lt;property id=&quot;20148&quot; value=&quot;5&quot;/&gt;&lt;property id=&quot;20300&quot; value=&quot;Slide 22 - &amp;quot;Use this layout when pairing words with a picture.&amp;quot;&quot;/&gt;&lt;property id=&quot;20307&quot; value=&quot;274&quot;/&gt;&lt;/object&gt;&lt;object type=&quot;3&quot; unique_id=&quot;184171&quot;&gt;&lt;property id=&quot;20148&quot; value=&quot;5&quot;/&gt;&lt;property id=&quot;20300&quot; value=&quot;Slide 23&quot;/&gt;&lt;property id=&quot;20307&quot; value=&quot;275&quot;/&gt;&lt;/object&gt;&lt;object type=&quot;3&quot; unique_id=&quot;184172&quot;&gt;&lt;property id=&quot;20148&quot; value=&quot;5&quot;/&gt;&lt;property id=&quot;20300&quot; value=&quot;Slide 24 - &amp;quot;Best practices&amp;quot;&quot;/&gt;&lt;property id=&quot;20307&quot; value=&quot;276&quot;/&gt;&lt;/object&gt;&lt;object type=&quot;3&quot; unique_id=&quot;184173&quot;&gt;&lt;property id=&quot;20148&quot; value=&quot;5&quot;/&gt;&lt;property id=&quot;20300&quot; value=&quot;Slide 25 - &amp;quot;Color palette&amp;quot;&quot;/&gt;&lt;property id=&quot;20307&quot; value=&quot;277&quot;/&gt;&lt;/object&gt;&lt;object type=&quot;3&quot; unique_id=&quot;184174&quot;&gt;&lt;property id=&quot;20148&quot; value=&quot;5&quot;/&gt;&lt;property id=&quot;20300&quot; value=&quot;Slide 26 - &amp;quot;Only use the themes provided&amp;quot;&quot;/&gt;&lt;property id=&quot;20307&quot; value=&quot;278&quot;/&gt;&lt;/object&gt;&lt;object type=&quot;3&quot; unique_id=&quot;184175&quot;&gt;&lt;property id=&quot;20148&quot; value=&quot;5&quot;/&gt;&lt;property id=&quot;20300&quot; value=&quot;Slide 26 - &amp;quot;Color themes&amp;quot;&quot;/&gt;&lt;property id=&quot;20307&quot; value=&quot;279&quot;/&gt;&lt;/object&gt;&lt;object type=&quot;3&quot; unique_id=&quot;184176&quot;&gt;&lt;property id=&quot;20148&quot; value=&quot;5&quot;/&gt;&lt;property id=&quot;20300&quot; value=&quot;Slide 27 - &amp;quot;Seven tips for better presentations&amp;quot;&quot;/&gt;&lt;property id=&quot;20307&quot; value=&quot;280&quot;/&gt;&lt;/object&gt;&lt;object type=&quot;3&quot; unique_id=&quot;184178&quot;&gt;&lt;property id=&quot;20148&quot; value=&quot;5&quot;/&gt;&lt;property id=&quot;20300&quot; value=&quot;Slide 28&quot;/&gt;&lt;property id=&quot;20307&quot; value=&quot;282&quot;/&gt;&lt;/object&gt;&lt;object type=&quot;3&quot; unique_id=&quot;198815&quot;&gt;&lt;property id=&quot;20148&quot; value=&quot;5&quot;/&gt;&lt;property id=&quot;20300&quot; value=&quot;Slide 2 - &amp;quot;Everyone is responsible for security&amp;quot;&quot;/&gt;&lt;property id=&quot;20307&quot; value=&quot;286&quot;/&gt;&lt;/object&gt;&lt;object type=&quot;3&quot; unique_id=&quot;198816&quot;&gt;&lt;property id=&quot;20148&quot; value=&quot;5&quot;/&gt;&lt;property id=&quot;20300&quot; value=&quot;Slide 3 - &amp;quot;Please read&amp;quot;&quot;/&gt;&lt;property id=&quot;20307&quot; value=&quot;287&quot;/&gt;&lt;/object&gt;&lt;object type=&quot;3&quot; unique_id=&quot;198998&quot;&gt;&lt;property id=&quot;20148&quot; value=&quot;5&quot;/&gt;&lt;property id=&quot;20300&quot; value=&quot;Slide 4 - &amp;quot;Color themes&amp;quot;&quot;/&gt;&lt;property id=&quot;20307&quot; value=&quot;288&quot;/&gt;&lt;/object&gt;&lt;/object&gt;&lt;object type=&quot;8&quot; unique_id=&quot;10268&quot;&gt;&lt;/object&gt;&lt;/object&gt;&lt;/database&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lZKeaV4pwrZ7ceu9gPH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lZKeaV4pwrZ7ceu9gPHbw"/>
</p:tagLst>
</file>

<file path=ppt/theme/theme1.xml><?xml version="1.0" encoding="utf-8"?>
<a:theme xmlns:a="http://schemas.openxmlformats.org/drawingml/2006/main" name="Blue theme 2015 16x9">
  <a:themeElements>
    <a:clrScheme name="Cisco Core Colors_2019_dark">
      <a:dk1>
        <a:srgbClr val="FFFFFF"/>
      </a:dk1>
      <a:lt1>
        <a:srgbClr val="0D274D"/>
      </a:lt1>
      <a:dk2>
        <a:srgbClr val="00BCEB"/>
      </a:dk2>
      <a:lt2>
        <a:srgbClr val="0D274D"/>
      </a:lt2>
      <a:accent1>
        <a:srgbClr val="00BCEB"/>
      </a:accent1>
      <a:accent2>
        <a:srgbClr val="6EBE4A"/>
      </a:accent2>
      <a:accent3>
        <a:srgbClr val="B4E2F6"/>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2.xml><?xml version="1.0" encoding="utf-8"?>
<a:theme xmlns:a="http://schemas.openxmlformats.org/drawingml/2006/main" name="1_Blue theme 2015 16x9">
  <a:themeElements>
    <a:clrScheme name="Cisco Core Colors_2019_dark">
      <a:dk1>
        <a:srgbClr val="FFFFFF"/>
      </a:dk1>
      <a:lt1>
        <a:srgbClr val="0D274D"/>
      </a:lt1>
      <a:dk2>
        <a:srgbClr val="00BCEB"/>
      </a:dk2>
      <a:lt2>
        <a:srgbClr val="0D274D"/>
      </a:lt2>
      <a:accent1>
        <a:srgbClr val="00BCEB"/>
      </a:accent1>
      <a:accent2>
        <a:srgbClr val="6EBE4A"/>
      </a:accent2>
      <a:accent3>
        <a:srgbClr val="B4E2F6"/>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3.xml><?xml version="1.0" encoding="utf-8"?>
<a:theme xmlns:a="http://schemas.openxmlformats.org/drawingml/2006/main" name="5_Blue theme 2015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0D4EB391ADEF148831F0B8B7B0E58DD" ma:contentTypeVersion="11" ma:contentTypeDescription="Create a new document." ma:contentTypeScope="" ma:versionID="c4d383d21202b5858140a948d5235928">
  <xsd:schema xmlns:xsd="http://www.w3.org/2001/XMLSchema" xmlns:xs="http://www.w3.org/2001/XMLSchema" xmlns:p="http://schemas.microsoft.com/office/2006/metadata/properties" xmlns:ns2="310c6ffd-c648-45d5-9160-fc9ed5cb6595" xmlns:ns3="7e2afd87-28a3-448d-a3af-7e24b976af4a" targetNamespace="http://schemas.microsoft.com/office/2006/metadata/properties" ma:root="true" ma:fieldsID="c02cf5fe0574230fd7081c06dfff6782" ns2:_="" ns3:_="">
    <xsd:import namespace="310c6ffd-c648-45d5-9160-fc9ed5cb6595"/>
    <xsd:import namespace="7e2afd87-28a3-448d-a3af-7e24b976af4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0c6ffd-c648-45d5-9160-fc9ed5cb659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e2afd87-28a3-448d-a3af-7e24b976af4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51CE69B-A127-4C34-A117-610BE0C132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0c6ffd-c648-45d5-9160-fc9ed5cb6595"/>
    <ds:schemaRef ds:uri="7e2afd87-28a3-448d-a3af-7e24b976af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42AEA88-0DE9-4C3E-888A-08D17AA7B410}">
  <ds:schemaRefs>
    <ds:schemaRef ds:uri="http://schemas.microsoft.com/sharepoint/v3/contenttype/forms"/>
  </ds:schemaRefs>
</ds:datastoreItem>
</file>

<file path=customXml/itemProps3.xml><?xml version="1.0" encoding="utf-8"?>
<ds:datastoreItem xmlns:ds="http://schemas.openxmlformats.org/officeDocument/2006/customXml" ds:itemID="{0322D871-19A5-4C38-9FE0-29D2D198285A}">
  <ds:schemaRefs>
    <ds:schemaRef ds:uri="http://purl.org/dc/terms/"/>
    <ds:schemaRef ds:uri="http://schemas.microsoft.com/office/2006/metadata/properties"/>
    <ds:schemaRef ds:uri="http://schemas.microsoft.com/office/2006/documentManagement/types"/>
    <ds:schemaRef ds:uri="http://schemas.openxmlformats.org/package/2006/metadata/core-properties"/>
    <ds:schemaRef ds:uri="http://schemas.microsoft.com/office/infopath/2007/PartnerControls"/>
    <ds:schemaRef ds:uri="85248423-ef2b-4eeb-b8b5-d4c85ab1140e"/>
    <ds:schemaRef ds:uri="http://www.w3.org/XML/1998/namespace"/>
    <ds:schemaRef ds:uri="http://purl.org/dc/elements/1.1/"/>
    <ds:schemaRef ds:uri="34103976-3704-42cb-90f2-5969973acec4"/>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44</TotalTime>
  <Words>5231</Words>
  <Application>Microsoft Office PowerPoint</Application>
  <PresentationFormat>On-screen Show (16:9)</PresentationFormat>
  <Paragraphs>525</Paragraphs>
  <Slides>26</Slides>
  <Notes>26</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6</vt:i4>
      </vt:variant>
    </vt:vector>
  </HeadingPairs>
  <TitlesOfParts>
    <vt:vector size="36" baseType="lpstr">
      <vt:lpstr>Arial</vt:lpstr>
      <vt:lpstr>Calibri</vt:lpstr>
      <vt:lpstr>CiscoSansTT</vt:lpstr>
      <vt:lpstr>CiscoSansTT ExtraLight</vt:lpstr>
      <vt:lpstr>CiscoSansTT Heavy</vt:lpstr>
      <vt:lpstr>CiscoSansTT Light</vt:lpstr>
      <vt:lpstr>Blue theme 2015 16x9</vt:lpstr>
      <vt:lpstr>1_Blue theme 2015 16x9</vt:lpstr>
      <vt:lpstr>5_Blue theme 2015 16x9</vt:lpstr>
      <vt:lpstr>think-cell Slide</vt:lpstr>
      <vt:lpstr>Cisco Security:</vt:lpstr>
      <vt:lpstr>PowerPoint Presentation</vt:lpstr>
      <vt:lpstr>There are increasing demands on security teams</vt:lpstr>
      <vt:lpstr>PowerPoint Presentation</vt:lpstr>
      <vt:lpstr>PowerPoint Presentation</vt:lpstr>
      <vt:lpstr>PowerPoint Presentation</vt:lpstr>
      <vt:lpstr>PowerPoint Presentation</vt:lpstr>
      <vt:lpstr>A platform that enables better outcomes  with one solution or many</vt:lpstr>
      <vt:lpstr>Cisco Security</vt:lpstr>
      <vt:lpstr>PowerPoint Presentation</vt:lpstr>
      <vt:lpstr>Streamline your security universe</vt:lpstr>
      <vt:lpstr>And advance your security maturity </vt:lpstr>
      <vt:lpstr>PowerPoint Presentation</vt:lpstr>
      <vt:lpstr>You need your business to move at the speed of the cloud </vt:lpstr>
      <vt:lpstr>Leverage the fastest onramp to a more secure internet</vt:lpstr>
      <vt:lpstr>PowerPoint Presentation</vt:lpstr>
      <vt:lpstr>PowerPoint Presentation</vt:lpstr>
      <vt:lpstr>You need a plan for tomorrow, not just today</vt:lpstr>
      <vt:lpstr>A secure future begins with a Zero Trust strategy</vt:lpstr>
      <vt:lpstr>Strengthen readiness with security services that help you respond to any obstacle</vt:lpstr>
      <vt:lpstr>Only Cisco has put in the work and earned the right to deliver a true platform</vt:lpstr>
      <vt:lpstr>Move faster and do more with smarter security</vt:lpstr>
      <vt:lpstr>PowerPoint Presentation</vt:lpstr>
      <vt:lpstr>PowerPoint Presentation</vt:lpstr>
      <vt:lpstr>PowerPoint Presentation</vt:lpstr>
      <vt:lpstr>PowerPoint Presentation</vt:lpstr>
    </vt:vector>
  </TitlesOfParts>
  <Company>NDS Limite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ven Pius (spius)</dc:creator>
  <cp:lastModifiedBy>dylan larocque</cp:lastModifiedBy>
  <cp:revision>9</cp:revision>
  <cp:lastPrinted>2016-04-29T20:31:14Z</cp:lastPrinted>
  <dcterms:created xsi:type="dcterms:W3CDTF">2014-07-09T19:55:36Z</dcterms:created>
  <dcterms:modified xsi:type="dcterms:W3CDTF">2020-10-06T15:0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0D4EB391ADEF148831F0B8B7B0E58DD</vt:lpwstr>
  </property>
</Properties>
</file>